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tags/tag15.xml" ContentType="application/vnd.openxmlformats-officedocument.presentationml.tags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6.xml" ContentType="application/vnd.openxmlformats-officedocument.presentationml.tags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tags/tag17.xml" ContentType="application/vnd.openxmlformats-officedocument.presentationml.tags+xml"/>
  <Override PartName="/ppt/notesSlides/notesSlide6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1"/>
    <p:sldMasterId id="2147483820" r:id="rId2"/>
    <p:sldMasterId id="2147483831" r:id="rId3"/>
  </p:sldMasterIdLst>
  <p:notesMasterIdLst>
    <p:notesMasterId r:id="rId71"/>
  </p:notesMasterIdLst>
  <p:handoutMasterIdLst>
    <p:handoutMasterId r:id="rId72"/>
  </p:handoutMasterIdLst>
  <p:sldIdLst>
    <p:sldId id="286" r:id="rId4"/>
    <p:sldId id="2147471296" r:id="rId5"/>
    <p:sldId id="2147471000" r:id="rId6"/>
    <p:sldId id="2147471276" r:id="rId7"/>
    <p:sldId id="2147471277" r:id="rId8"/>
    <p:sldId id="2147471282" r:id="rId9"/>
    <p:sldId id="2147471281" r:id="rId10"/>
    <p:sldId id="2147471121" r:id="rId11"/>
    <p:sldId id="2147471147" r:id="rId12"/>
    <p:sldId id="2147471275" r:id="rId13"/>
    <p:sldId id="2147471208" r:id="rId14"/>
    <p:sldId id="2147471289" r:id="rId15"/>
    <p:sldId id="2147471269" r:id="rId16"/>
    <p:sldId id="2147471270" r:id="rId17"/>
    <p:sldId id="2147471271" r:id="rId18"/>
    <p:sldId id="2147471272" r:id="rId19"/>
    <p:sldId id="2147471273" r:id="rId20"/>
    <p:sldId id="2147471298" r:id="rId21"/>
    <p:sldId id="2147471130" r:id="rId22"/>
    <p:sldId id="2147471134" r:id="rId23"/>
    <p:sldId id="2147471136" r:id="rId24"/>
    <p:sldId id="2147471137" r:id="rId25"/>
    <p:sldId id="2147471138" r:id="rId26"/>
    <p:sldId id="2147471141" r:id="rId27"/>
    <p:sldId id="2147471288" r:id="rId28"/>
    <p:sldId id="2147471295" r:id="rId29"/>
    <p:sldId id="2147471293" r:id="rId30"/>
    <p:sldId id="2147471290" r:id="rId31"/>
    <p:sldId id="2147471263" r:id="rId32"/>
    <p:sldId id="2147471264" r:id="rId33"/>
    <p:sldId id="2147471268" r:id="rId34"/>
    <p:sldId id="2147471265" r:id="rId35"/>
    <p:sldId id="2147471266" r:id="rId36"/>
    <p:sldId id="2147471267" r:id="rId37"/>
    <p:sldId id="2147471114" r:id="rId38"/>
    <p:sldId id="2147471117" r:id="rId39"/>
    <p:sldId id="2147471116" r:id="rId40"/>
    <p:sldId id="2147471146" r:id="rId41"/>
    <p:sldId id="2147471180" r:id="rId42"/>
    <p:sldId id="2147471063" r:id="rId43"/>
    <p:sldId id="2147471207" r:id="rId44"/>
    <p:sldId id="2147471204" r:id="rId45"/>
    <p:sldId id="2147471279" r:id="rId46"/>
    <p:sldId id="2147471219" r:id="rId47"/>
    <p:sldId id="2147471170" r:id="rId48"/>
    <p:sldId id="2147471194" r:id="rId49"/>
    <p:sldId id="2147471287" r:id="rId50"/>
    <p:sldId id="2147471220" r:id="rId51"/>
    <p:sldId id="2147471218" r:id="rId52"/>
    <p:sldId id="2147471285" r:id="rId53"/>
    <p:sldId id="2147471149" r:id="rId54"/>
    <p:sldId id="2147471181" r:id="rId55"/>
    <p:sldId id="2147471185" r:id="rId56"/>
    <p:sldId id="2147471150" r:id="rId57"/>
    <p:sldId id="2147471184" r:id="rId58"/>
    <p:sldId id="2147471297" r:id="rId59"/>
    <p:sldId id="2147471197" r:id="rId60"/>
    <p:sldId id="2147471187" r:id="rId61"/>
    <p:sldId id="2147471189" r:id="rId62"/>
    <p:sldId id="2147471193" r:id="rId63"/>
    <p:sldId id="2147471191" r:id="rId64"/>
    <p:sldId id="2147471192" r:id="rId65"/>
    <p:sldId id="2147471283" r:id="rId66"/>
    <p:sldId id="2147471284" r:id="rId67"/>
    <p:sldId id="2147471286" r:id="rId68"/>
    <p:sldId id="2147471291" r:id="rId69"/>
    <p:sldId id="274" r:id="rId70"/>
  </p:sldIdLst>
  <p:sldSz cx="12192000" cy="6858000"/>
  <p:notesSz cx="6858000" cy="9144000"/>
  <p:custDataLst>
    <p:tags r:id="rId73"/>
  </p:custDataLst>
  <p:defaultTextStyle>
    <a:defPPr>
      <a:defRPr lang="en-US"/>
    </a:defPPr>
    <a:lvl1pPr marL="0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1pPr>
    <a:lvl2pPr marL="488586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2pPr>
    <a:lvl3pPr marL="977172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3pPr>
    <a:lvl4pPr marL="1465758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4pPr>
    <a:lvl5pPr marL="1954344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5pPr>
    <a:lvl6pPr marL="2442930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6pPr>
    <a:lvl7pPr marL="2931517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7pPr>
    <a:lvl8pPr marL="3420102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8pPr>
    <a:lvl9pPr marL="3908689" algn="l" defTabSz="977172" rtl="0" eaLnBrk="1" latinLnBrk="0" hangingPunct="1">
      <a:defRPr sz="192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DEC528A7-D41A-45F7-8D6F-7D59EA6E737B}">
          <p14:sldIdLst>
            <p14:sldId id="286"/>
            <p14:sldId id="2147471296"/>
            <p14:sldId id="2147471000"/>
            <p14:sldId id="2147471276"/>
            <p14:sldId id="2147471277"/>
          </p14:sldIdLst>
        </p14:section>
        <p14:section name="1. Home" id="{C7214990-3C91-45C3-8223-978C854B12B1}">
          <p14:sldIdLst>
            <p14:sldId id="2147471282"/>
            <p14:sldId id="2147471281"/>
          </p14:sldIdLst>
        </p14:section>
        <p14:section name="2. 컨텐츠 관리" id="{2E3588EF-037C-4B66-915A-1E69C31D71FD}">
          <p14:sldIdLst>
            <p14:sldId id="2147471121"/>
            <p14:sldId id="2147471147"/>
          </p14:sldIdLst>
        </p14:section>
        <p14:section name="2.1.1. 문서/영상관리 - 컨텐츠 조회" id="{DBCCEE88-40AF-4C12-B6EC-BAA345E9625D}">
          <p14:sldIdLst>
            <p14:sldId id="2147471275"/>
            <p14:sldId id="2147471208"/>
          </p14:sldIdLst>
        </p14:section>
        <p14:section name="2.1.2. 문서/영상관리 - 컨텐츠 등록" id="{1A90F3E4-43A3-4B77-8561-DB240B711905}">
          <p14:sldIdLst>
            <p14:sldId id="2147471289"/>
            <p14:sldId id="2147471269"/>
            <p14:sldId id="2147471270"/>
            <p14:sldId id="2147471271"/>
            <p14:sldId id="2147471272"/>
            <p14:sldId id="2147471273"/>
            <p14:sldId id="2147471298"/>
          </p14:sldIdLst>
        </p14:section>
        <p14:section name="2.1.3. 문서/영상관리 - 컨텐츠 상세조회" id="{38520D8C-49F9-4336-9C91-09BF15FED4FF}">
          <p14:sldIdLst>
            <p14:sldId id="2147471130"/>
            <p14:sldId id="2147471134"/>
            <p14:sldId id="2147471136"/>
            <p14:sldId id="2147471137"/>
            <p14:sldId id="2147471138"/>
            <p14:sldId id="2147471141"/>
          </p14:sldIdLst>
        </p14:section>
        <p14:section name="2.2. 신규 연구/보고 자료 조회" id="{9A4F1321-B63F-4CC1-B7EB-5A7353772F95}">
          <p14:sldIdLst>
            <p14:sldId id="2147471288"/>
          </p14:sldIdLst>
        </p14:section>
        <p14:section name="2.3. 뉴스 키워드 관리" id="{0D4D0E4B-5847-4FD8-949F-CA916BD0F110}">
          <p14:sldIdLst>
            <p14:sldId id="2147471295"/>
            <p14:sldId id="2147471293"/>
          </p14:sldIdLst>
        </p14:section>
        <p14:section name="2.4. 뉴스 업데이트" id="{44029999-9FC6-485F-B4D5-7FFDA664AB53}">
          <p14:sldIdLst>
            <p14:sldId id="2147471290"/>
            <p14:sldId id="2147471263"/>
            <p14:sldId id="2147471264"/>
            <p14:sldId id="2147471268"/>
          </p14:sldIdLst>
        </p14:section>
        <p14:section name="2.5 등록 뉴스 관리" id="{57E5ED1F-DC66-440F-9698-786204F4C448}">
          <p14:sldIdLst>
            <p14:sldId id="2147471265"/>
            <p14:sldId id="2147471266"/>
            <p14:sldId id="2147471267"/>
          </p14:sldIdLst>
        </p14:section>
        <p14:section name="2.6. 출처 관리" id="{2065A562-F73A-42BB-8A23-5444898EC555}">
          <p14:sldIdLst>
            <p14:sldId id="2147471114"/>
            <p14:sldId id="2147471117"/>
            <p14:sldId id="2147471116"/>
          </p14:sldIdLst>
        </p14:section>
        <p14:section name="2.7. 컨텐츠 공통" id="{CE6EAE8F-718D-4F99-BD08-D544ABC75271}">
          <p14:sldIdLst>
            <p14:sldId id="2147471146"/>
            <p14:sldId id="2147471180"/>
          </p14:sldIdLst>
        </p14:section>
        <p14:section name="3. 고객 관리" id="{41917CE1-1088-4F62-AC30-4AAFDE4313C4}">
          <p14:sldIdLst>
            <p14:sldId id="2147471063"/>
            <p14:sldId id="2147471207"/>
            <p14:sldId id="2147471204"/>
            <p14:sldId id="2147471279"/>
            <p14:sldId id="2147471219"/>
            <p14:sldId id="2147471170"/>
            <p14:sldId id="2147471194"/>
            <p14:sldId id="2147471287"/>
            <p14:sldId id="2147471220"/>
            <p14:sldId id="2147471218"/>
            <p14:sldId id="2147471285"/>
          </p14:sldIdLst>
        </p14:section>
        <p14:section name="4. 웹사이트 관리" id="{8A4F096B-F7DF-4924-A38B-5F2C595CAE51}">
          <p14:sldIdLst>
            <p14:sldId id="2147471149"/>
          </p14:sldIdLst>
        </p14:section>
        <p14:section name="4.1. 큐레이션 관리" id="{02ACE63A-8173-4EA2-87C1-675E9F52DF3B}">
          <p14:sldIdLst>
            <p14:sldId id="2147471181"/>
            <p14:sldId id="2147471185"/>
            <p14:sldId id="2147471150"/>
            <p14:sldId id="2147471184"/>
            <p14:sldId id="2147471297"/>
            <p14:sldId id="2147471197"/>
            <p14:sldId id="2147471187"/>
          </p14:sldIdLst>
        </p14:section>
        <p14:section name="4.2. 일정 관리" id="{98004984-F013-4C7B-B887-F07B3672C1D4}">
          <p14:sldIdLst>
            <p14:sldId id="2147471189"/>
            <p14:sldId id="2147471193"/>
            <p14:sldId id="2147471191"/>
            <p14:sldId id="2147471192"/>
          </p14:sldIdLst>
        </p14:section>
        <p14:section name="4.3. 서비스 현황관리" id="{A2F1EFFA-2806-427D-8CF8-4EAA729FAFCA}">
          <p14:sldIdLst>
            <p14:sldId id="2147471283"/>
            <p14:sldId id="2147471284"/>
          </p14:sldIdLst>
        </p14:section>
        <p14:section name="4.4. 활동로그 관리" id="{35099FC9-1115-47A7-8187-EB322BCCA983}">
          <p14:sldIdLst>
            <p14:sldId id="2147471286"/>
          </p14:sldIdLst>
        </p14:section>
        <p14:section name="4.5. 관리자 활동로그 관리" id="{6F60E9F6-4521-45FF-A93B-72E94D9D030D}">
          <p14:sldIdLst>
            <p14:sldId id="2147471291"/>
            <p14:sldId id="27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00"/>
    <a:srgbClr val="D9D9D9"/>
    <a:srgbClr val="C00000"/>
    <a:srgbClr val="FFFFFF"/>
    <a:srgbClr val="404040"/>
    <a:srgbClr val="C04600"/>
    <a:srgbClr val="EEB080"/>
    <a:srgbClr val="FFCCCC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89" autoAdjust="0"/>
    <p:restoredTop sz="95842" autoAdjust="0"/>
  </p:normalViewPr>
  <p:slideViewPr>
    <p:cSldViewPr snapToObjects="1" showGuides="1">
      <p:cViewPr varScale="1">
        <p:scale>
          <a:sx n="154" d="100"/>
          <a:sy n="154" d="100"/>
        </p:scale>
        <p:origin x="240" y="4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34968"/>
    </p:cViewPr>
  </p:sorterViewPr>
  <p:notesViewPr>
    <p:cSldViewPr snapToObjects="1" showGuides="1">
      <p:cViewPr varScale="1">
        <p:scale>
          <a:sx n="72" d="100"/>
          <a:sy n="72" d="100"/>
        </p:scale>
        <p:origin x="2083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16" Type="http://schemas.openxmlformats.org/officeDocument/2006/relationships/slide" Target="slides/slide1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presProps" Target="presProp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tableStyles" Target="tableStyle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theme" Target="theme/theme1.xml"/><Relationship Id="rId7" Type="http://schemas.openxmlformats.org/officeDocument/2006/relationships/slide" Target="slides/slide4.xml"/><Relationship Id="rId71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판매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6E-47AD-A22E-A3EF817C9BF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6E-47AD-A22E-A3EF817C9BF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6E-47AD-A22E-A3EF817C9BF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6E-47AD-A22E-A3EF817C9BF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6E-47AD-A22E-A3EF817C9BF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6E-47AD-A22E-A3EF817C9BF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6E-47AD-A22E-A3EF817C9BF2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6E-47AD-A22E-A3EF817C9BF2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6E-47AD-A22E-A3EF817C9BF2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6E-47AD-A22E-A3EF817C9BF2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6E-47AD-A22E-A3EF817C9BF2}"/>
              </c:ext>
            </c:extLst>
          </c:dPt>
          <c:cat>
            <c:strRef>
              <c:f>Sheet1!$A$2:$A$12</c:f>
              <c:strCache>
                <c:ptCount val="11"/>
                <c:pt idx="0">
                  <c:v>유통</c:v>
                </c:pt>
                <c:pt idx="1">
                  <c:v>제조</c:v>
                </c:pt>
                <c:pt idx="2">
                  <c:v>금융</c:v>
                </c:pt>
                <c:pt idx="3">
                  <c:v>에너지</c:v>
                </c:pt>
                <c:pt idx="4">
                  <c:v>석유</c:v>
                </c:pt>
                <c:pt idx="5">
                  <c:v>화학</c:v>
                </c:pt>
                <c:pt idx="6">
                  <c:v>의료</c:v>
                </c:pt>
                <c:pt idx="7">
                  <c:v>공공</c:v>
                </c:pt>
                <c:pt idx="8">
                  <c:v>서비스</c:v>
                </c:pt>
                <c:pt idx="9">
                  <c:v>IT</c:v>
                </c:pt>
                <c:pt idx="10">
                  <c:v>자동차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012</c:v>
                </c:pt>
                <c:pt idx="1">
                  <c:v>782</c:v>
                </c:pt>
                <c:pt idx="2">
                  <c:v>452</c:v>
                </c:pt>
                <c:pt idx="3">
                  <c:v>300</c:v>
                </c:pt>
                <c:pt idx="4">
                  <c:v>121</c:v>
                </c:pt>
                <c:pt idx="5">
                  <c:v>51</c:v>
                </c:pt>
                <c:pt idx="6">
                  <c:v>20</c:v>
                </c:pt>
                <c:pt idx="7">
                  <c:v>5</c:v>
                </c:pt>
                <c:pt idx="8">
                  <c:v>4</c:v>
                </c:pt>
                <c:pt idx="9">
                  <c:v>1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04-4B01-9D79-4F2625E901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5355807086614171E-2"/>
          <c:y val="0.78125331783459895"/>
          <c:w val="0.87116338582677177"/>
          <c:h val="0.190945280493157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altLang="ko-KR" smtClean="0"/>
              <a:t>11/24/23</a:t>
            </a:fld>
            <a:endParaRPr lang="ko-KR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altLang="ko-KR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fld id="{7850AB23-24A6-494C-BA00-B87242B78CB4}" type="datetimeFigureOut">
              <a:rPr lang="en-US" altLang="ko-KR" smtClean="0"/>
              <a:pPr/>
              <a:t>11/24/23</a:t>
            </a:fld>
            <a:endParaRPr lang="ko-KR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  <a:endParaRPr lang="ko-KR" altLang="en-US"/>
          </a:p>
          <a:p>
            <a:pPr lvl="2"/>
            <a:r>
              <a:rPr lang="en-US" altLang="ko-KR"/>
              <a:t>Third level</a:t>
            </a:r>
            <a:endParaRPr lang="ko-KR" altLang="en-US"/>
          </a:p>
          <a:p>
            <a:pPr lvl="3"/>
            <a:r>
              <a:rPr lang="en-US" altLang="ko-KR"/>
              <a:t>Fourth level</a:t>
            </a:r>
            <a:endParaRPr lang="ko-KR" altLang="en-US"/>
          </a:p>
          <a:p>
            <a:pPr lvl="4"/>
            <a:r>
              <a:rPr lang="en-US" altLang="ko-KR"/>
              <a:t>Fifth level</a:t>
            </a:r>
            <a:endParaRPr lang="ko-KR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fld id="{20CA530D-631F-4981-98F0-E6C07C67E1A3}" type="slidenum">
              <a:rPr lang="en-US" altLang="ko-KR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7172" rtl="0" eaLnBrk="1" latinLnBrk="0" hangingPunct="1">
      <a:defRPr sz="1283" kern="1200">
        <a:solidFill>
          <a:schemeClr val="tx1"/>
        </a:solidFill>
        <a:latin typeface="맑은 고딕" panose="020B0503020000020004" pitchFamily="50" charset="-127"/>
        <a:ea typeface="맑은 고딕" panose="020B0503020000020004" pitchFamily="50" charset="-127"/>
        <a:cs typeface="+mn-cs"/>
        <a:sym typeface="맑은 고딕" panose="020B0503020000020004" pitchFamily="50" charset="-127"/>
      </a:defRPr>
    </a:lvl1pPr>
    <a:lvl2pPr marL="488586" algn="l" defTabSz="977172" rtl="0" eaLnBrk="1" latinLnBrk="0" hangingPunct="1">
      <a:defRPr sz="1283" kern="1200">
        <a:solidFill>
          <a:schemeClr val="tx1"/>
        </a:solidFill>
        <a:latin typeface="맑은 고딕" panose="020B0503020000020004" pitchFamily="50" charset="-127"/>
        <a:ea typeface="맑은 고딕" panose="020B0503020000020004" pitchFamily="50" charset="-127"/>
        <a:cs typeface="+mn-cs"/>
        <a:sym typeface="맑은 고딕" panose="020B0503020000020004" pitchFamily="50" charset="-127"/>
      </a:defRPr>
    </a:lvl2pPr>
    <a:lvl3pPr marL="977172" algn="l" defTabSz="977172" rtl="0" eaLnBrk="1" latinLnBrk="0" hangingPunct="1">
      <a:defRPr sz="1283" kern="1200">
        <a:solidFill>
          <a:schemeClr val="tx1"/>
        </a:solidFill>
        <a:latin typeface="맑은 고딕" panose="020B0503020000020004" pitchFamily="50" charset="-127"/>
        <a:ea typeface="맑은 고딕" panose="020B0503020000020004" pitchFamily="50" charset="-127"/>
        <a:cs typeface="+mn-cs"/>
        <a:sym typeface="맑은 고딕" panose="020B0503020000020004" pitchFamily="50" charset="-127"/>
      </a:defRPr>
    </a:lvl3pPr>
    <a:lvl4pPr marL="1465758" algn="l" defTabSz="977172" rtl="0" eaLnBrk="1" latinLnBrk="0" hangingPunct="1">
      <a:defRPr sz="1283" kern="1200">
        <a:solidFill>
          <a:schemeClr val="tx1"/>
        </a:solidFill>
        <a:latin typeface="맑은 고딕" panose="020B0503020000020004" pitchFamily="50" charset="-127"/>
        <a:ea typeface="맑은 고딕" panose="020B0503020000020004" pitchFamily="50" charset="-127"/>
        <a:cs typeface="+mn-cs"/>
        <a:sym typeface="맑은 고딕" panose="020B0503020000020004" pitchFamily="50" charset="-127"/>
      </a:defRPr>
    </a:lvl4pPr>
    <a:lvl5pPr marL="1954344" algn="l" defTabSz="977172" rtl="0" eaLnBrk="1" latinLnBrk="0" hangingPunct="1">
      <a:defRPr sz="1283" kern="1200">
        <a:solidFill>
          <a:schemeClr val="tx1"/>
        </a:solidFill>
        <a:latin typeface="맑은 고딕" panose="020B0503020000020004" pitchFamily="50" charset="-127"/>
        <a:ea typeface="맑은 고딕" panose="020B0503020000020004" pitchFamily="50" charset="-127"/>
        <a:cs typeface="+mn-cs"/>
        <a:sym typeface="맑은 고딕" panose="020B0503020000020004" pitchFamily="50" charset="-127"/>
      </a:defRPr>
    </a:lvl5pPr>
    <a:lvl6pPr marL="2442930" algn="l" defTabSz="977172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6pPr>
    <a:lvl7pPr marL="2931517" algn="l" defTabSz="977172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7pPr>
    <a:lvl8pPr marL="3420102" algn="l" defTabSz="977172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8pPr>
    <a:lvl9pPr marL="3908689" algn="l" defTabSz="977172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008472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856366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003101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200938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711209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903332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861124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421933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912899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870691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1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85676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897714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916394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810250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0881084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691246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675674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851444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4141782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1183006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7942553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2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02322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773063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7165802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9531187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6751335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5721888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8929328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2404553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5771087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9163906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2805688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3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779764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3334004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4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0481594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8221031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5700265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4381708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3240324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3524929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2379812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7209502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1342239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4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312443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1624157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0320518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5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8136702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27195850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3161960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6805921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58469088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502720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46810134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0225401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5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239253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71434977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28659397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43447336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6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5519159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68789251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00560718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37796783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47519619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6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971893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858759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t>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934232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altLang="ko-KR" smtClean="0"/>
              <a:pPr/>
              <a:t>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7260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5.wmf"/><Relationship Id="rId5" Type="http://schemas.openxmlformats.org/officeDocument/2006/relationships/image" Target="../media/image4.wm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wmf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wmf"/><Relationship Id="rId5" Type="http://schemas.openxmlformats.org/officeDocument/2006/relationships/image" Target="../media/image4.w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48F0CB18-26EC-4779-9DB5-6EC3537361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50707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48F0CB18-26EC-4779-9DB5-6EC353736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hape 14">
            <a:extLst>
              <a:ext uri="{FF2B5EF4-FFF2-40B4-BE49-F238E27FC236}">
                <a16:creationId xmlns:a16="http://schemas.microsoft.com/office/drawing/2014/main" id="{D750D1C8-56CD-43EF-97CC-2AF1CC9F46C2}"/>
              </a:ext>
            </a:extLst>
          </p:cNvPr>
          <p:cNvCxnSpPr>
            <a:cxnSpLocks/>
          </p:cNvCxnSpPr>
          <p:nvPr userDrawn="1"/>
        </p:nvCxnSpPr>
        <p:spPr>
          <a:xfrm rot="5400000" flipH="1" flipV="1">
            <a:off x="6009148" y="-4719241"/>
            <a:ext cx="152399" cy="11121231"/>
          </a:xfrm>
          <a:prstGeom prst="bentConnector2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텍스트 개체 틀 10">
            <a:extLst>
              <a:ext uri="{FF2B5EF4-FFF2-40B4-BE49-F238E27FC236}">
                <a16:creationId xmlns:a16="http://schemas.microsoft.com/office/drawing/2014/main" id="{6BE06D0F-9264-403C-A9B2-9479962D5E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203" y="429540"/>
            <a:ext cx="6898757" cy="302753"/>
          </a:xfrm>
          <a:prstGeom prst="rect">
            <a:avLst/>
          </a:prstGeom>
        </p:spPr>
        <p:txBody>
          <a:bodyPr wrap="none"/>
          <a:lstStyle>
            <a:lvl1pPr marL="0" marR="0" indent="-151171" algn="l" defTabSz="95964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30"/>
              </a:spcAft>
              <a:buClr>
                <a:prstClr val="black"/>
              </a:buClr>
              <a:buSzTx/>
              <a:buFontTx/>
              <a:buNone/>
              <a:tabLst/>
              <a:defRPr lang="ko-KR" altLang="en-US" sz="1400" b="1" kern="1200" spc="0" baseline="0" dirty="0">
                <a:ln>
                  <a:noFill/>
                </a:ln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defRPr>
            </a:lvl1pPr>
          </a:lstStyle>
          <a:p>
            <a:pPr marL="0" marR="0" lvl="0" indent="0" algn="l" defTabSz="9144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38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</a:pPr>
            <a:r>
              <a:rPr lang="ko-KR" altLang="en-US" dirty="0"/>
              <a:t>슬라이드 제목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F9F70F65-FD76-4408-AB42-4FDE7EFE667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65094" y="6565494"/>
            <a:ext cx="2618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CD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697B8F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 eaLnBrk="1" hangingPunct="1"/>
            <a:fld id="{B144587D-ED76-49C9-8FB6-BC366E2FBB0D}" type="slidenum">
              <a:rPr lang="en-US" altLang="ko-KR" sz="800" b="0" smtClean="0">
                <a:ln w="0">
                  <a:solidFill>
                    <a:srgbClr val="FF0000">
                      <a:alpha val="0"/>
                    </a:srgbClr>
                  </a:solidFill>
                </a:ln>
                <a:solidFill>
                  <a:srgbClr val="555555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pPr lvl="0" algn="ctr" eaLnBrk="1" hangingPunct="1"/>
              <a:t>‹#›</a:t>
            </a:fld>
            <a:endParaRPr lang="en-US" altLang="ko-KR" sz="800" b="0" dirty="0">
              <a:ln w="0">
                <a:solidFill>
                  <a:srgbClr val="FF0000">
                    <a:alpha val="0"/>
                  </a:srgbClr>
                </a:solidFill>
              </a:ln>
              <a:solidFill>
                <a:srgbClr val="555555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9051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620690"/>
            <a:ext cx="3240000" cy="2294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 cap="flat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170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650" dirty="0">
              <a:solidFill>
                <a:schemeClr val="bg1"/>
              </a:solidFill>
              <a:latin typeface="Yu Gothic UI" panose="020B0500000000000000" pitchFamily="34" charset="-128"/>
              <a:ea typeface="+mj-ea"/>
              <a:cs typeface="나눔고딕"/>
              <a:sym typeface="나눔고딕"/>
            </a:endParaRPr>
          </a:p>
        </p:txBody>
      </p:sp>
      <p:sp>
        <p:nvSpPr>
          <p:cNvPr id="16" name="Status Bar Background"/>
          <p:cNvSpPr>
            <a:spLocks noChangeArrowheads="1"/>
          </p:cNvSpPr>
          <p:nvPr userDrawn="1"/>
        </p:nvSpPr>
        <p:spPr bwMode="auto">
          <a:xfrm>
            <a:off x="446495" y="665843"/>
            <a:ext cx="3240000" cy="1428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:08 AM</a:t>
            </a:r>
          </a:p>
        </p:txBody>
      </p:sp>
      <p:sp>
        <p:nvSpPr>
          <p:cNvPr id="17" name="Battery"/>
          <p:cNvSpPr>
            <a:spLocks noChangeAspect="1" noEditPoints="1"/>
          </p:cNvSpPr>
          <p:nvPr userDrawn="1"/>
        </p:nvSpPr>
        <p:spPr bwMode="auto">
          <a:xfrm>
            <a:off x="3455505" y="703149"/>
            <a:ext cx="174625" cy="68263"/>
          </a:xfrm>
          <a:custGeom>
            <a:avLst/>
            <a:gdLst>
              <a:gd name="T0" fmla="*/ 14 w 229"/>
              <a:gd name="T1" fmla="*/ 0 h 89"/>
              <a:gd name="T2" fmla="*/ 0 w 229"/>
              <a:gd name="T3" fmla="*/ 14 h 89"/>
              <a:gd name="T4" fmla="*/ 0 w 229"/>
              <a:gd name="T5" fmla="*/ 75 h 89"/>
              <a:gd name="T6" fmla="*/ 14 w 229"/>
              <a:gd name="T7" fmla="*/ 89 h 89"/>
              <a:gd name="T8" fmla="*/ 197 w 229"/>
              <a:gd name="T9" fmla="*/ 89 h 89"/>
              <a:gd name="T10" fmla="*/ 211 w 229"/>
              <a:gd name="T11" fmla="*/ 75 h 89"/>
              <a:gd name="T12" fmla="*/ 211 w 229"/>
              <a:gd name="T13" fmla="*/ 14 h 89"/>
              <a:gd name="T14" fmla="*/ 197 w 229"/>
              <a:gd name="T15" fmla="*/ 0 h 89"/>
              <a:gd name="T16" fmla="*/ 14 w 229"/>
              <a:gd name="T17" fmla="*/ 0 h 89"/>
              <a:gd name="T18" fmla="*/ 14 w 229"/>
              <a:gd name="T19" fmla="*/ 4 h 89"/>
              <a:gd name="T20" fmla="*/ 197 w 229"/>
              <a:gd name="T21" fmla="*/ 4 h 89"/>
              <a:gd name="T22" fmla="*/ 206 w 229"/>
              <a:gd name="T23" fmla="*/ 14 h 89"/>
              <a:gd name="T24" fmla="*/ 206 w 229"/>
              <a:gd name="T25" fmla="*/ 75 h 89"/>
              <a:gd name="T26" fmla="*/ 197 w 229"/>
              <a:gd name="T27" fmla="*/ 84 h 89"/>
              <a:gd name="T28" fmla="*/ 14 w 229"/>
              <a:gd name="T29" fmla="*/ 84 h 89"/>
              <a:gd name="T30" fmla="*/ 4 w 229"/>
              <a:gd name="T31" fmla="*/ 75 h 89"/>
              <a:gd name="T32" fmla="*/ 4 w 229"/>
              <a:gd name="T33" fmla="*/ 14 h 89"/>
              <a:gd name="T34" fmla="*/ 14 w 229"/>
              <a:gd name="T35" fmla="*/ 4 h 89"/>
              <a:gd name="T36" fmla="*/ 19 w 229"/>
              <a:gd name="T37" fmla="*/ 9 h 89"/>
              <a:gd name="T38" fmla="*/ 9 w 229"/>
              <a:gd name="T39" fmla="*/ 18 h 89"/>
              <a:gd name="T40" fmla="*/ 9 w 229"/>
              <a:gd name="T41" fmla="*/ 70 h 89"/>
              <a:gd name="T42" fmla="*/ 19 w 229"/>
              <a:gd name="T43" fmla="*/ 79 h 89"/>
              <a:gd name="T44" fmla="*/ 192 w 229"/>
              <a:gd name="T45" fmla="*/ 79 h 89"/>
              <a:gd name="T46" fmla="*/ 201 w 229"/>
              <a:gd name="T47" fmla="*/ 70 h 89"/>
              <a:gd name="T48" fmla="*/ 201 w 229"/>
              <a:gd name="T49" fmla="*/ 18 h 89"/>
              <a:gd name="T50" fmla="*/ 192 w 229"/>
              <a:gd name="T51" fmla="*/ 9 h 89"/>
              <a:gd name="T52" fmla="*/ 19 w 229"/>
              <a:gd name="T53" fmla="*/ 9 h 89"/>
              <a:gd name="T54" fmla="*/ 215 w 229"/>
              <a:gd name="T55" fmla="*/ 28 h 89"/>
              <a:gd name="T56" fmla="*/ 215 w 229"/>
              <a:gd name="T57" fmla="*/ 61 h 89"/>
              <a:gd name="T58" fmla="*/ 229 w 229"/>
              <a:gd name="T59" fmla="*/ 44 h 89"/>
              <a:gd name="T60" fmla="*/ 215 w 229"/>
              <a:gd name="T61" fmla="*/ 2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9" h="89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lnTo>
                  <a:pt x="0" y="75"/>
                </a:lnTo>
                <a:cubicBezTo>
                  <a:pt x="0" y="82"/>
                  <a:pt x="6" y="89"/>
                  <a:pt x="14" y="89"/>
                </a:cubicBezTo>
                <a:lnTo>
                  <a:pt x="197" y="89"/>
                </a:lnTo>
                <a:cubicBezTo>
                  <a:pt x="204" y="89"/>
                  <a:pt x="211" y="82"/>
                  <a:pt x="211" y="75"/>
                </a:cubicBezTo>
                <a:lnTo>
                  <a:pt x="211" y="14"/>
                </a:lnTo>
                <a:cubicBezTo>
                  <a:pt x="211" y="6"/>
                  <a:pt x="204" y="0"/>
                  <a:pt x="197" y="0"/>
                </a:cubicBezTo>
                <a:lnTo>
                  <a:pt x="14" y="0"/>
                </a:lnTo>
                <a:close/>
                <a:moveTo>
                  <a:pt x="14" y="4"/>
                </a:moveTo>
                <a:lnTo>
                  <a:pt x="197" y="4"/>
                </a:lnTo>
                <a:cubicBezTo>
                  <a:pt x="202" y="4"/>
                  <a:pt x="206" y="8"/>
                  <a:pt x="206" y="14"/>
                </a:cubicBezTo>
                <a:lnTo>
                  <a:pt x="206" y="75"/>
                </a:lnTo>
                <a:cubicBezTo>
                  <a:pt x="206" y="80"/>
                  <a:pt x="202" y="84"/>
                  <a:pt x="197" y="84"/>
                </a:cubicBezTo>
                <a:lnTo>
                  <a:pt x="14" y="84"/>
                </a:lnTo>
                <a:cubicBezTo>
                  <a:pt x="9" y="84"/>
                  <a:pt x="4" y="80"/>
                  <a:pt x="4" y="75"/>
                </a:cubicBezTo>
                <a:lnTo>
                  <a:pt x="4" y="14"/>
                </a:lnTo>
                <a:cubicBezTo>
                  <a:pt x="4" y="8"/>
                  <a:pt x="9" y="4"/>
                  <a:pt x="14" y="4"/>
                </a:cubicBezTo>
                <a:close/>
                <a:moveTo>
                  <a:pt x="19" y="9"/>
                </a:moveTo>
                <a:cubicBezTo>
                  <a:pt x="13" y="9"/>
                  <a:pt x="9" y="13"/>
                  <a:pt x="9" y="18"/>
                </a:cubicBezTo>
                <a:lnTo>
                  <a:pt x="9" y="70"/>
                </a:lnTo>
                <a:cubicBezTo>
                  <a:pt x="9" y="75"/>
                  <a:pt x="13" y="79"/>
                  <a:pt x="19" y="79"/>
                </a:cubicBezTo>
                <a:lnTo>
                  <a:pt x="192" y="79"/>
                </a:lnTo>
                <a:cubicBezTo>
                  <a:pt x="197" y="79"/>
                  <a:pt x="201" y="75"/>
                  <a:pt x="201" y="70"/>
                </a:cubicBezTo>
                <a:lnTo>
                  <a:pt x="201" y="18"/>
                </a:lnTo>
                <a:cubicBezTo>
                  <a:pt x="201" y="13"/>
                  <a:pt x="197" y="9"/>
                  <a:pt x="192" y="9"/>
                </a:cubicBezTo>
                <a:lnTo>
                  <a:pt x="19" y="9"/>
                </a:lnTo>
                <a:close/>
                <a:moveTo>
                  <a:pt x="215" y="28"/>
                </a:moveTo>
                <a:lnTo>
                  <a:pt x="215" y="61"/>
                </a:lnTo>
                <a:cubicBezTo>
                  <a:pt x="224" y="61"/>
                  <a:pt x="229" y="53"/>
                  <a:pt x="229" y="44"/>
                </a:cubicBezTo>
                <a:cubicBezTo>
                  <a:pt x="229" y="35"/>
                  <a:pt x="224" y="28"/>
                  <a:pt x="215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WLAN Strength"/>
          <p:cNvSpPr>
            <a:spLocks noChangeAspect="1" noEditPoints="1"/>
          </p:cNvSpPr>
          <p:nvPr userDrawn="1"/>
        </p:nvSpPr>
        <p:spPr bwMode="auto">
          <a:xfrm>
            <a:off x="1086179" y="704734"/>
            <a:ext cx="85726" cy="65088"/>
          </a:xfrm>
          <a:custGeom>
            <a:avLst/>
            <a:gdLst>
              <a:gd name="T0" fmla="*/ 56 w 112"/>
              <a:gd name="T1" fmla="*/ 0 h 85"/>
              <a:gd name="T2" fmla="*/ 0 w 112"/>
              <a:gd name="T3" fmla="*/ 22 h 85"/>
              <a:gd name="T4" fmla="*/ 8 w 112"/>
              <a:gd name="T5" fmla="*/ 32 h 85"/>
              <a:gd name="T6" fmla="*/ 56 w 112"/>
              <a:gd name="T7" fmla="*/ 14 h 85"/>
              <a:gd name="T8" fmla="*/ 103 w 112"/>
              <a:gd name="T9" fmla="*/ 32 h 85"/>
              <a:gd name="T10" fmla="*/ 112 w 112"/>
              <a:gd name="T11" fmla="*/ 22 h 85"/>
              <a:gd name="T12" fmla="*/ 56 w 112"/>
              <a:gd name="T13" fmla="*/ 0 h 85"/>
              <a:gd name="T14" fmla="*/ 56 w 112"/>
              <a:gd name="T15" fmla="*/ 28 h 85"/>
              <a:gd name="T16" fmla="*/ 18 w 112"/>
              <a:gd name="T17" fmla="*/ 43 h 85"/>
              <a:gd name="T18" fmla="*/ 27 w 112"/>
              <a:gd name="T19" fmla="*/ 53 h 85"/>
              <a:gd name="T20" fmla="*/ 56 w 112"/>
              <a:gd name="T21" fmla="*/ 43 h 85"/>
              <a:gd name="T22" fmla="*/ 84 w 112"/>
              <a:gd name="T23" fmla="*/ 53 h 85"/>
              <a:gd name="T24" fmla="*/ 94 w 112"/>
              <a:gd name="T25" fmla="*/ 43 h 85"/>
              <a:gd name="T26" fmla="*/ 56 w 112"/>
              <a:gd name="T27" fmla="*/ 28 h 85"/>
              <a:gd name="T28" fmla="*/ 56 w 112"/>
              <a:gd name="T29" fmla="*/ 56 h 85"/>
              <a:gd name="T30" fmla="*/ 37 w 112"/>
              <a:gd name="T31" fmla="*/ 64 h 85"/>
              <a:gd name="T32" fmla="*/ 56 w 112"/>
              <a:gd name="T33" fmla="*/ 85 h 85"/>
              <a:gd name="T34" fmla="*/ 75 w 112"/>
              <a:gd name="T35" fmla="*/ 64 h 85"/>
              <a:gd name="T36" fmla="*/ 56 w 112"/>
              <a:gd name="T37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2" h="85">
                <a:moveTo>
                  <a:pt x="56" y="0"/>
                </a:moveTo>
                <a:cubicBezTo>
                  <a:pt x="34" y="0"/>
                  <a:pt x="15" y="9"/>
                  <a:pt x="0" y="22"/>
                </a:cubicBezTo>
                <a:lnTo>
                  <a:pt x="8" y="32"/>
                </a:lnTo>
                <a:cubicBezTo>
                  <a:pt x="21" y="21"/>
                  <a:pt x="38" y="14"/>
                  <a:pt x="56" y="14"/>
                </a:cubicBezTo>
                <a:cubicBezTo>
                  <a:pt x="74" y="14"/>
                  <a:pt x="91" y="21"/>
                  <a:pt x="103" y="32"/>
                </a:cubicBezTo>
                <a:lnTo>
                  <a:pt x="112" y="22"/>
                </a:lnTo>
                <a:cubicBezTo>
                  <a:pt x="97" y="9"/>
                  <a:pt x="77" y="0"/>
                  <a:pt x="56" y="0"/>
                </a:cubicBezTo>
                <a:close/>
                <a:moveTo>
                  <a:pt x="56" y="28"/>
                </a:moveTo>
                <a:cubicBezTo>
                  <a:pt x="41" y="28"/>
                  <a:pt x="28" y="34"/>
                  <a:pt x="18" y="43"/>
                </a:cubicBezTo>
                <a:lnTo>
                  <a:pt x="27" y="53"/>
                </a:lnTo>
                <a:cubicBezTo>
                  <a:pt x="35" y="47"/>
                  <a:pt x="45" y="43"/>
                  <a:pt x="56" y="43"/>
                </a:cubicBezTo>
                <a:cubicBezTo>
                  <a:pt x="67" y="43"/>
                  <a:pt x="77" y="47"/>
                  <a:pt x="84" y="53"/>
                </a:cubicBezTo>
                <a:lnTo>
                  <a:pt x="94" y="43"/>
                </a:lnTo>
                <a:cubicBezTo>
                  <a:pt x="84" y="34"/>
                  <a:pt x="70" y="28"/>
                  <a:pt x="56" y="28"/>
                </a:cubicBezTo>
                <a:close/>
                <a:moveTo>
                  <a:pt x="56" y="56"/>
                </a:moveTo>
                <a:cubicBezTo>
                  <a:pt x="49" y="56"/>
                  <a:pt x="42" y="59"/>
                  <a:pt x="37" y="64"/>
                </a:cubicBezTo>
                <a:lnTo>
                  <a:pt x="56" y="85"/>
                </a:lnTo>
                <a:lnTo>
                  <a:pt x="75" y="64"/>
                </a:lnTo>
                <a:cubicBezTo>
                  <a:pt x="70" y="59"/>
                  <a:pt x="63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Signal Strength"/>
          <p:cNvSpPr>
            <a:spLocks noChangeAspect="1" noEditPoints="1"/>
          </p:cNvSpPr>
          <p:nvPr userDrawn="1"/>
        </p:nvSpPr>
        <p:spPr bwMode="auto">
          <a:xfrm>
            <a:off x="500393" y="717434"/>
            <a:ext cx="239713" cy="39688"/>
          </a:xfrm>
          <a:custGeom>
            <a:avLst/>
            <a:gdLst>
              <a:gd name="T0" fmla="*/ 26 w 314"/>
              <a:gd name="T1" fmla="*/ 0 h 52"/>
              <a:gd name="T2" fmla="*/ 0 w 314"/>
              <a:gd name="T3" fmla="*/ 26 h 52"/>
              <a:gd name="T4" fmla="*/ 26 w 314"/>
              <a:gd name="T5" fmla="*/ 52 h 52"/>
              <a:gd name="T6" fmla="*/ 52 w 314"/>
              <a:gd name="T7" fmla="*/ 26 h 52"/>
              <a:gd name="T8" fmla="*/ 26 w 314"/>
              <a:gd name="T9" fmla="*/ 0 h 52"/>
              <a:gd name="T10" fmla="*/ 91 w 314"/>
              <a:gd name="T11" fmla="*/ 0 h 52"/>
              <a:gd name="T12" fmla="*/ 66 w 314"/>
              <a:gd name="T13" fmla="*/ 26 h 52"/>
              <a:gd name="T14" fmla="*/ 91 w 314"/>
              <a:gd name="T15" fmla="*/ 52 h 52"/>
              <a:gd name="T16" fmla="*/ 117 w 314"/>
              <a:gd name="T17" fmla="*/ 26 h 52"/>
              <a:gd name="T18" fmla="*/ 91 w 314"/>
              <a:gd name="T19" fmla="*/ 0 h 52"/>
              <a:gd name="T20" fmla="*/ 157 w 314"/>
              <a:gd name="T21" fmla="*/ 0 h 52"/>
              <a:gd name="T22" fmla="*/ 131 w 314"/>
              <a:gd name="T23" fmla="*/ 26 h 52"/>
              <a:gd name="T24" fmla="*/ 157 w 314"/>
              <a:gd name="T25" fmla="*/ 52 h 52"/>
              <a:gd name="T26" fmla="*/ 183 w 314"/>
              <a:gd name="T27" fmla="*/ 26 h 52"/>
              <a:gd name="T28" fmla="*/ 157 w 314"/>
              <a:gd name="T29" fmla="*/ 0 h 52"/>
              <a:gd name="T30" fmla="*/ 223 w 314"/>
              <a:gd name="T31" fmla="*/ 0 h 52"/>
              <a:gd name="T32" fmla="*/ 197 w 314"/>
              <a:gd name="T33" fmla="*/ 26 h 52"/>
              <a:gd name="T34" fmla="*/ 223 w 314"/>
              <a:gd name="T35" fmla="*/ 52 h 52"/>
              <a:gd name="T36" fmla="*/ 248 w 314"/>
              <a:gd name="T37" fmla="*/ 26 h 52"/>
              <a:gd name="T38" fmla="*/ 223 w 314"/>
              <a:gd name="T39" fmla="*/ 0 h 52"/>
              <a:gd name="T40" fmla="*/ 288 w 314"/>
              <a:gd name="T41" fmla="*/ 0 h 52"/>
              <a:gd name="T42" fmla="*/ 262 w 314"/>
              <a:gd name="T43" fmla="*/ 26 h 52"/>
              <a:gd name="T44" fmla="*/ 288 w 314"/>
              <a:gd name="T45" fmla="*/ 52 h 52"/>
              <a:gd name="T46" fmla="*/ 314 w 314"/>
              <a:gd name="T47" fmla="*/ 26 h 52"/>
              <a:gd name="T48" fmla="*/ 288 w 314"/>
              <a:gd name="T49" fmla="*/ 0 h 52"/>
              <a:gd name="T50" fmla="*/ 288 w 314"/>
              <a:gd name="T51" fmla="*/ 3 h 52"/>
              <a:gd name="T52" fmla="*/ 312 w 314"/>
              <a:gd name="T53" fmla="*/ 26 h 52"/>
              <a:gd name="T54" fmla="*/ 288 w 314"/>
              <a:gd name="T55" fmla="*/ 50 h 52"/>
              <a:gd name="T56" fmla="*/ 265 w 314"/>
              <a:gd name="T57" fmla="*/ 26 h 52"/>
              <a:gd name="T58" fmla="*/ 288 w 314"/>
              <a:gd name="T59" fmla="*/ 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14" h="52">
                <a:moveTo>
                  <a:pt x="26" y="0"/>
                </a:moveTo>
                <a:cubicBezTo>
                  <a:pt x="11" y="0"/>
                  <a:pt x="0" y="12"/>
                  <a:pt x="0" y="26"/>
                </a:cubicBezTo>
                <a:cubicBezTo>
                  <a:pt x="0" y="40"/>
                  <a:pt x="11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91" y="0"/>
                </a:moveTo>
                <a:cubicBezTo>
                  <a:pt x="77" y="0"/>
                  <a:pt x="66" y="12"/>
                  <a:pt x="66" y="26"/>
                </a:cubicBezTo>
                <a:cubicBezTo>
                  <a:pt x="66" y="40"/>
                  <a:pt x="77" y="52"/>
                  <a:pt x="91" y="52"/>
                </a:cubicBezTo>
                <a:cubicBezTo>
                  <a:pt x="106" y="52"/>
                  <a:pt x="117" y="40"/>
                  <a:pt x="117" y="26"/>
                </a:cubicBezTo>
                <a:cubicBezTo>
                  <a:pt x="117" y="12"/>
                  <a:pt x="106" y="0"/>
                  <a:pt x="91" y="0"/>
                </a:cubicBezTo>
                <a:close/>
                <a:moveTo>
                  <a:pt x="157" y="0"/>
                </a:moveTo>
                <a:cubicBezTo>
                  <a:pt x="143" y="0"/>
                  <a:pt x="131" y="12"/>
                  <a:pt x="131" y="26"/>
                </a:cubicBezTo>
                <a:cubicBezTo>
                  <a:pt x="131" y="40"/>
                  <a:pt x="143" y="52"/>
                  <a:pt x="157" y="52"/>
                </a:cubicBezTo>
                <a:cubicBezTo>
                  <a:pt x="171" y="52"/>
                  <a:pt x="183" y="40"/>
                  <a:pt x="183" y="26"/>
                </a:cubicBezTo>
                <a:cubicBezTo>
                  <a:pt x="183" y="12"/>
                  <a:pt x="171" y="0"/>
                  <a:pt x="157" y="0"/>
                </a:cubicBezTo>
                <a:close/>
                <a:moveTo>
                  <a:pt x="223" y="0"/>
                </a:moveTo>
                <a:cubicBezTo>
                  <a:pt x="208" y="0"/>
                  <a:pt x="197" y="12"/>
                  <a:pt x="197" y="26"/>
                </a:cubicBezTo>
                <a:cubicBezTo>
                  <a:pt x="197" y="40"/>
                  <a:pt x="208" y="52"/>
                  <a:pt x="223" y="52"/>
                </a:cubicBezTo>
                <a:cubicBezTo>
                  <a:pt x="237" y="52"/>
                  <a:pt x="248" y="40"/>
                  <a:pt x="248" y="26"/>
                </a:cubicBezTo>
                <a:cubicBezTo>
                  <a:pt x="248" y="12"/>
                  <a:pt x="237" y="0"/>
                  <a:pt x="223" y="0"/>
                </a:cubicBezTo>
                <a:close/>
                <a:moveTo>
                  <a:pt x="288" y="0"/>
                </a:moveTo>
                <a:cubicBezTo>
                  <a:pt x="274" y="0"/>
                  <a:pt x="262" y="12"/>
                  <a:pt x="262" y="26"/>
                </a:cubicBezTo>
                <a:cubicBezTo>
                  <a:pt x="262" y="40"/>
                  <a:pt x="274" y="52"/>
                  <a:pt x="288" y="52"/>
                </a:cubicBezTo>
                <a:cubicBezTo>
                  <a:pt x="302" y="52"/>
                  <a:pt x="314" y="40"/>
                  <a:pt x="314" y="26"/>
                </a:cubicBezTo>
                <a:cubicBezTo>
                  <a:pt x="314" y="12"/>
                  <a:pt x="302" y="0"/>
                  <a:pt x="288" y="0"/>
                </a:cubicBezTo>
                <a:close/>
                <a:moveTo>
                  <a:pt x="288" y="3"/>
                </a:moveTo>
                <a:cubicBezTo>
                  <a:pt x="301" y="3"/>
                  <a:pt x="312" y="13"/>
                  <a:pt x="312" y="26"/>
                </a:cubicBezTo>
                <a:cubicBezTo>
                  <a:pt x="312" y="39"/>
                  <a:pt x="301" y="50"/>
                  <a:pt x="288" y="50"/>
                </a:cubicBezTo>
                <a:cubicBezTo>
                  <a:pt x="275" y="50"/>
                  <a:pt x="265" y="39"/>
                  <a:pt x="265" y="26"/>
                </a:cubicBezTo>
                <a:cubicBezTo>
                  <a:pt x="265" y="13"/>
                  <a:pt x="275" y="3"/>
                  <a:pt x="288" y="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Carrier Label"/>
          <p:cNvSpPr txBox="1"/>
          <p:nvPr userDrawn="1"/>
        </p:nvSpPr>
        <p:spPr>
          <a:xfrm>
            <a:off x="771856" y="683417"/>
            <a:ext cx="214802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rier</a:t>
            </a:r>
          </a:p>
        </p:txBody>
      </p:sp>
      <p:sp>
        <p:nvSpPr>
          <p:cNvPr id="21" name="Battery Label"/>
          <p:cNvSpPr txBox="1"/>
          <p:nvPr userDrawn="1"/>
        </p:nvSpPr>
        <p:spPr>
          <a:xfrm>
            <a:off x="3243477" y="683417"/>
            <a:ext cx="179536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3427104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 userDrawn="1"/>
        </p:nvGrpSpPr>
        <p:grpSpPr>
          <a:xfrm>
            <a:off x="431255" y="620688"/>
            <a:ext cx="3240361" cy="5760664"/>
            <a:chOff x="431255" y="808583"/>
            <a:chExt cx="3240360" cy="5760664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88DCD552-8D17-4371-9D15-B3FAB82B7CCF}"/>
                </a:ext>
              </a:extLst>
            </p:cNvPr>
            <p:cNvSpPr/>
            <p:nvPr userDrawn="1"/>
          </p:nvSpPr>
          <p:spPr>
            <a:xfrm>
              <a:off x="431575" y="809175"/>
              <a:ext cx="3240000" cy="5760000"/>
            </a:xfrm>
            <a:prstGeom prst="rect">
              <a:avLst/>
            </a:prstGeom>
            <a:solidFill>
              <a:schemeClr val="bg1">
                <a:lumMod val="95000"/>
                <a:alpha val="40000"/>
              </a:schemeClr>
            </a:solidFill>
            <a:ln w="3175" cap="flat">
              <a:solidFill>
                <a:schemeClr val="bg1">
                  <a:lumMod val="75000"/>
                </a:schemeClr>
              </a:solidFill>
              <a:prstDash val="sysDot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9720" tIns="109720" rIns="109720" bIns="109720" numCol="1" spcCol="38100" rtlCol="0" anchor="ctr">
              <a:noAutofit/>
            </a:bodyPr>
            <a:lstStyle/>
            <a:p>
              <a:pPr defTabSz="1980863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3899">
                <a:solidFill>
                  <a:srgbClr val="000000"/>
                </a:solidFill>
                <a:latin typeface="+mn-lt"/>
                <a:ea typeface="+mn-ea"/>
                <a:cs typeface="나눔고딕"/>
                <a:sym typeface="나눔고딕"/>
              </a:endParaRPr>
            </a:p>
          </p:txBody>
        </p:sp>
        <p:cxnSp>
          <p:nvCxnSpPr>
            <p:cNvPr id="9" name="직선 연결선 8">
              <a:extLst>
                <a:ext uri="{FF2B5EF4-FFF2-40B4-BE49-F238E27FC236}">
                  <a16:creationId xmlns:a16="http://schemas.microsoft.com/office/drawing/2014/main" id="{D872286B-4E6B-4001-A189-4C98B87E5B98}"/>
                </a:ext>
              </a:extLst>
            </p:cNvPr>
            <p:cNvCxnSpPr/>
            <p:nvPr userDrawn="1"/>
          </p:nvCxnSpPr>
          <p:spPr>
            <a:xfrm>
              <a:off x="431255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직선 연결선 9">
              <a:extLst>
                <a:ext uri="{FF2B5EF4-FFF2-40B4-BE49-F238E27FC236}">
                  <a16:creationId xmlns:a16="http://schemas.microsoft.com/office/drawing/2014/main" id="{2D7A3608-EB53-4AD9-BDFF-95C9B3AFE8A4}"/>
                </a:ext>
              </a:extLst>
            </p:cNvPr>
            <p:cNvCxnSpPr/>
            <p:nvPr userDrawn="1"/>
          </p:nvCxnSpPr>
          <p:spPr>
            <a:xfrm>
              <a:off x="503263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직선 연결선 10">
              <a:extLst>
                <a:ext uri="{FF2B5EF4-FFF2-40B4-BE49-F238E27FC236}">
                  <a16:creationId xmlns:a16="http://schemas.microsoft.com/office/drawing/2014/main" id="{3BC09537-10AF-4D44-A79A-E7180273BE23}"/>
                </a:ext>
              </a:extLst>
            </p:cNvPr>
            <p:cNvCxnSpPr/>
            <p:nvPr userDrawn="1"/>
          </p:nvCxnSpPr>
          <p:spPr>
            <a:xfrm>
              <a:off x="575271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직선 연결선 11">
              <a:extLst>
                <a:ext uri="{FF2B5EF4-FFF2-40B4-BE49-F238E27FC236}">
                  <a16:creationId xmlns:a16="http://schemas.microsoft.com/office/drawing/2014/main" id="{A67E582B-75F3-454A-BDF8-7113788DA2A8}"/>
                </a:ext>
              </a:extLst>
            </p:cNvPr>
            <p:cNvCxnSpPr/>
            <p:nvPr userDrawn="1"/>
          </p:nvCxnSpPr>
          <p:spPr>
            <a:xfrm>
              <a:off x="647279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직선 연결선 12">
              <a:extLst>
                <a:ext uri="{FF2B5EF4-FFF2-40B4-BE49-F238E27FC236}">
                  <a16:creationId xmlns:a16="http://schemas.microsoft.com/office/drawing/2014/main" id="{A3CE76D9-889A-44F0-BF99-A9AFAB5D1533}"/>
                </a:ext>
              </a:extLst>
            </p:cNvPr>
            <p:cNvCxnSpPr/>
            <p:nvPr userDrawn="1"/>
          </p:nvCxnSpPr>
          <p:spPr>
            <a:xfrm>
              <a:off x="719287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직선 연결선 13">
              <a:extLst>
                <a:ext uri="{FF2B5EF4-FFF2-40B4-BE49-F238E27FC236}">
                  <a16:creationId xmlns:a16="http://schemas.microsoft.com/office/drawing/2014/main" id="{7C5ABB06-A498-47CB-A5E5-5958CBBEECA7}"/>
                </a:ext>
              </a:extLst>
            </p:cNvPr>
            <p:cNvCxnSpPr/>
            <p:nvPr userDrawn="1"/>
          </p:nvCxnSpPr>
          <p:spPr>
            <a:xfrm>
              <a:off x="791295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직선 연결선 14">
              <a:extLst>
                <a:ext uri="{FF2B5EF4-FFF2-40B4-BE49-F238E27FC236}">
                  <a16:creationId xmlns:a16="http://schemas.microsoft.com/office/drawing/2014/main" id="{955CAB5E-2C0D-420D-85EB-A8FA9E62C52B}"/>
                </a:ext>
              </a:extLst>
            </p:cNvPr>
            <p:cNvCxnSpPr/>
            <p:nvPr userDrawn="1"/>
          </p:nvCxnSpPr>
          <p:spPr>
            <a:xfrm>
              <a:off x="863303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직선 연결선 15">
              <a:extLst>
                <a:ext uri="{FF2B5EF4-FFF2-40B4-BE49-F238E27FC236}">
                  <a16:creationId xmlns:a16="http://schemas.microsoft.com/office/drawing/2014/main" id="{E8140CCD-6190-4940-906B-41A598244D21}"/>
                </a:ext>
              </a:extLst>
            </p:cNvPr>
            <p:cNvCxnSpPr/>
            <p:nvPr userDrawn="1"/>
          </p:nvCxnSpPr>
          <p:spPr>
            <a:xfrm>
              <a:off x="935311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직선 연결선 16">
              <a:extLst>
                <a:ext uri="{FF2B5EF4-FFF2-40B4-BE49-F238E27FC236}">
                  <a16:creationId xmlns:a16="http://schemas.microsoft.com/office/drawing/2014/main" id="{59BA2E12-1E9A-4F38-8984-FA22EDAA76D2}"/>
                </a:ext>
              </a:extLst>
            </p:cNvPr>
            <p:cNvCxnSpPr/>
            <p:nvPr userDrawn="1"/>
          </p:nvCxnSpPr>
          <p:spPr>
            <a:xfrm>
              <a:off x="1007319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직선 연결선 17">
              <a:extLst>
                <a:ext uri="{FF2B5EF4-FFF2-40B4-BE49-F238E27FC236}">
                  <a16:creationId xmlns:a16="http://schemas.microsoft.com/office/drawing/2014/main" id="{0888A859-02A1-4797-9AE0-35FE72440D30}"/>
                </a:ext>
              </a:extLst>
            </p:cNvPr>
            <p:cNvCxnSpPr/>
            <p:nvPr userDrawn="1"/>
          </p:nvCxnSpPr>
          <p:spPr>
            <a:xfrm>
              <a:off x="1079327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직선 연결선 18">
              <a:extLst>
                <a:ext uri="{FF2B5EF4-FFF2-40B4-BE49-F238E27FC236}">
                  <a16:creationId xmlns:a16="http://schemas.microsoft.com/office/drawing/2014/main" id="{7EBC2710-E7CE-4334-A99E-ED24C49C3EB6}"/>
                </a:ext>
              </a:extLst>
            </p:cNvPr>
            <p:cNvCxnSpPr/>
            <p:nvPr userDrawn="1"/>
          </p:nvCxnSpPr>
          <p:spPr>
            <a:xfrm>
              <a:off x="1151335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연결선 19">
              <a:extLst>
                <a:ext uri="{FF2B5EF4-FFF2-40B4-BE49-F238E27FC236}">
                  <a16:creationId xmlns:a16="http://schemas.microsoft.com/office/drawing/2014/main" id="{8979DCA6-08B1-4BEF-B049-23A9A09C9C8C}"/>
                </a:ext>
              </a:extLst>
            </p:cNvPr>
            <p:cNvCxnSpPr/>
            <p:nvPr userDrawn="1"/>
          </p:nvCxnSpPr>
          <p:spPr>
            <a:xfrm>
              <a:off x="1223343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직선 연결선 20">
              <a:extLst>
                <a:ext uri="{FF2B5EF4-FFF2-40B4-BE49-F238E27FC236}">
                  <a16:creationId xmlns:a16="http://schemas.microsoft.com/office/drawing/2014/main" id="{779E151A-F18D-48B2-BE19-BBD1D5BF7CAC}"/>
                </a:ext>
              </a:extLst>
            </p:cNvPr>
            <p:cNvCxnSpPr/>
            <p:nvPr userDrawn="1"/>
          </p:nvCxnSpPr>
          <p:spPr>
            <a:xfrm>
              <a:off x="1295351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직선 연결선 21">
              <a:extLst>
                <a:ext uri="{FF2B5EF4-FFF2-40B4-BE49-F238E27FC236}">
                  <a16:creationId xmlns:a16="http://schemas.microsoft.com/office/drawing/2014/main" id="{542EEC66-1F06-45DF-A0D0-ED191D72DFC9}"/>
                </a:ext>
              </a:extLst>
            </p:cNvPr>
            <p:cNvCxnSpPr/>
            <p:nvPr userDrawn="1"/>
          </p:nvCxnSpPr>
          <p:spPr>
            <a:xfrm>
              <a:off x="1367359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직선 연결선 22">
              <a:extLst>
                <a:ext uri="{FF2B5EF4-FFF2-40B4-BE49-F238E27FC236}">
                  <a16:creationId xmlns:a16="http://schemas.microsoft.com/office/drawing/2014/main" id="{6B84704A-1669-443F-851D-AA51332ED4D3}"/>
                </a:ext>
              </a:extLst>
            </p:cNvPr>
            <p:cNvCxnSpPr/>
            <p:nvPr userDrawn="1"/>
          </p:nvCxnSpPr>
          <p:spPr>
            <a:xfrm>
              <a:off x="1439367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직선 연결선 23">
              <a:extLst>
                <a:ext uri="{FF2B5EF4-FFF2-40B4-BE49-F238E27FC236}">
                  <a16:creationId xmlns:a16="http://schemas.microsoft.com/office/drawing/2014/main" id="{B218F20A-2FA0-4A46-A0E9-ED0EBC32FCFF}"/>
                </a:ext>
              </a:extLst>
            </p:cNvPr>
            <p:cNvCxnSpPr/>
            <p:nvPr userDrawn="1"/>
          </p:nvCxnSpPr>
          <p:spPr>
            <a:xfrm>
              <a:off x="1511375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>
              <a:extLst>
                <a:ext uri="{FF2B5EF4-FFF2-40B4-BE49-F238E27FC236}">
                  <a16:creationId xmlns:a16="http://schemas.microsoft.com/office/drawing/2014/main" id="{2AE3C69D-FA50-4333-A6C6-BC74C0F7523C}"/>
                </a:ext>
              </a:extLst>
            </p:cNvPr>
            <p:cNvCxnSpPr/>
            <p:nvPr userDrawn="1"/>
          </p:nvCxnSpPr>
          <p:spPr>
            <a:xfrm>
              <a:off x="1583383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>
              <a:extLst>
                <a:ext uri="{FF2B5EF4-FFF2-40B4-BE49-F238E27FC236}">
                  <a16:creationId xmlns:a16="http://schemas.microsoft.com/office/drawing/2014/main" id="{C463C257-21C9-44F7-A6F3-B6D5CBBCB048}"/>
                </a:ext>
              </a:extLst>
            </p:cNvPr>
            <p:cNvCxnSpPr/>
            <p:nvPr userDrawn="1"/>
          </p:nvCxnSpPr>
          <p:spPr>
            <a:xfrm>
              <a:off x="1655391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연결선 26">
              <a:extLst>
                <a:ext uri="{FF2B5EF4-FFF2-40B4-BE49-F238E27FC236}">
                  <a16:creationId xmlns:a16="http://schemas.microsoft.com/office/drawing/2014/main" id="{A44C38F3-A201-4B84-B104-D0EE96511209}"/>
                </a:ext>
              </a:extLst>
            </p:cNvPr>
            <p:cNvCxnSpPr/>
            <p:nvPr userDrawn="1"/>
          </p:nvCxnSpPr>
          <p:spPr>
            <a:xfrm>
              <a:off x="1727399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직선 연결선 27">
              <a:extLst>
                <a:ext uri="{FF2B5EF4-FFF2-40B4-BE49-F238E27FC236}">
                  <a16:creationId xmlns:a16="http://schemas.microsoft.com/office/drawing/2014/main" id="{FEB986A5-05CE-4E77-9A90-9655FEE125D5}"/>
                </a:ext>
              </a:extLst>
            </p:cNvPr>
            <p:cNvCxnSpPr/>
            <p:nvPr userDrawn="1"/>
          </p:nvCxnSpPr>
          <p:spPr>
            <a:xfrm>
              <a:off x="1799407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직선 연결선 28">
              <a:extLst>
                <a:ext uri="{FF2B5EF4-FFF2-40B4-BE49-F238E27FC236}">
                  <a16:creationId xmlns:a16="http://schemas.microsoft.com/office/drawing/2014/main" id="{8B5B347F-6153-43C5-81FD-F6B291DFFF30}"/>
                </a:ext>
              </a:extLst>
            </p:cNvPr>
            <p:cNvCxnSpPr/>
            <p:nvPr userDrawn="1"/>
          </p:nvCxnSpPr>
          <p:spPr>
            <a:xfrm>
              <a:off x="1871415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직선 연결선 29">
              <a:extLst>
                <a:ext uri="{FF2B5EF4-FFF2-40B4-BE49-F238E27FC236}">
                  <a16:creationId xmlns:a16="http://schemas.microsoft.com/office/drawing/2014/main" id="{83D0A674-BC25-4F75-B85F-461847286CF3}"/>
                </a:ext>
              </a:extLst>
            </p:cNvPr>
            <p:cNvCxnSpPr/>
            <p:nvPr userDrawn="1"/>
          </p:nvCxnSpPr>
          <p:spPr>
            <a:xfrm>
              <a:off x="1943423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직선 연결선 30">
              <a:extLst>
                <a:ext uri="{FF2B5EF4-FFF2-40B4-BE49-F238E27FC236}">
                  <a16:creationId xmlns:a16="http://schemas.microsoft.com/office/drawing/2014/main" id="{3B6A3F0B-E5DD-43C8-8AB6-9370699E4AB1}"/>
                </a:ext>
              </a:extLst>
            </p:cNvPr>
            <p:cNvCxnSpPr/>
            <p:nvPr userDrawn="1"/>
          </p:nvCxnSpPr>
          <p:spPr>
            <a:xfrm>
              <a:off x="2015431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직선 연결선 31">
              <a:extLst>
                <a:ext uri="{FF2B5EF4-FFF2-40B4-BE49-F238E27FC236}">
                  <a16:creationId xmlns:a16="http://schemas.microsoft.com/office/drawing/2014/main" id="{1C8FC627-2CBC-4F73-9992-692B25CBA8BA}"/>
                </a:ext>
              </a:extLst>
            </p:cNvPr>
            <p:cNvCxnSpPr/>
            <p:nvPr userDrawn="1"/>
          </p:nvCxnSpPr>
          <p:spPr>
            <a:xfrm>
              <a:off x="2087439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직선 연결선 32">
              <a:extLst>
                <a:ext uri="{FF2B5EF4-FFF2-40B4-BE49-F238E27FC236}">
                  <a16:creationId xmlns:a16="http://schemas.microsoft.com/office/drawing/2014/main" id="{A502DF14-3198-43B2-B673-1485E69F7EEC}"/>
                </a:ext>
              </a:extLst>
            </p:cNvPr>
            <p:cNvCxnSpPr/>
            <p:nvPr userDrawn="1"/>
          </p:nvCxnSpPr>
          <p:spPr>
            <a:xfrm>
              <a:off x="2159447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>
              <a:extLst>
                <a:ext uri="{FF2B5EF4-FFF2-40B4-BE49-F238E27FC236}">
                  <a16:creationId xmlns:a16="http://schemas.microsoft.com/office/drawing/2014/main" id="{BBD9ECC9-C4FD-4E37-88E5-1C04D16AA442}"/>
                </a:ext>
              </a:extLst>
            </p:cNvPr>
            <p:cNvCxnSpPr/>
            <p:nvPr userDrawn="1"/>
          </p:nvCxnSpPr>
          <p:spPr>
            <a:xfrm>
              <a:off x="2231455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>
              <a:extLst>
                <a:ext uri="{FF2B5EF4-FFF2-40B4-BE49-F238E27FC236}">
                  <a16:creationId xmlns:a16="http://schemas.microsoft.com/office/drawing/2014/main" id="{02BD9D0B-D751-4204-B6CA-982E30D6411D}"/>
                </a:ext>
              </a:extLst>
            </p:cNvPr>
            <p:cNvCxnSpPr/>
            <p:nvPr userDrawn="1"/>
          </p:nvCxnSpPr>
          <p:spPr>
            <a:xfrm>
              <a:off x="2303463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>
              <a:extLst>
                <a:ext uri="{FF2B5EF4-FFF2-40B4-BE49-F238E27FC236}">
                  <a16:creationId xmlns:a16="http://schemas.microsoft.com/office/drawing/2014/main" id="{A02CD6EB-D402-4F8B-BEB3-7ECB47E84D06}"/>
                </a:ext>
              </a:extLst>
            </p:cNvPr>
            <p:cNvCxnSpPr/>
            <p:nvPr userDrawn="1"/>
          </p:nvCxnSpPr>
          <p:spPr>
            <a:xfrm>
              <a:off x="2375471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직선 연결선 36">
              <a:extLst>
                <a:ext uri="{FF2B5EF4-FFF2-40B4-BE49-F238E27FC236}">
                  <a16:creationId xmlns:a16="http://schemas.microsoft.com/office/drawing/2014/main" id="{F24255CE-DF44-473A-9506-17AA51706E05}"/>
                </a:ext>
              </a:extLst>
            </p:cNvPr>
            <p:cNvCxnSpPr/>
            <p:nvPr userDrawn="1"/>
          </p:nvCxnSpPr>
          <p:spPr>
            <a:xfrm>
              <a:off x="2447479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직선 연결선 37">
              <a:extLst>
                <a:ext uri="{FF2B5EF4-FFF2-40B4-BE49-F238E27FC236}">
                  <a16:creationId xmlns:a16="http://schemas.microsoft.com/office/drawing/2014/main" id="{01A937B4-7E6D-4FB2-88EF-7148723CCC32}"/>
                </a:ext>
              </a:extLst>
            </p:cNvPr>
            <p:cNvCxnSpPr/>
            <p:nvPr userDrawn="1"/>
          </p:nvCxnSpPr>
          <p:spPr>
            <a:xfrm>
              <a:off x="2519487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직선 연결선 38">
              <a:extLst>
                <a:ext uri="{FF2B5EF4-FFF2-40B4-BE49-F238E27FC236}">
                  <a16:creationId xmlns:a16="http://schemas.microsoft.com/office/drawing/2014/main" id="{2E3674C7-237B-45BE-8225-3691E6C15923}"/>
                </a:ext>
              </a:extLst>
            </p:cNvPr>
            <p:cNvCxnSpPr/>
            <p:nvPr userDrawn="1"/>
          </p:nvCxnSpPr>
          <p:spPr>
            <a:xfrm>
              <a:off x="2591495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직선 연결선 39">
              <a:extLst>
                <a:ext uri="{FF2B5EF4-FFF2-40B4-BE49-F238E27FC236}">
                  <a16:creationId xmlns:a16="http://schemas.microsoft.com/office/drawing/2014/main" id="{902E6EA7-8C43-4603-9767-CA2AF63BD247}"/>
                </a:ext>
              </a:extLst>
            </p:cNvPr>
            <p:cNvCxnSpPr/>
            <p:nvPr userDrawn="1"/>
          </p:nvCxnSpPr>
          <p:spPr>
            <a:xfrm>
              <a:off x="2663503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>
              <a:extLst>
                <a:ext uri="{FF2B5EF4-FFF2-40B4-BE49-F238E27FC236}">
                  <a16:creationId xmlns:a16="http://schemas.microsoft.com/office/drawing/2014/main" id="{8441F54A-3F68-4DFB-AB4A-C9ACA6FD6C79}"/>
                </a:ext>
              </a:extLst>
            </p:cNvPr>
            <p:cNvCxnSpPr/>
            <p:nvPr userDrawn="1"/>
          </p:nvCxnSpPr>
          <p:spPr>
            <a:xfrm>
              <a:off x="2735511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>
              <a:extLst>
                <a:ext uri="{FF2B5EF4-FFF2-40B4-BE49-F238E27FC236}">
                  <a16:creationId xmlns:a16="http://schemas.microsoft.com/office/drawing/2014/main" id="{D859544F-4152-4EB2-BAEA-DD0A5153328D}"/>
                </a:ext>
              </a:extLst>
            </p:cNvPr>
            <p:cNvCxnSpPr/>
            <p:nvPr userDrawn="1"/>
          </p:nvCxnSpPr>
          <p:spPr>
            <a:xfrm>
              <a:off x="2807519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>
              <a:extLst>
                <a:ext uri="{FF2B5EF4-FFF2-40B4-BE49-F238E27FC236}">
                  <a16:creationId xmlns:a16="http://schemas.microsoft.com/office/drawing/2014/main" id="{13BD02B1-0EB1-4DC0-92AA-DB69D128BCAD}"/>
                </a:ext>
              </a:extLst>
            </p:cNvPr>
            <p:cNvCxnSpPr/>
            <p:nvPr userDrawn="1"/>
          </p:nvCxnSpPr>
          <p:spPr>
            <a:xfrm>
              <a:off x="2879527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>
              <a:extLst>
                <a:ext uri="{FF2B5EF4-FFF2-40B4-BE49-F238E27FC236}">
                  <a16:creationId xmlns:a16="http://schemas.microsoft.com/office/drawing/2014/main" id="{4D64ED75-58EE-4CFC-AF83-A2AAD4FDA4A3}"/>
                </a:ext>
              </a:extLst>
            </p:cNvPr>
            <p:cNvCxnSpPr/>
            <p:nvPr userDrawn="1"/>
          </p:nvCxnSpPr>
          <p:spPr>
            <a:xfrm>
              <a:off x="2951535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직선 연결선 44">
              <a:extLst>
                <a:ext uri="{FF2B5EF4-FFF2-40B4-BE49-F238E27FC236}">
                  <a16:creationId xmlns:a16="http://schemas.microsoft.com/office/drawing/2014/main" id="{4542AB46-4BB7-4266-A3D2-4F8518C53976}"/>
                </a:ext>
              </a:extLst>
            </p:cNvPr>
            <p:cNvCxnSpPr/>
            <p:nvPr userDrawn="1"/>
          </p:nvCxnSpPr>
          <p:spPr>
            <a:xfrm>
              <a:off x="3023543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연결선 45">
              <a:extLst>
                <a:ext uri="{FF2B5EF4-FFF2-40B4-BE49-F238E27FC236}">
                  <a16:creationId xmlns:a16="http://schemas.microsoft.com/office/drawing/2014/main" id="{739AEFDF-85B0-4D35-88B8-9E9E173CF93B}"/>
                </a:ext>
              </a:extLst>
            </p:cNvPr>
            <p:cNvCxnSpPr/>
            <p:nvPr userDrawn="1"/>
          </p:nvCxnSpPr>
          <p:spPr>
            <a:xfrm>
              <a:off x="3095551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직선 연결선 46">
              <a:extLst>
                <a:ext uri="{FF2B5EF4-FFF2-40B4-BE49-F238E27FC236}">
                  <a16:creationId xmlns:a16="http://schemas.microsoft.com/office/drawing/2014/main" id="{23549BB4-86D2-44CB-A6DD-8FB43E16CF57}"/>
                </a:ext>
              </a:extLst>
            </p:cNvPr>
            <p:cNvCxnSpPr/>
            <p:nvPr userDrawn="1"/>
          </p:nvCxnSpPr>
          <p:spPr>
            <a:xfrm>
              <a:off x="3167559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직선 연결선 47">
              <a:extLst>
                <a:ext uri="{FF2B5EF4-FFF2-40B4-BE49-F238E27FC236}">
                  <a16:creationId xmlns:a16="http://schemas.microsoft.com/office/drawing/2014/main" id="{D0AA626C-C514-4214-8C93-007A2B631F28}"/>
                </a:ext>
              </a:extLst>
            </p:cNvPr>
            <p:cNvCxnSpPr/>
            <p:nvPr userDrawn="1"/>
          </p:nvCxnSpPr>
          <p:spPr>
            <a:xfrm>
              <a:off x="3239567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직선 연결선 48">
              <a:extLst>
                <a:ext uri="{FF2B5EF4-FFF2-40B4-BE49-F238E27FC236}">
                  <a16:creationId xmlns:a16="http://schemas.microsoft.com/office/drawing/2014/main" id="{7A305EFE-DC64-4974-B1CF-6EFECCFA3DFB}"/>
                </a:ext>
              </a:extLst>
            </p:cNvPr>
            <p:cNvCxnSpPr/>
            <p:nvPr userDrawn="1"/>
          </p:nvCxnSpPr>
          <p:spPr>
            <a:xfrm>
              <a:off x="3311575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직선 연결선 49">
              <a:extLst>
                <a:ext uri="{FF2B5EF4-FFF2-40B4-BE49-F238E27FC236}">
                  <a16:creationId xmlns:a16="http://schemas.microsoft.com/office/drawing/2014/main" id="{85C08463-9B1D-46F6-961E-DB9C339CA419}"/>
                </a:ext>
              </a:extLst>
            </p:cNvPr>
            <p:cNvCxnSpPr/>
            <p:nvPr userDrawn="1"/>
          </p:nvCxnSpPr>
          <p:spPr>
            <a:xfrm>
              <a:off x="3383583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>
              <a:extLst>
                <a:ext uri="{FF2B5EF4-FFF2-40B4-BE49-F238E27FC236}">
                  <a16:creationId xmlns:a16="http://schemas.microsoft.com/office/drawing/2014/main" id="{E8376123-4FA4-4961-AB7C-918492455A11}"/>
                </a:ext>
              </a:extLst>
            </p:cNvPr>
            <p:cNvCxnSpPr/>
            <p:nvPr userDrawn="1"/>
          </p:nvCxnSpPr>
          <p:spPr>
            <a:xfrm>
              <a:off x="3455591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직선 연결선 51">
              <a:extLst>
                <a:ext uri="{FF2B5EF4-FFF2-40B4-BE49-F238E27FC236}">
                  <a16:creationId xmlns:a16="http://schemas.microsoft.com/office/drawing/2014/main" id="{0D3CF737-37B1-4359-97E0-70D75850A12D}"/>
                </a:ext>
              </a:extLst>
            </p:cNvPr>
            <p:cNvCxnSpPr/>
            <p:nvPr userDrawn="1"/>
          </p:nvCxnSpPr>
          <p:spPr>
            <a:xfrm>
              <a:off x="3527599" y="808703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직선 연결선 52">
              <a:extLst>
                <a:ext uri="{FF2B5EF4-FFF2-40B4-BE49-F238E27FC236}">
                  <a16:creationId xmlns:a16="http://schemas.microsoft.com/office/drawing/2014/main" id="{E5DABC9F-C598-464C-9C8C-0E1E01C66B3F}"/>
                </a:ext>
              </a:extLst>
            </p:cNvPr>
            <p:cNvCxnSpPr/>
            <p:nvPr userDrawn="1"/>
          </p:nvCxnSpPr>
          <p:spPr>
            <a:xfrm>
              <a:off x="3599607" y="808607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직선 연결선 53">
              <a:extLst>
                <a:ext uri="{FF2B5EF4-FFF2-40B4-BE49-F238E27FC236}">
                  <a16:creationId xmlns:a16="http://schemas.microsoft.com/office/drawing/2014/main" id="{8590748D-7691-4151-A720-CCD6B045BE5D}"/>
                </a:ext>
              </a:extLst>
            </p:cNvPr>
            <p:cNvCxnSpPr/>
            <p:nvPr userDrawn="1"/>
          </p:nvCxnSpPr>
          <p:spPr>
            <a:xfrm>
              <a:off x="3671615" y="808631"/>
              <a:ext cx="0" cy="576054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>
              <a:extLst>
                <a:ext uri="{FF2B5EF4-FFF2-40B4-BE49-F238E27FC236}">
                  <a16:creationId xmlns:a16="http://schemas.microsoft.com/office/drawing/2014/main" id="{37A6A670-A4F7-4708-9D53-78D196E12A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80860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직선 연결선 55">
              <a:extLst>
                <a:ext uri="{FF2B5EF4-FFF2-40B4-BE49-F238E27FC236}">
                  <a16:creationId xmlns:a16="http://schemas.microsoft.com/office/drawing/2014/main" id="{21CBCFBD-15DC-4189-83B6-085E8E6503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88061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>
              <a:extLst>
                <a:ext uri="{FF2B5EF4-FFF2-40B4-BE49-F238E27FC236}">
                  <a16:creationId xmlns:a16="http://schemas.microsoft.com/office/drawing/2014/main" id="{CF384E25-7263-41DE-B802-082D0B50F6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95262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직선 연결선 57">
              <a:extLst>
                <a:ext uri="{FF2B5EF4-FFF2-40B4-BE49-F238E27FC236}">
                  <a16:creationId xmlns:a16="http://schemas.microsoft.com/office/drawing/2014/main" id="{2C6014CA-124B-4C69-BEA5-BC854B241A2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102463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직선 연결선 58">
              <a:extLst>
                <a:ext uri="{FF2B5EF4-FFF2-40B4-BE49-F238E27FC236}">
                  <a16:creationId xmlns:a16="http://schemas.microsoft.com/office/drawing/2014/main" id="{02456472-4332-4FE9-A104-A4DD6FFD37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09663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직선 연결선 59">
              <a:extLst>
                <a:ext uri="{FF2B5EF4-FFF2-40B4-BE49-F238E27FC236}">
                  <a16:creationId xmlns:a16="http://schemas.microsoft.com/office/drawing/2014/main" id="{F3F6EC6C-61B8-4300-9879-6E8DEE31FBA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116864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직선 연결선 60">
              <a:extLst>
                <a:ext uri="{FF2B5EF4-FFF2-40B4-BE49-F238E27FC236}">
                  <a16:creationId xmlns:a16="http://schemas.microsoft.com/office/drawing/2014/main" id="{3AE31459-5C85-4890-98AA-3AA62CB4D8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24065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 61">
              <a:extLst>
                <a:ext uri="{FF2B5EF4-FFF2-40B4-BE49-F238E27FC236}">
                  <a16:creationId xmlns:a16="http://schemas.microsoft.com/office/drawing/2014/main" id="{7BF3C063-005D-4D38-BE77-5793686258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31266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 62">
              <a:extLst>
                <a:ext uri="{FF2B5EF4-FFF2-40B4-BE49-F238E27FC236}">
                  <a16:creationId xmlns:a16="http://schemas.microsoft.com/office/drawing/2014/main" id="{C6C284EC-4FE0-47C9-AFA5-B3DC5A0596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138467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직선 연결선 63">
              <a:extLst>
                <a:ext uri="{FF2B5EF4-FFF2-40B4-BE49-F238E27FC236}">
                  <a16:creationId xmlns:a16="http://schemas.microsoft.com/office/drawing/2014/main" id="{1CA78EC9-2E1E-4D85-B5F8-30FE1247AD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45667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직선 연결선 64">
              <a:extLst>
                <a:ext uri="{FF2B5EF4-FFF2-40B4-BE49-F238E27FC236}">
                  <a16:creationId xmlns:a16="http://schemas.microsoft.com/office/drawing/2014/main" id="{D7959DAB-1298-4A28-990F-BFC309BF79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52868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직선 연결선 65">
              <a:extLst>
                <a:ext uri="{FF2B5EF4-FFF2-40B4-BE49-F238E27FC236}">
                  <a16:creationId xmlns:a16="http://schemas.microsoft.com/office/drawing/2014/main" id="{07E90231-3E00-46D3-AB6D-FFE0259064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160069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연결선 66">
              <a:extLst>
                <a:ext uri="{FF2B5EF4-FFF2-40B4-BE49-F238E27FC236}">
                  <a16:creationId xmlns:a16="http://schemas.microsoft.com/office/drawing/2014/main" id="{5E7D5FB0-5B15-4D9D-B56D-310DEE1A52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67270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직선 연결선 67">
              <a:extLst>
                <a:ext uri="{FF2B5EF4-FFF2-40B4-BE49-F238E27FC236}">
                  <a16:creationId xmlns:a16="http://schemas.microsoft.com/office/drawing/2014/main" id="{47042E8E-5A8B-4051-93D8-B5D744E2A0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74471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직선 연결선 68">
              <a:extLst>
                <a:ext uri="{FF2B5EF4-FFF2-40B4-BE49-F238E27FC236}">
                  <a16:creationId xmlns:a16="http://schemas.microsoft.com/office/drawing/2014/main" id="{5A171470-236B-4E32-A101-B10A4E0811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181671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직선 연결선 69">
              <a:extLst>
                <a:ext uri="{FF2B5EF4-FFF2-40B4-BE49-F238E27FC236}">
                  <a16:creationId xmlns:a16="http://schemas.microsoft.com/office/drawing/2014/main" id="{29E3ACEC-D9AB-4CA3-BCBB-95338215B50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88872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직선 연결선 70">
              <a:extLst>
                <a:ext uri="{FF2B5EF4-FFF2-40B4-BE49-F238E27FC236}">
                  <a16:creationId xmlns:a16="http://schemas.microsoft.com/office/drawing/2014/main" id="{C9F006F6-1E63-4EFA-A511-233B5044FC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196073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직선 연결선 71">
              <a:extLst>
                <a:ext uri="{FF2B5EF4-FFF2-40B4-BE49-F238E27FC236}">
                  <a16:creationId xmlns:a16="http://schemas.microsoft.com/office/drawing/2014/main" id="{9078948F-50C1-45C0-B87D-F4BD7C80FB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203274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직선 연결선 72">
              <a:extLst>
                <a:ext uri="{FF2B5EF4-FFF2-40B4-BE49-F238E27FC236}">
                  <a16:creationId xmlns:a16="http://schemas.microsoft.com/office/drawing/2014/main" id="{D51AF559-2D42-4EA3-9298-B06A678616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10475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직선 연결선 73">
              <a:extLst>
                <a:ext uri="{FF2B5EF4-FFF2-40B4-BE49-F238E27FC236}">
                  <a16:creationId xmlns:a16="http://schemas.microsoft.com/office/drawing/2014/main" id="{04E26D2C-87BF-4294-8723-7E90743F0FA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17675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직선 연결선 74">
              <a:extLst>
                <a:ext uri="{FF2B5EF4-FFF2-40B4-BE49-F238E27FC236}">
                  <a16:creationId xmlns:a16="http://schemas.microsoft.com/office/drawing/2014/main" id="{3C7CCE70-A568-4FB3-A830-C4FD2C6F4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224876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직선 연결선 75">
              <a:extLst>
                <a:ext uri="{FF2B5EF4-FFF2-40B4-BE49-F238E27FC236}">
                  <a16:creationId xmlns:a16="http://schemas.microsoft.com/office/drawing/2014/main" id="{591FF595-649D-4CA4-9D95-298A51B251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32077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직선 연결선 76">
              <a:extLst>
                <a:ext uri="{FF2B5EF4-FFF2-40B4-BE49-F238E27FC236}">
                  <a16:creationId xmlns:a16="http://schemas.microsoft.com/office/drawing/2014/main" id="{C7523C71-5066-4934-A354-186F5777B3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239278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직선 연결선 77">
              <a:extLst>
                <a:ext uri="{FF2B5EF4-FFF2-40B4-BE49-F238E27FC236}">
                  <a16:creationId xmlns:a16="http://schemas.microsoft.com/office/drawing/2014/main" id="{12D3655B-EB4E-41F8-91DE-39E7E22C22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46479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직선 연결선 78">
              <a:extLst>
                <a:ext uri="{FF2B5EF4-FFF2-40B4-BE49-F238E27FC236}">
                  <a16:creationId xmlns:a16="http://schemas.microsoft.com/office/drawing/2014/main" id="{E37814A1-4ABB-4ED2-9A8A-0E55BBA9C0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53679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직선 연결선 79">
              <a:extLst>
                <a:ext uri="{FF2B5EF4-FFF2-40B4-BE49-F238E27FC236}">
                  <a16:creationId xmlns:a16="http://schemas.microsoft.com/office/drawing/2014/main" id="{67D037DA-4C02-4F29-9624-93360E7542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260880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직선 연결선 80">
              <a:extLst>
                <a:ext uri="{FF2B5EF4-FFF2-40B4-BE49-F238E27FC236}">
                  <a16:creationId xmlns:a16="http://schemas.microsoft.com/office/drawing/2014/main" id="{3F1B493F-AB08-40B8-B2B5-595AFD7F19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68081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직선 연결선 81">
              <a:extLst>
                <a:ext uri="{FF2B5EF4-FFF2-40B4-BE49-F238E27FC236}">
                  <a16:creationId xmlns:a16="http://schemas.microsoft.com/office/drawing/2014/main" id="{8488F79F-463E-4000-807E-B08B0B840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75282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직선 연결선 82">
              <a:extLst>
                <a:ext uri="{FF2B5EF4-FFF2-40B4-BE49-F238E27FC236}">
                  <a16:creationId xmlns:a16="http://schemas.microsoft.com/office/drawing/2014/main" id="{6AA2CEB4-60F8-402E-9E2B-C385C8992E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282483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직선 연결선 83">
              <a:extLst>
                <a:ext uri="{FF2B5EF4-FFF2-40B4-BE49-F238E27FC236}">
                  <a16:creationId xmlns:a16="http://schemas.microsoft.com/office/drawing/2014/main" id="{B3D01290-3B3C-4308-836A-CBA02F2538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89683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직선 연결선 84">
              <a:extLst>
                <a:ext uri="{FF2B5EF4-FFF2-40B4-BE49-F238E27FC236}">
                  <a16:creationId xmlns:a16="http://schemas.microsoft.com/office/drawing/2014/main" id="{A10D8052-60BE-4C8F-A1B4-ADAF1EDB85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296884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직선 연결선 85">
              <a:extLst>
                <a:ext uri="{FF2B5EF4-FFF2-40B4-BE49-F238E27FC236}">
                  <a16:creationId xmlns:a16="http://schemas.microsoft.com/office/drawing/2014/main" id="{127531C6-B8E7-4D39-A5F3-2E04E619D8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04085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>
              <a:extLst>
                <a:ext uri="{FF2B5EF4-FFF2-40B4-BE49-F238E27FC236}">
                  <a16:creationId xmlns:a16="http://schemas.microsoft.com/office/drawing/2014/main" id="{95CB15D5-20A2-4101-95A4-61B712E3D6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11286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직선 연결선 87">
              <a:extLst>
                <a:ext uri="{FF2B5EF4-FFF2-40B4-BE49-F238E27FC236}">
                  <a16:creationId xmlns:a16="http://schemas.microsoft.com/office/drawing/2014/main" id="{5C224959-8310-428C-89E8-5B2F0835CF4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18487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직선 연결선 88">
              <a:extLst>
                <a:ext uri="{FF2B5EF4-FFF2-40B4-BE49-F238E27FC236}">
                  <a16:creationId xmlns:a16="http://schemas.microsoft.com/office/drawing/2014/main" id="{0E36E68D-F32B-43BF-835B-A835F5B819B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25687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직선 연결선 89">
              <a:extLst>
                <a:ext uri="{FF2B5EF4-FFF2-40B4-BE49-F238E27FC236}">
                  <a16:creationId xmlns:a16="http://schemas.microsoft.com/office/drawing/2014/main" id="{7BF2743B-852D-4557-9257-EE106C5649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32888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직선 연결선 90">
              <a:extLst>
                <a:ext uri="{FF2B5EF4-FFF2-40B4-BE49-F238E27FC236}">
                  <a16:creationId xmlns:a16="http://schemas.microsoft.com/office/drawing/2014/main" id="{BF12EEE8-9FAD-4DFB-AB17-BD2B9662C9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40089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연결선 91">
              <a:extLst>
                <a:ext uri="{FF2B5EF4-FFF2-40B4-BE49-F238E27FC236}">
                  <a16:creationId xmlns:a16="http://schemas.microsoft.com/office/drawing/2014/main" id="{1AD9E1E9-5B9F-41AD-B353-BFD1722709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47290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직선 연결선 92">
              <a:extLst>
                <a:ext uri="{FF2B5EF4-FFF2-40B4-BE49-F238E27FC236}">
                  <a16:creationId xmlns:a16="http://schemas.microsoft.com/office/drawing/2014/main" id="{200AE88D-EEB9-4424-AC43-51FFDC81C0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54491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직선 연결선 93">
              <a:extLst>
                <a:ext uri="{FF2B5EF4-FFF2-40B4-BE49-F238E27FC236}">
                  <a16:creationId xmlns:a16="http://schemas.microsoft.com/office/drawing/2014/main" id="{3F995A0F-5DCA-4BE7-803E-8201486191C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61691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직선 연결선 94">
              <a:extLst>
                <a:ext uri="{FF2B5EF4-FFF2-40B4-BE49-F238E27FC236}">
                  <a16:creationId xmlns:a16="http://schemas.microsoft.com/office/drawing/2014/main" id="{4FEA3782-AB86-4211-B307-33ECA3888C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68892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직선 연결선 95">
              <a:extLst>
                <a:ext uri="{FF2B5EF4-FFF2-40B4-BE49-F238E27FC236}">
                  <a16:creationId xmlns:a16="http://schemas.microsoft.com/office/drawing/2014/main" id="{7387510E-F37A-4F68-952D-377790DE0E4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76093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직선 연결선 96">
              <a:extLst>
                <a:ext uri="{FF2B5EF4-FFF2-40B4-BE49-F238E27FC236}">
                  <a16:creationId xmlns:a16="http://schemas.microsoft.com/office/drawing/2014/main" id="{67A17502-5E7C-4566-91A9-D0104DBD4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83294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직선 연결선 97">
              <a:extLst>
                <a:ext uri="{FF2B5EF4-FFF2-40B4-BE49-F238E27FC236}">
                  <a16:creationId xmlns:a16="http://schemas.microsoft.com/office/drawing/2014/main" id="{A23DC168-A4CB-4654-93C0-A3381F2E7C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390495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직선 연결선 98">
              <a:extLst>
                <a:ext uri="{FF2B5EF4-FFF2-40B4-BE49-F238E27FC236}">
                  <a16:creationId xmlns:a16="http://schemas.microsoft.com/office/drawing/2014/main" id="{56666E34-A17C-4BE8-8592-A4D192A810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397695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직선 연결선 99">
              <a:extLst>
                <a:ext uri="{FF2B5EF4-FFF2-40B4-BE49-F238E27FC236}">
                  <a16:creationId xmlns:a16="http://schemas.microsoft.com/office/drawing/2014/main" id="{56593AF2-4208-4EFB-86F8-2826E239AE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04896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직선 연결선 100">
              <a:extLst>
                <a:ext uri="{FF2B5EF4-FFF2-40B4-BE49-F238E27FC236}">
                  <a16:creationId xmlns:a16="http://schemas.microsoft.com/office/drawing/2014/main" id="{2B2EE9A8-F6AA-4B54-8B84-8B92078C7E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12097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직선 연결선 101">
              <a:extLst>
                <a:ext uri="{FF2B5EF4-FFF2-40B4-BE49-F238E27FC236}">
                  <a16:creationId xmlns:a16="http://schemas.microsoft.com/office/drawing/2014/main" id="{925BABA2-0556-4059-8CC3-94EE56FC6F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419298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직선 연결선 102">
              <a:extLst>
                <a:ext uri="{FF2B5EF4-FFF2-40B4-BE49-F238E27FC236}">
                  <a16:creationId xmlns:a16="http://schemas.microsoft.com/office/drawing/2014/main" id="{8BBA75AC-3108-48E4-8055-E69A3490AF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26499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직선 연결선 103">
              <a:extLst>
                <a:ext uri="{FF2B5EF4-FFF2-40B4-BE49-F238E27FC236}">
                  <a16:creationId xmlns:a16="http://schemas.microsoft.com/office/drawing/2014/main" id="{241034F6-47AC-4474-AD00-83D0BE6FF7B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33699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직선 연결선 104">
              <a:extLst>
                <a:ext uri="{FF2B5EF4-FFF2-40B4-BE49-F238E27FC236}">
                  <a16:creationId xmlns:a16="http://schemas.microsoft.com/office/drawing/2014/main" id="{E6144A29-8CE8-40C8-93A1-C321217ADA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440900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직선 연결선 105">
              <a:extLst>
                <a:ext uri="{FF2B5EF4-FFF2-40B4-BE49-F238E27FC236}">
                  <a16:creationId xmlns:a16="http://schemas.microsoft.com/office/drawing/2014/main" id="{2A46A89A-B268-4AAA-B62B-E4F56BB91B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48101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직선 연결선 106">
              <a:extLst>
                <a:ext uri="{FF2B5EF4-FFF2-40B4-BE49-F238E27FC236}">
                  <a16:creationId xmlns:a16="http://schemas.microsoft.com/office/drawing/2014/main" id="{DC8587BF-5E3F-42B7-A646-3E0A31358B8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455302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직선 연결선 107">
              <a:extLst>
                <a:ext uri="{FF2B5EF4-FFF2-40B4-BE49-F238E27FC236}">
                  <a16:creationId xmlns:a16="http://schemas.microsoft.com/office/drawing/2014/main" id="{49C3DDE3-7FE6-49D4-A4F8-C4F949D67B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62503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직선 연결선 108">
              <a:extLst>
                <a:ext uri="{FF2B5EF4-FFF2-40B4-BE49-F238E27FC236}">
                  <a16:creationId xmlns:a16="http://schemas.microsoft.com/office/drawing/2014/main" id="{34E3D918-A2CE-4AF0-AB28-2DD2B40EE2B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69703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직선 연결선 109">
              <a:extLst>
                <a:ext uri="{FF2B5EF4-FFF2-40B4-BE49-F238E27FC236}">
                  <a16:creationId xmlns:a16="http://schemas.microsoft.com/office/drawing/2014/main" id="{832428DE-60B2-4587-ACE0-ECF337B947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476904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직선 연결선 110">
              <a:extLst>
                <a:ext uri="{FF2B5EF4-FFF2-40B4-BE49-F238E27FC236}">
                  <a16:creationId xmlns:a16="http://schemas.microsoft.com/office/drawing/2014/main" id="{94DD02A3-4085-4E98-B600-70A9FE5404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84105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직선 연결선 111">
              <a:extLst>
                <a:ext uri="{FF2B5EF4-FFF2-40B4-BE49-F238E27FC236}">
                  <a16:creationId xmlns:a16="http://schemas.microsoft.com/office/drawing/2014/main" id="{6FEFFBC0-A8C1-41E0-A0F9-4250967D35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491306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직선 연결선 112">
              <a:extLst>
                <a:ext uri="{FF2B5EF4-FFF2-40B4-BE49-F238E27FC236}">
                  <a16:creationId xmlns:a16="http://schemas.microsoft.com/office/drawing/2014/main" id="{43EF7922-5A9C-4FA1-A35B-BF048649879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498507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직선 연결선 113">
              <a:extLst>
                <a:ext uri="{FF2B5EF4-FFF2-40B4-BE49-F238E27FC236}">
                  <a16:creationId xmlns:a16="http://schemas.microsoft.com/office/drawing/2014/main" id="{A4DC170C-2C69-4CAB-9DE6-F8BEB74FE6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05707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직선 연결선 114">
              <a:extLst>
                <a:ext uri="{FF2B5EF4-FFF2-40B4-BE49-F238E27FC236}">
                  <a16:creationId xmlns:a16="http://schemas.microsoft.com/office/drawing/2014/main" id="{A16ECC21-0F1A-44A5-86C1-280BCEA5D2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12908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직선 연결선 115">
              <a:extLst>
                <a:ext uri="{FF2B5EF4-FFF2-40B4-BE49-F238E27FC236}">
                  <a16:creationId xmlns:a16="http://schemas.microsoft.com/office/drawing/2014/main" id="{BB0E6BEB-0D85-4269-A4DE-C86F54D1E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520109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직선 연결선 116">
              <a:extLst>
                <a:ext uri="{FF2B5EF4-FFF2-40B4-BE49-F238E27FC236}">
                  <a16:creationId xmlns:a16="http://schemas.microsoft.com/office/drawing/2014/main" id="{91D35255-5D58-4627-B848-020F4AA8B5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27310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직선 연결선 117">
              <a:extLst>
                <a:ext uri="{FF2B5EF4-FFF2-40B4-BE49-F238E27FC236}">
                  <a16:creationId xmlns:a16="http://schemas.microsoft.com/office/drawing/2014/main" id="{4F7C2E9A-6CBB-48E3-8A92-4B406AA549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534511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직선 연결선 118">
              <a:extLst>
                <a:ext uri="{FF2B5EF4-FFF2-40B4-BE49-F238E27FC236}">
                  <a16:creationId xmlns:a16="http://schemas.microsoft.com/office/drawing/2014/main" id="{5D2CD2CB-6492-472C-82E3-306E8EC31B2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41711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직선 연결선 119">
              <a:extLst>
                <a:ext uri="{FF2B5EF4-FFF2-40B4-BE49-F238E27FC236}">
                  <a16:creationId xmlns:a16="http://schemas.microsoft.com/office/drawing/2014/main" id="{8860B057-8D9B-4BB2-89C2-F179D48B4F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48912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직선 연결선 120">
              <a:extLst>
                <a:ext uri="{FF2B5EF4-FFF2-40B4-BE49-F238E27FC236}">
                  <a16:creationId xmlns:a16="http://schemas.microsoft.com/office/drawing/2014/main" id="{46E402E4-1ED3-421B-A0A9-61BD7165FD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556113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직선 연결선 121">
              <a:extLst>
                <a:ext uri="{FF2B5EF4-FFF2-40B4-BE49-F238E27FC236}">
                  <a16:creationId xmlns:a16="http://schemas.microsoft.com/office/drawing/2014/main" id="{6AFD888A-6BA3-4C07-88F8-3E0D55447E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63314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직선 연결선 122">
              <a:extLst>
                <a:ext uri="{FF2B5EF4-FFF2-40B4-BE49-F238E27FC236}">
                  <a16:creationId xmlns:a16="http://schemas.microsoft.com/office/drawing/2014/main" id="{EE01ACF1-768B-46FE-9EAC-0969F54502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70515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직선 연결선 123">
              <a:extLst>
                <a:ext uri="{FF2B5EF4-FFF2-40B4-BE49-F238E27FC236}">
                  <a16:creationId xmlns:a16="http://schemas.microsoft.com/office/drawing/2014/main" id="{548DFFCD-4A8E-4A5D-B57C-F26EF6D17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577715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직선 연결선 124">
              <a:extLst>
                <a:ext uri="{FF2B5EF4-FFF2-40B4-BE49-F238E27FC236}">
                  <a16:creationId xmlns:a16="http://schemas.microsoft.com/office/drawing/2014/main" id="{B602F4AC-1DD4-440C-955A-7AA2A75A8E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84916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직선 연결선 125">
              <a:extLst>
                <a:ext uri="{FF2B5EF4-FFF2-40B4-BE49-F238E27FC236}">
                  <a16:creationId xmlns:a16="http://schemas.microsoft.com/office/drawing/2014/main" id="{0C27EC7B-C551-4E7F-8815-D32D410423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592117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직선 연결선 126">
              <a:extLst>
                <a:ext uri="{FF2B5EF4-FFF2-40B4-BE49-F238E27FC236}">
                  <a16:creationId xmlns:a16="http://schemas.microsoft.com/office/drawing/2014/main" id="{76CA4030-F1CE-488A-9136-FA1ED7DCC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599318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직선 연결선 127">
              <a:extLst>
                <a:ext uri="{FF2B5EF4-FFF2-40B4-BE49-F238E27FC236}">
                  <a16:creationId xmlns:a16="http://schemas.microsoft.com/office/drawing/2014/main" id="{E572D9D9-2E14-4AEA-9410-B5A41C0014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06519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직선 연결선 128">
              <a:extLst>
                <a:ext uri="{FF2B5EF4-FFF2-40B4-BE49-F238E27FC236}">
                  <a16:creationId xmlns:a16="http://schemas.microsoft.com/office/drawing/2014/main" id="{4008FFE5-2032-4993-9F28-E58C492B22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13719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직선 연결선 129">
              <a:extLst>
                <a:ext uri="{FF2B5EF4-FFF2-40B4-BE49-F238E27FC236}">
                  <a16:creationId xmlns:a16="http://schemas.microsoft.com/office/drawing/2014/main" id="{0CC8D05B-F7D9-4950-8F7B-591260059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20920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직선 연결선 130">
              <a:extLst>
                <a:ext uri="{FF2B5EF4-FFF2-40B4-BE49-F238E27FC236}">
                  <a16:creationId xmlns:a16="http://schemas.microsoft.com/office/drawing/2014/main" id="{7E4CCAF8-E926-4F0C-BC14-CAB41D3243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6281215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직선 연결선 131">
              <a:extLst>
                <a:ext uri="{FF2B5EF4-FFF2-40B4-BE49-F238E27FC236}">
                  <a16:creationId xmlns:a16="http://schemas.microsoft.com/office/drawing/2014/main" id="{E8F3132F-3751-4439-A088-03814F0A92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353223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직선 연결선 132">
              <a:extLst>
                <a:ext uri="{FF2B5EF4-FFF2-40B4-BE49-F238E27FC236}">
                  <a16:creationId xmlns:a16="http://schemas.microsoft.com/office/drawing/2014/main" id="{2505860C-2AA5-4CFA-8AA8-95EDBD85F32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425231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직선 연결선 133">
              <a:extLst>
                <a:ext uri="{FF2B5EF4-FFF2-40B4-BE49-F238E27FC236}">
                  <a16:creationId xmlns:a16="http://schemas.microsoft.com/office/drawing/2014/main" id="{50DCC2BE-D12F-4722-8A24-8581A8377E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615" y="6497239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직선 연결선 134">
              <a:extLst>
                <a:ext uri="{FF2B5EF4-FFF2-40B4-BE49-F238E27FC236}">
                  <a16:creationId xmlns:a16="http://schemas.microsoft.com/office/drawing/2014/main" id="{65D120E4-EADF-46AE-B5D3-2A34C0D8BD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255" y="6569247"/>
              <a:ext cx="32400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직사각형 137"/>
            <p:cNvSpPr/>
            <p:nvPr userDrawn="1"/>
          </p:nvSpPr>
          <p:spPr>
            <a:xfrm>
              <a:off x="431255" y="808583"/>
              <a:ext cx="3240360" cy="576064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63"/>
            </a:p>
          </p:txBody>
        </p:sp>
      </p:grpSp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836764"/>
            <a:ext cx="3240000" cy="504000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265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138" dirty="0">
              <a:solidFill>
                <a:srgbClr val="000000"/>
              </a:solidFill>
              <a:latin typeface="+mj-lt"/>
              <a:ea typeface="+mj-ea"/>
              <a:cs typeface="나눔고딕"/>
              <a:sym typeface="나눔고딕"/>
            </a:endParaRP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620690"/>
            <a:ext cx="3240000" cy="2294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 cap="flat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170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650" dirty="0">
              <a:solidFill>
                <a:schemeClr val="bg1"/>
              </a:solidFill>
              <a:latin typeface="Yu Gothic UI" panose="020B0500000000000000" pitchFamily="34" charset="-128"/>
              <a:ea typeface="+mj-ea"/>
              <a:cs typeface="나눔고딕"/>
              <a:sym typeface="나눔고딕"/>
            </a:endParaRPr>
          </a:p>
        </p:txBody>
      </p:sp>
      <p:sp>
        <p:nvSpPr>
          <p:cNvPr id="147" name="Status Bar Background"/>
          <p:cNvSpPr>
            <a:spLocks noChangeArrowheads="1"/>
          </p:cNvSpPr>
          <p:nvPr userDrawn="1"/>
        </p:nvSpPr>
        <p:spPr bwMode="auto">
          <a:xfrm>
            <a:off x="446495" y="665843"/>
            <a:ext cx="3240000" cy="1428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:08 AM</a:t>
            </a:r>
          </a:p>
        </p:txBody>
      </p:sp>
      <p:sp>
        <p:nvSpPr>
          <p:cNvPr id="148" name="Battery"/>
          <p:cNvSpPr>
            <a:spLocks noChangeAspect="1" noEditPoints="1"/>
          </p:cNvSpPr>
          <p:nvPr userDrawn="1"/>
        </p:nvSpPr>
        <p:spPr bwMode="auto">
          <a:xfrm>
            <a:off x="3455505" y="703149"/>
            <a:ext cx="174625" cy="68263"/>
          </a:xfrm>
          <a:custGeom>
            <a:avLst/>
            <a:gdLst>
              <a:gd name="T0" fmla="*/ 14 w 229"/>
              <a:gd name="T1" fmla="*/ 0 h 89"/>
              <a:gd name="T2" fmla="*/ 0 w 229"/>
              <a:gd name="T3" fmla="*/ 14 h 89"/>
              <a:gd name="T4" fmla="*/ 0 w 229"/>
              <a:gd name="T5" fmla="*/ 75 h 89"/>
              <a:gd name="T6" fmla="*/ 14 w 229"/>
              <a:gd name="T7" fmla="*/ 89 h 89"/>
              <a:gd name="T8" fmla="*/ 197 w 229"/>
              <a:gd name="T9" fmla="*/ 89 h 89"/>
              <a:gd name="T10" fmla="*/ 211 w 229"/>
              <a:gd name="T11" fmla="*/ 75 h 89"/>
              <a:gd name="T12" fmla="*/ 211 w 229"/>
              <a:gd name="T13" fmla="*/ 14 h 89"/>
              <a:gd name="T14" fmla="*/ 197 w 229"/>
              <a:gd name="T15" fmla="*/ 0 h 89"/>
              <a:gd name="T16" fmla="*/ 14 w 229"/>
              <a:gd name="T17" fmla="*/ 0 h 89"/>
              <a:gd name="T18" fmla="*/ 14 w 229"/>
              <a:gd name="T19" fmla="*/ 4 h 89"/>
              <a:gd name="T20" fmla="*/ 197 w 229"/>
              <a:gd name="T21" fmla="*/ 4 h 89"/>
              <a:gd name="T22" fmla="*/ 206 w 229"/>
              <a:gd name="T23" fmla="*/ 14 h 89"/>
              <a:gd name="T24" fmla="*/ 206 w 229"/>
              <a:gd name="T25" fmla="*/ 75 h 89"/>
              <a:gd name="T26" fmla="*/ 197 w 229"/>
              <a:gd name="T27" fmla="*/ 84 h 89"/>
              <a:gd name="T28" fmla="*/ 14 w 229"/>
              <a:gd name="T29" fmla="*/ 84 h 89"/>
              <a:gd name="T30" fmla="*/ 4 w 229"/>
              <a:gd name="T31" fmla="*/ 75 h 89"/>
              <a:gd name="T32" fmla="*/ 4 w 229"/>
              <a:gd name="T33" fmla="*/ 14 h 89"/>
              <a:gd name="T34" fmla="*/ 14 w 229"/>
              <a:gd name="T35" fmla="*/ 4 h 89"/>
              <a:gd name="T36" fmla="*/ 19 w 229"/>
              <a:gd name="T37" fmla="*/ 9 h 89"/>
              <a:gd name="T38" fmla="*/ 9 w 229"/>
              <a:gd name="T39" fmla="*/ 18 h 89"/>
              <a:gd name="T40" fmla="*/ 9 w 229"/>
              <a:gd name="T41" fmla="*/ 70 h 89"/>
              <a:gd name="T42" fmla="*/ 19 w 229"/>
              <a:gd name="T43" fmla="*/ 79 h 89"/>
              <a:gd name="T44" fmla="*/ 192 w 229"/>
              <a:gd name="T45" fmla="*/ 79 h 89"/>
              <a:gd name="T46" fmla="*/ 201 w 229"/>
              <a:gd name="T47" fmla="*/ 70 h 89"/>
              <a:gd name="T48" fmla="*/ 201 w 229"/>
              <a:gd name="T49" fmla="*/ 18 h 89"/>
              <a:gd name="T50" fmla="*/ 192 w 229"/>
              <a:gd name="T51" fmla="*/ 9 h 89"/>
              <a:gd name="T52" fmla="*/ 19 w 229"/>
              <a:gd name="T53" fmla="*/ 9 h 89"/>
              <a:gd name="T54" fmla="*/ 215 w 229"/>
              <a:gd name="T55" fmla="*/ 28 h 89"/>
              <a:gd name="T56" fmla="*/ 215 w 229"/>
              <a:gd name="T57" fmla="*/ 61 h 89"/>
              <a:gd name="T58" fmla="*/ 229 w 229"/>
              <a:gd name="T59" fmla="*/ 44 h 89"/>
              <a:gd name="T60" fmla="*/ 215 w 229"/>
              <a:gd name="T61" fmla="*/ 2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9" h="89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lnTo>
                  <a:pt x="0" y="75"/>
                </a:lnTo>
                <a:cubicBezTo>
                  <a:pt x="0" y="82"/>
                  <a:pt x="6" y="89"/>
                  <a:pt x="14" y="89"/>
                </a:cubicBezTo>
                <a:lnTo>
                  <a:pt x="197" y="89"/>
                </a:lnTo>
                <a:cubicBezTo>
                  <a:pt x="204" y="89"/>
                  <a:pt x="211" y="82"/>
                  <a:pt x="211" y="75"/>
                </a:cubicBezTo>
                <a:lnTo>
                  <a:pt x="211" y="14"/>
                </a:lnTo>
                <a:cubicBezTo>
                  <a:pt x="211" y="6"/>
                  <a:pt x="204" y="0"/>
                  <a:pt x="197" y="0"/>
                </a:cubicBezTo>
                <a:lnTo>
                  <a:pt x="14" y="0"/>
                </a:lnTo>
                <a:close/>
                <a:moveTo>
                  <a:pt x="14" y="4"/>
                </a:moveTo>
                <a:lnTo>
                  <a:pt x="197" y="4"/>
                </a:lnTo>
                <a:cubicBezTo>
                  <a:pt x="202" y="4"/>
                  <a:pt x="206" y="8"/>
                  <a:pt x="206" y="14"/>
                </a:cubicBezTo>
                <a:lnTo>
                  <a:pt x="206" y="75"/>
                </a:lnTo>
                <a:cubicBezTo>
                  <a:pt x="206" y="80"/>
                  <a:pt x="202" y="84"/>
                  <a:pt x="197" y="84"/>
                </a:cubicBezTo>
                <a:lnTo>
                  <a:pt x="14" y="84"/>
                </a:lnTo>
                <a:cubicBezTo>
                  <a:pt x="9" y="84"/>
                  <a:pt x="4" y="80"/>
                  <a:pt x="4" y="75"/>
                </a:cubicBezTo>
                <a:lnTo>
                  <a:pt x="4" y="14"/>
                </a:lnTo>
                <a:cubicBezTo>
                  <a:pt x="4" y="8"/>
                  <a:pt x="9" y="4"/>
                  <a:pt x="14" y="4"/>
                </a:cubicBezTo>
                <a:close/>
                <a:moveTo>
                  <a:pt x="19" y="9"/>
                </a:moveTo>
                <a:cubicBezTo>
                  <a:pt x="13" y="9"/>
                  <a:pt x="9" y="13"/>
                  <a:pt x="9" y="18"/>
                </a:cubicBezTo>
                <a:lnTo>
                  <a:pt x="9" y="70"/>
                </a:lnTo>
                <a:cubicBezTo>
                  <a:pt x="9" y="75"/>
                  <a:pt x="13" y="79"/>
                  <a:pt x="19" y="79"/>
                </a:cubicBezTo>
                <a:lnTo>
                  <a:pt x="192" y="79"/>
                </a:lnTo>
                <a:cubicBezTo>
                  <a:pt x="197" y="79"/>
                  <a:pt x="201" y="75"/>
                  <a:pt x="201" y="70"/>
                </a:cubicBezTo>
                <a:lnTo>
                  <a:pt x="201" y="18"/>
                </a:lnTo>
                <a:cubicBezTo>
                  <a:pt x="201" y="13"/>
                  <a:pt x="197" y="9"/>
                  <a:pt x="192" y="9"/>
                </a:cubicBezTo>
                <a:lnTo>
                  <a:pt x="19" y="9"/>
                </a:lnTo>
                <a:close/>
                <a:moveTo>
                  <a:pt x="215" y="28"/>
                </a:moveTo>
                <a:lnTo>
                  <a:pt x="215" y="61"/>
                </a:lnTo>
                <a:cubicBezTo>
                  <a:pt x="224" y="61"/>
                  <a:pt x="229" y="53"/>
                  <a:pt x="229" y="44"/>
                </a:cubicBezTo>
                <a:cubicBezTo>
                  <a:pt x="229" y="35"/>
                  <a:pt x="224" y="28"/>
                  <a:pt x="215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WLAN Strength"/>
          <p:cNvSpPr>
            <a:spLocks noChangeAspect="1" noEditPoints="1"/>
          </p:cNvSpPr>
          <p:nvPr userDrawn="1"/>
        </p:nvSpPr>
        <p:spPr bwMode="auto">
          <a:xfrm>
            <a:off x="1086179" y="704734"/>
            <a:ext cx="85726" cy="65088"/>
          </a:xfrm>
          <a:custGeom>
            <a:avLst/>
            <a:gdLst>
              <a:gd name="T0" fmla="*/ 56 w 112"/>
              <a:gd name="T1" fmla="*/ 0 h 85"/>
              <a:gd name="T2" fmla="*/ 0 w 112"/>
              <a:gd name="T3" fmla="*/ 22 h 85"/>
              <a:gd name="T4" fmla="*/ 8 w 112"/>
              <a:gd name="T5" fmla="*/ 32 h 85"/>
              <a:gd name="T6" fmla="*/ 56 w 112"/>
              <a:gd name="T7" fmla="*/ 14 h 85"/>
              <a:gd name="T8" fmla="*/ 103 w 112"/>
              <a:gd name="T9" fmla="*/ 32 h 85"/>
              <a:gd name="T10" fmla="*/ 112 w 112"/>
              <a:gd name="T11" fmla="*/ 22 h 85"/>
              <a:gd name="T12" fmla="*/ 56 w 112"/>
              <a:gd name="T13" fmla="*/ 0 h 85"/>
              <a:gd name="T14" fmla="*/ 56 w 112"/>
              <a:gd name="T15" fmla="*/ 28 h 85"/>
              <a:gd name="T16" fmla="*/ 18 w 112"/>
              <a:gd name="T17" fmla="*/ 43 h 85"/>
              <a:gd name="T18" fmla="*/ 27 w 112"/>
              <a:gd name="T19" fmla="*/ 53 h 85"/>
              <a:gd name="T20" fmla="*/ 56 w 112"/>
              <a:gd name="T21" fmla="*/ 43 h 85"/>
              <a:gd name="T22" fmla="*/ 84 w 112"/>
              <a:gd name="T23" fmla="*/ 53 h 85"/>
              <a:gd name="T24" fmla="*/ 94 w 112"/>
              <a:gd name="T25" fmla="*/ 43 h 85"/>
              <a:gd name="T26" fmla="*/ 56 w 112"/>
              <a:gd name="T27" fmla="*/ 28 h 85"/>
              <a:gd name="T28" fmla="*/ 56 w 112"/>
              <a:gd name="T29" fmla="*/ 56 h 85"/>
              <a:gd name="T30" fmla="*/ 37 w 112"/>
              <a:gd name="T31" fmla="*/ 64 h 85"/>
              <a:gd name="T32" fmla="*/ 56 w 112"/>
              <a:gd name="T33" fmla="*/ 85 h 85"/>
              <a:gd name="T34" fmla="*/ 75 w 112"/>
              <a:gd name="T35" fmla="*/ 64 h 85"/>
              <a:gd name="T36" fmla="*/ 56 w 112"/>
              <a:gd name="T37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2" h="85">
                <a:moveTo>
                  <a:pt x="56" y="0"/>
                </a:moveTo>
                <a:cubicBezTo>
                  <a:pt x="34" y="0"/>
                  <a:pt x="15" y="9"/>
                  <a:pt x="0" y="22"/>
                </a:cubicBezTo>
                <a:lnTo>
                  <a:pt x="8" y="32"/>
                </a:lnTo>
                <a:cubicBezTo>
                  <a:pt x="21" y="21"/>
                  <a:pt x="38" y="14"/>
                  <a:pt x="56" y="14"/>
                </a:cubicBezTo>
                <a:cubicBezTo>
                  <a:pt x="74" y="14"/>
                  <a:pt x="91" y="21"/>
                  <a:pt x="103" y="32"/>
                </a:cubicBezTo>
                <a:lnTo>
                  <a:pt x="112" y="22"/>
                </a:lnTo>
                <a:cubicBezTo>
                  <a:pt x="97" y="9"/>
                  <a:pt x="77" y="0"/>
                  <a:pt x="56" y="0"/>
                </a:cubicBezTo>
                <a:close/>
                <a:moveTo>
                  <a:pt x="56" y="28"/>
                </a:moveTo>
                <a:cubicBezTo>
                  <a:pt x="41" y="28"/>
                  <a:pt x="28" y="34"/>
                  <a:pt x="18" y="43"/>
                </a:cubicBezTo>
                <a:lnTo>
                  <a:pt x="27" y="53"/>
                </a:lnTo>
                <a:cubicBezTo>
                  <a:pt x="35" y="47"/>
                  <a:pt x="45" y="43"/>
                  <a:pt x="56" y="43"/>
                </a:cubicBezTo>
                <a:cubicBezTo>
                  <a:pt x="67" y="43"/>
                  <a:pt x="77" y="47"/>
                  <a:pt x="84" y="53"/>
                </a:cubicBezTo>
                <a:lnTo>
                  <a:pt x="94" y="43"/>
                </a:lnTo>
                <a:cubicBezTo>
                  <a:pt x="84" y="34"/>
                  <a:pt x="70" y="28"/>
                  <a:pt x="56" y="28"/>
                </a:cubicBezTo>
                <a:close/>
                <a:moveTo>
                  <a:pt x="56" y="56"/>
                </a:moveTo>
                <a:cubicBezTo>
                  <a:pt x="49" y="56"/>
                  <a:pt x="42" y="59"/>
                  <a:pt x="37" y="64"/>
                </a:cubicBezTo>
                <a:lnTo>
                  <a:pt x="56" y="85"/>
                </a:lnTo>
                <a:lnTo>
                  <a:pt x="75" y="64"/>
                </a:lnTo>
                <a:cubicBezTo>
                  <a:pt x="70" y="59"/>
                  <a:pt x="63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Signal Strength"/>
          <p:cNvSpPr>
            <a:spLocks noChangeAspect="1" noEditPoints="1"/>
          </p:cNvSpPr>
          <p:nvPr userDrawn="1"/>
        </p:nvSpPr>
        <p:spPr bwMode="auto">
          <a:xfrm>
            <a:off x="500393" y="717434"/>
            <a:ext cx="239713" cy="39688"/>
          </a:xfrm>
          <a:custGeom>
            <a:avLst/>
            <a:gdLst>
              <a:gd name="T0" fmla="*/ 26 w 314"/>
              <a:gd name="T1" fmla="*/ 0 h 52"/>
              <a:gd name="T2" fmla="*/ 0 w 314"/>
              <a:gd name="T3" fmla="*/ 26 h 52"/>
              <a:gd name="T4" fmla="*/ 26 w 314"/>
              <a:gd name="T5" fmla="*/ 52 h 52"/>
              <a:gd name="T6" fmla="*/ 52 w 314"/>
              <a:gd name="T7" fmla="*/ 26 h 52"/>
              <a:gd name="T8" fmla="*/ 26 w 314"/>
              <a:gd name="T9" fmla="*/ 0 h 52"/>
              <a:gd name="T10" fmla="*/ 91 w 314"/>
              <a:gd name="T11" fmla="*/ 0 h 52"/>
              <a:gd name="T12" fmla="*/ 66 w 314"/>
              <a:gd name="T13" fmla="*/ 26 h 52"/>
              <a:gd name="T14" fmla="*/ 91 w 314"/>
              <a:gd name="T15" fmla="*/ 52 h 52"/>
              <a:gd name="T16" fmla="*/ 117 w 314"/>
              <a:gd name="T17" fmla="*/ 26 h 52"/>
              <a:gd name="T18" fmla="*/ 91 w 314"/>
              <a:gd name="T19" fmla="*/ 0 h 52"/>
              <a:gd name="T20" fmla="*/ 157 w 314"/>
              <a:gd name="T21" fmla="*/ 0 h 52"/>
              <a:gd name="T22" fmla="*/ 131 w 314"/>
              <a:gd name="T23" fmla="*/ 26 h 52"/>
              <a:gd name="T24" fmla="*/ 157 w 314"/>
              <a:gd name="T25" fmla="*/ 52 h 52"/>
              <a:gd name="T26" fmla="*/ 183 w 314"/>
              <a:gd name="T27" fmla="*/ 26 h 52"/>
              <a:gd name="T28" fmla="*/ 157 w 314"/>
              <a:gd name="T29" fmla="*/ 0 h 52"/>
              <a:gd name="T30" fmla="*/ 223 w 314"/>
              <a:gd name="T31" fmla="*/ 0 h 52"/>
              <a:gd name="T32" fmla="*/ 197 w 314"/>
              <a:gd name="T33" fmla="*/ 26 h 52"/>
              <a:gd name="T34" fmla="*/ 223 w 314"/>
              <a:gd name="T35" fmla="*/ 52 h 52"/>
              <a:gd name="T36" fmla="*/ 248 w 314"/>
              <a:gd name="T37" fmla="*/ 26 h 52"/>
              <a:gd name="T38" fmla="*/ 223 w 314"/>
              <a:gd name="T39" fmla="*/ 0 h 52"/>
              <a:gd name="T40" fmla="*/ 288 w 314"/>
              <a:gd name="T41" fmla="*/ 0 h 52"/>
              <a:gd name="T42" fmla="*/ 262 w 314"/>
              <a:gd name="T43" fmla="*/ 26 h 52"/>
              <a:gd name="T44" fmla="*/ 288 w 314"/>
              <a:gd name="T45" fmla="*/ 52 h 52"/>
              <a:gd name="T46" fmla="*/ 314 w 314"/>
              <a:gd name="T47" fmla="*/ 26 h 52"/>
              <a:gd name="T48" fmla="*/ 288 w 314"/>
              <a:gd name="T49" fmla="*/ 0 h 52"/>
              <a:gd name="T50" fmla="*/ 288 w 314"/>
              <a:gd name="T51" fmla="*/ 3 h 52"/>
              <a:gd name="T52" fmla="*/ 312 w 314"/>
              <a:gd name="T53" fmla="*/ 26 h 52"/>
              <a:gd name="T54" fmla="*/ 288 w 314"/>
              <a:gd name="T55" fmla="*/ 50 h 52"/>
              <a:gd name="T56" fmla="*/ 265 w 314"/>
              <a:gd name="T57" fmla="*/ 26 h 52"/>
              <a:gd name="T58" fmla="*/ 288 w 314"/>
              <a:gd name="T59" fmla="*/ 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14" h="52">
                <a:moveTo>
                  <a:pt x="26" y="0"/>
                </a:moveTo>
                <a:cubicBezTo>
                  <a:pt x="11" y="0"/>
                  <a:pt x="0" y="12"/>
                  <a:pt x="0" y="26"/>
                </a:cubicBezTo>
                <a:cubicBezTo>
                  <a:pt x="0" y="40"/>
                  <a:pt x="11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91" y="0"/>
                </a:moveTo>
                <a:cubicBezTo>
                  <a:pt x="77" y="0"/>
                  <a:pt x="66" y="12"/>
                  <a:pt x="66" y="26"/>
                </a:cubicBezTo>
                <a:cubicBezTo>
                  <a:pt x="66" y="40"/>
                  <a:pt x="77" y="52"/>
                  <a:pt x="91" y="52"/>
                </a:cubicBezTo>
                <a:cubicBezTo>
                  <a:pt x="106" y="52"/>
                  <a:pt x="117" y="40"/>
                  <a:pt x="117" y="26"/>
                </a:cubicBezTo>
                <a:cubicBezTo>
                  <a:pt x="117" y="12"/>
                  <a:pt x="106" y="0"/>
                  <a:pt x="91" y="0"/>
                </a:cubicBezTo>
                <a:close/>
                <a:moveTo>
                  <a:pt x="157" y="0"/>
                </a:moveTo>
                <a:cubicBezTo>
                  <a:pt x="143" y="0"/>
                  <a:pt x="131" y="12"/>
                  <a:pt x="131" y="26"/>
                </a:cubicBezTo>
                <a:cubicBezTo>
                  <a:pt x="131" y="40"/>
                  <a:pt x="143" y="52"/>
                  <a:pt x="157" y="52"/>
                </a:cubicBezTo>
                <a:cubicBezTo>
                  <a:pt x="171" y="52"/>
                  <a:pt x="183" y="40"/>
                  <a:pt x="183" y="26"/>
                </a:cubicBezTo>
                <a:cubicBezTo>
                  <a:pt x="183" y="12"/>
                  <a:pt x="171" y="0"/>
                  <a:pt x="157" y="0"/>
                </a:cubicBezTo>
                <a:close/>
                <a:moveTo>
                  <a:pt x="223" y="0"/>
                </a:moveTo>
                <a:cubicBezTo>
                  <a:pt x="208" y="0"/>
                  <a:pt x="197" y="12"/>
                  <a:pt x="197" y="26"/>
                </a:cubicBezTo>
                <a:cubicBezTo>
                  <a:pt x="197" y="40"/>
                  <a:pt x="208" y="52"/>
                  <a:pt x="223" y="52"/>
                </a:cubicBezTo>
                <a:cubicBezTo>
                  <a:pt x="237" y="52"/>
                  <a:pt x="248" y="40"/>
                  <a:pt x="248" y="26"/>
                </a:cubicBezTo>
                <a:cubicBezTo>
                  <a:pt x="248" y="12"/>
                  <a:pt x="237" y="0"/>
                  <a:pt x="223" y="0"/>
                </a:cubicBezTo>
                <a:close/>
                <a:moveTo>
                  <a:pt x="288" y="0"/>
                </a:moveTo>
                <a:cubicBezTo>
                  <a:pt x="274" y="0"/>
                  <a:pt x="262" y="12"/>
                  <a:pt x="262" y="26"/>
                </a:cubicBezTo>
                <a:cubicBezTo>
                  <a:pt x="262" y="40"/>
                  <a:pt x="274" y="52"/>
                  <a:pt x="288" y="52"/>
                </a:cubicBezTo>
                <a:cubicBezTo>
                  <a:pt x="302" y="52"/>
                  <a:pt x="314" y="40"/>
                  <a:pt x="314" y="26"/>
                </a:cubicBezTo>
                <a:cubicBezTo>
                  <a:pt x="314" y="12"/>
                  <a:pt x="302" y="0"/>
                  <a:pt x="288" y="0"/>
                </a:cubicBezTo>
                <a:close/>
                <a:moveTo>
                  <a:pt x="288" y="3"/>
                </a:moveTo>
                <a:cubicBezTo>
                  <a:pt x="301" y="3"/>
                  <a:pt x="312" y="13"/>
                  <a:pt x="312" y="26"/>
                </a:cubicBezTo>
                <a:cubicBezTo>
                  <a:pt x="312" y="39"/>
                  <a:pt x="301" y="50"/>
                  <a:pt x="288" y="50"/>
                </a:cubicBezTo>
                <a:cubicBezTo>
                  <a:pt x="275" y="50"/>
                  <a:pt x="265" y="39"/>
                  <a:pt x="265" y="26"/>
                </a:cubicBezTo>
                <a:cubicBezTo>
                  <a:pt x="265" y="13"/>
                  <a:pt x="275" y="3"/>
                  <a:pt x="288" y="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Carrier Label"/>
          <p:cNvSpPr txBox="1"/>
          <p:nvPr userDrawn="1"/>
        </p:nvSpPr>
        <p:spPr>
          <a:xfrm>
            <a:off x="771856" y="683417"/>
            <a:ext cx="214802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rier</a:t>
            </a:r>
          </a:p>
        </p:txBody>
      </p:sp>
      <p:sp>
        <p:nvSpPr>
          <p:cNvPr id="152" name="Battery Label"/>
          <p:cNvSpPr txBox="1"/>
          <p:nvPr userDrawn="1"/>
        </p:nvSpPr>
        <p:spPr>
          <a:xfrm>
            <a:off x="3243477" y="683417"/>
            <a:ext cx="179536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2864525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2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>
            <a:extLst>
              <a:ext uri="{FF2B5EF4-FFF2-40B4-BE49-F238E27FC236}">
                <a16:creationId xmlns:a16="http://schemas.microsoft.com/office/drawing/2014/main" id="{A95B087C-BAFD-4DA5-9221-D8A61F792E69}"/>
              </a:ext>
            </a:extLst>
          </p:cNvPr>
          <p:cNvSpPr/>
          <p:nvPr userDrawn="1"/>
        </p:nvSpPr>
        <p:spPr>
          <a:xfrm>
            <a:off x="3527599" y="620688"/>
            <a:ext cx="144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8DCD552-8D17-4371-9D15-B3FAB82B7CCF}"/>
              </a:ext>
            </a:extLst>
          </p:cNvPr>
          <p:cNvSpPr/>
          <p:nvPr userDrawn="1"/>
        </p:nvSpPr>
        <p:spPr>
          <a:xfrm>
            <a:off x="431575" y="621256"/>
            <a:ext cx="3240000" cy="5760000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836764"/>
            <a:ext cx="3240000" cy="504000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265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138" dirty="0">
              <a:solidFill>
                <a:srgbClr val="000000"/>
              </a:solidFill>
              <a:latin typeface="+mj-lt"/>
              <a:ea typeface="+mj-ea"/>
              <a:cs typeface="나눔고딕"/>
              <a:sym typeface="나눔고딕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52610727-C064-4F3F-A046-678B8C9A62FD}"/>
              </a:ext>
            </a:extLst>
          </p:cNvPr>
          <p:cNvSpPr/>
          <p:nvPr userDrawn="1"/>
        </p:nvSpPr>
        <p:spPr>
          <a:xfrm>
            <a:off x="431255" y="620688"/>
            <a:ext cx="144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D4AFC7C4-B3E2-4FFE-961D-DEBB67642C90}"/>
              </a:ext>
            </a:extLst>
          </p:cNvPr>
          <p:cNvSpPr/>
          <p:nvPr userDrawn="1"/>
        </p:nvSpPr>
        <p:spPr>
          <a:xfrm>
            <a:off x="575271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89CD353C-86B1-460F-8CCC-121B4B183F86}"/>
              </a:ext>
            </a:extLst>
          </p:cNvPr>
          <p:cNvSpPr/>
          <p:nvPr userDrawn="1"/>
        </p:nvSpPr>
        <p:spPr>
          <a:xfrm>
            <a:off x="1007327" y="620688"/>
            <a:ext cx="72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DE495A1B-8FCB-490A-A776-560942677F0A}"/>
              </a:ext>
            </a:extLst>
          </p:cNvPr>
          <p:cNvSpPr/>
          <p:nvPr userDrawn="1"/>
        </p:nvSpPr>
        <p:spPr>
          <a:xfrm>
            <a:off x="1079327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FE9EFD5-735E-481A-BE56-AEA2945CB852}"/>
              </a:ext>
            </a:extLst>
          </p:cNvPr>
          <p:cNvSpPr/>
          <p:nvPr userDrawn="1"/>
        </p:nvSpPr>
        <p:spPr>
          <a:xfrm>
            <a:off x="1511383" y="620688"/>
            <a:ext cx="72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448534D9-6B10-444C-981A-C5C7EF2E9440}"/>
              </a:ext>
            </a:extLst>
          </p:cNvPr>
          <p:cNvSpPr/>
          <p:nvPr userDrawn="1"/>
        </p:nvSpPr>
        <p:spPr>
          <a:xfrm>
            <a:off x="1583383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F9C85315-A5DC-422F-8F17-C23E3C409F22}"/>
              </a:ext>
            </a:extLst>
          </p:cNvPr>
          <p:cNvSpPr/>
          <p:nvPr userDrawn="1"/>
        </p:nvSpPr>
        <p:spPr>
          <a:xfrm>
            <a:off x="2015439" y="620688"/>
            <a:ext cx="72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F2B54A96-483F-499B-833E-73DCBDFC7C7F}"/>
              </a:ext>
            </a:extLst>
          </p:cNvPr>
          <p:cNvSpPr/>
          <p:nvPr userDrawn="1"/>
        </p:nvSpPr>
        <p:spPr>
          <a:xfrm>
            <a:off x="2087439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FD89D4F9-1982-4F6B-B05E-FCD96D344EDB}"/>
              </a:ext>
            </a:extLst>
          </p:cNvPr>
          <p:cNvSpPr/>
          <p:nvPr userDrawn="1"/>
        </p:nvSpPr>
        <p:spPr>
          <a:xfrm>
            <a:off x="2519495" y="620688"/>
            <a:ext cx="72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4633C03-9C23-49C3-9C56-5974BCCDEB21}"/>
              </a:ext>
            </a:extLst>
          </p:cNvPr>
          <p:cNvSpPr/>
          <p:nvPr userDrawn="1"/>
        </p:nvSpPr>
        <p:spPr>
          <a:xfrm>
            <a:off x="2591495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B0EED6C6-0AE2-4FD5-B1B4-53E91CA41AC2}"/>
              </a:ext>
            </a:extLst>
          </p:cNvPr>
          <p:cNvSpPr/>
          <p:nvPr userDrawn="1"/>
        </p:nvSpPr>
        <p:spPr>
          <a:xfrm>
            <a:off x="3023551" y="620688"/>
            <a:ext cx="72000" cy="5760000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558B6BBA-073E-4AB3-8C0E-2C4F6D1BF20A}"/>
              </a:ext>
            </a:extLst>
          </p:cNvPr>
          <p:cNvSpPr/>
          <p:nvPr userDrawn="1"/>
        </p:nvSpPr>
        <p:spPr>
          <a:xfrm>
            <a:off x="3095551" y="620688"/>
            <a:ext cx="432000" cy="5760000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9148" tIns="89148" rIns="89148" bIns="89148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3899">
              <a:solidFill>
                <a:srgbClr val="000000"/>
              </a:solidFill>
              <a:latin typeface="+mn-lt"/>
              <a:ea typeface="+mn-ea"/>
              <a:cs typeface="나눔고딕"/>
              <a:sym typeface="나눔고딕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620690"/>
            <a:ext cx="3240000" cy="2294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 cap="flat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170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650" dirty="0">
              <a:solidFill>
                <a:schemeClr val="bg1"/>
              </a:solidFill>
              <a:latin typeface="Yu Gothic UI" panose="020B0500000000000000" pitchFamily="34" charset="-128"/>
              <a:ea typeface="+mj-ea"/>
              <a:cs typeface="나눔고딕"/>
              <a:sym typeface="나눔고딕"/>
            </a:endParaRPr>
          </a:p>
        </p:txBody>
      </p:sp>
      <p:sp>
        <p:nvSpPr>
          <p:cNvPr id="34" name="Status Bar Background"/>
          <p:cNvSpPr>
            <a:spLocks noChangeArrowheads="1"/>
          </p:cNvSpPr>
          <p:nvPr userDrawn="1"/>
        </p:nvSpPr>
        <p:spPr bwMode="auto">
          <a:xfrm>
            <a:off x="446495" y="665843"/>
            <a:ext cx="3240000" cy="1428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:08 AM</a:t>
            </a:r>
          </a:p>
        </p:txBody>
      </p:sp>
      <p:sp>
        <p:nvSpPr>
          <p:cNvPr id="35" name="Battery"/>
          <p:cNvSpPr>
            <a:spLocks noChangeAspect="1" noEditPoints="1"/>
          </p:cNvSpPr>
          <p:nvPr userDrawn="1"/>
        </p:nvSpPr>
        <p:spPr bwMode="auto">
          <a:xfrm>
            <a:off x="3455505" y="703149"/>
            <a:ext cx="174625" cy="68263"/>
          </a:xfrm>
          <a:custGeom>
            <a:avLst/>
            <a:gdLst>
              <a:gd name="T0" fmla="*/ 14 w 229"/>
              <a:gd name="T1" fmla="*/ 0 h 89"/>
              <a:gd name="T2" fmla="*/ 0 w 229"/>
              <a:gd name="T3" fmla="*/ 14 h 89"/>
              <a:gd name="T4" fmla="*/ 0 w 229"/>
              <a:gd name="T5" fmla="*/ 75 h 89"/>
              <a:gd name="T6" fmla="*/ 14 w 229"/>
              <a:gd name="T7" fmla="*/ 89 h 89"/>
              <a:gd name="T8" fmla="*/ 197 w 229"/>
              <a:gd name="T9" fmla="*/ 89 h 89"/>
              <a:gd name="T10" fmla="*/ 211 w 229"/>
              <a:gd name="T11" fmla="*/ 75 h 89"/>
              <a:gd name="T12" fmla="*/ 211 w 229"/>
              <a:gd name="T13" fmla="*/ 14 h 89"/>
              <a:gd name="T14" fmla="*/ 197 w 229"/>
              <a:gd name="T15" fmla="*/ 0 h 89"/>
              <a:gd name="T16" fmla="*/ 14 w 229"/>
              <a:gd name="T17" fmla="*/ 0 h 89"/>
              <a:gd name="T18" fmla="*/ 14 w 229"/>
              <a:gd name="T19" fmla="*/ 4 h 89"/>
              <a:gd name="T20" fmla="*/ 197 w 229"/>
              <a:gd name="T21" fmla="*/ 4 h 89"/>
              <a:gd name="T22" fmla="*/ 206 w 229"/>
              <a:gd name="T23" fmla="*/ 14 h 89"/>
              <a:gd name="T24" fmla="*/ 206 w 229"/>
              <a:gd name="T25" fmla="*/ 75 h 89"/>
              <a:gd name="T26" fmla="*/ 197 w 229"/>
              <a:gd name="T27" fmla="*/ 84 h 89"/>
              <a:gd name="T28" fmla="*/ 14 w 229"/>
              <a:gd name="T29" fmla="*/ 84 h 89"/>
              <a:gd name="T30" fmla="*/ 4 w 229"/>
              <a:gd name="T31" fmla="*/ 75 h 89"/>
              <a:gd name="T32" fmla="*/ 4 w 229"/>
              <a:gd name="T33" fmla="*/ 14 h 89"/>
              <a:gd name="T34" fmla="*/ 14 w 229"/>
              <a:gd name="T35" fmla="*/ 4 h 89"/>
              <a:gd name="T36" fmla="*/ 19 w 229"/>
              <a:gd name="T37" fmla="*/ 9 h 89"/>
              <a:gd name="T38" fmla="*/ 9 w 229"/>
              <a:gd name="T39" fmla="*/ 18 h 89"/>
              <a:gd name="T40" fmla="*/ 9 w 229"/>
              <a:gd name="T41" fmla="*/ 70 h 89"/>
              <a:gd name="T42" fmla="*/ 19 w 229"/>
              <a:gd name="T43" fmla="*/ 79 h 89"/>
              <a:gd name="T44" fmla="*/ 192 w 229"/>
              <a:gd name="T45" fmla="*/ 79 h 89"/>
              <a:gd name="T46" fmla="*/ 201 w 229"/>
              <a:gd name="T47" fmla="*/ 70 h 89"/>
              <a:gd name="T48" fmla="*/ 201 w 229"/>
              <a:gd name="T49" fmla="*/ 18 h 89"/>
              <a:gd name="T50" fmla="*/ 192 w 229"/>
              <a:gd name="T51" fmla="*/ 9 h 89"/>
              <a:gd name="T52" fmla="*/ 19 w 229"/>
              <a:gd name="T53" fmla="*/ 9 h 89"/>
              <a:gd name="T54" fmla="*/ 215 w 229"/>
              <a:gd name="T55" fmla="*/ 28 h 89"/>
              <a:gd name="T56" fmla="*/ 215 w 229"/>
              <a:gd name="T57" fmla="*/ 61 h 89"/>
              <a:gd name="T58" fmla="*/ 229 w 229"/>
              <a:gd name="T59" fmla="*/ 44 h 89"/>
              <a:gd name="T60" fmla="*/ 215 w 229"/>
              <a:gd name="T61" fmla="*/ 2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9" h="89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lnTo>
                  <a:pt x="0" y="75"/>
                </a:lnTo>
                <a:cubicBezTo>
                  <a:pt x="0" y="82"/>
                  <a:pt x="6" y="89"/>
                  <a:pt x="14" y="89"/>
                </a:cubicBezTo>
                <a:lnTo>
                  <a:pt x="197" y="89"/>
                </a:lnTo>
                <a:cubicBezTo>
                  <a:pt x="204" y="89"/>
                  <a:pt x="211" y="82"/>
                  <a:pt x="211" y="75"/>
                </a:cubicBezTo>
                <a:lnTo>
                  <a:pt x="211" y="14"/>
                </a:lnTo>
                <a:cubicBezTo>
                  <a:pt x="211" y="6"/>
                  <a:pt x="204" y="0"/>
                  <a:pt x="197" y="0"/>
                </a:cubicBezTo>
                <a:lnTo>
                  <a:pt x="14" y="0"/>
                </a:lnTo>
                <a:close/>
                <a:moveTo>
                  <a:pt x="14" y="4"/>
                </a:moveTo>
                <a:lnTo>
                  <a:pt x="197" y="4"/>
                </a:lnTo>
                <a:cubicBezTo>
                  <a:pt x="202" y="4"/>
                  <a:pt x="206" y="8"/>
                  <a:pt x="206" y="14"/>
                </a:cubicBezTo>
                <a:lnTo>
                  <a:pt x="206" y="75"/>
                </a:lnTo>
                <a:cubicBezTo>
                  <a:pt x="206" y="80"/>
                  <a:pt x="202" y="84"/>
                  <a:pt x="197" y="84"/>
                </a:cubicBezTo>
                <a:lnTo>
                  <a:pt x="14" y="84"/>
                </a:lnTo>
                <a:cubicBezTo>
                  <a:pt x="9" y="84"/>
                  <a:pt x="4" y="80"/>
                  <a:pt x="4" y="75"/>
                </a:cubicBezTo>
                <a:lnTo>
                  <a:pt x="4" y="14"/>
                </a:lnTo>
                <a:cubicBezTo>
                  <a:pt x="4" y="8"/>
                  <a:pt x="9" y="4"/>
                  <a:pt x="14" y="4"/>
                </a:cubicBezTo>
                <a:close/>
                <a:moveTo>
                  <a:pt x="19" y="9"/>
                </a:moveTo>
                <a:cubicBezTo>
                  <a:pt x="13" y="9"/>
                  <a:pt x="9" y="13"/>
                  <a:pt x="9" y="18"/>
                </a:cubicBezTo>
                <a:lnTo>
                  <a:pt x="9" y="70"/>
                </a:lnTo>
                <a:cubicBezTo>
                  <a:pt x="9" y="75"/>
                  <a:pt x="13" y="79"/>
                  <a:pt x="19" y="79"/>
                </a:cubicBezTo>
                <a:lnTo>
                  <a:pt x="192" y="79"/>
                </a:lnTo>
                <a:cubicBezTo>
                  <a:pt x="197" y="79"/>
                  <a:pt x="201" y="75"/>
                  <a:pt x="201" y="70"/>
                </a:cubicBezTo>
                <a:lnTo>
                  <a:pt x="201" y="18"/>
                </a:lnTo>
                <a:cubicBezTo>
                  <a:pt x="201" y="13"/>
                  <a:pt x="197" y="9"/>
                  <a:pt x="192" y="9"/>
                </a:cubicBezTo>
                <a:lnTo>
                  <a:pt x="19" y="9"/>
                </a:lnTo>
                <a:close/>
                <a:moveTo>
                  <a:pt x="215" y="28"/>
                </a:moveTo>
                <a:lnTo>
                  <a:pt x="215" y="61"/>
                </a:lnTo>
                <a:cubicBezTo>
                  <a:pt x="224" y="61"/>
                  <a:pt x="229" y="53"/>
                  <a:pt x="229" y="44"/>
                </a:cubicBezTo>
                <a:cubicBezTo>
                  <a:pt x="229" y="35"/>
                  <a:pt x="224" y="28"/>
                  <a:pt x="215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WLAN Strength"/>
          <p:cNvSpPr>
            <a:spLocks noChangeAspect="1" noEditPoints="1"/>
          </p:cNvSpPr>
          <p:nvPr userDrawn="1"/>
        </p:nvSpPr>
        <p:spPr bwMode="auto">
          <a:xfrm>
            <a:off x="1086179" y="704734"/>
            <a:ext cx="85726" cy="65088"/>
          </a:xfrm>
          <a:custGeom>
            <a:avLst/>
            <a:gdLst>
              <a:gd name="T0" fmla="*/ 56 w 112"/>
              <a:gd name="T1" fmla="*/ 0 h 85"/>
              <a:gd name="T2" fmla="*/ 0 w 112"/>
              <a:gd name="T3" fmla="*/ 22 h 85"/>
              <a:gd name="T4" fmla="*/ 8 w 112"/>
              <a:gd name="T5" fmla="*/ 32 h 85"/>
              <a:gd name="T6" fmla="*/ 56 w 112"/>
              <a:gd name="T7" fmla="*/ 14 h 85"/>
              <a:gd name="T8" fmla="*/ 103 w 112"/>
              <a:gd name="T9" fmla="*/ 32 h 85"/>
              <a:gd name="T10" fmla="*/ 112 w 112"/>
              <a:gd name="T11" fmla="*/ 22 h 85"/>
              <a:gd name="T12" fmla="*/ 56 w 112"/>
              <a:gd name="T13" fmla="*/ 0 h 85"/>
              <a:gd name="T14" fmla="*/ 56 w 112"/>
              <a:gd name="T15" fmla="*/ 28 h 85"/>
              <a:gd name="T16" fmla="*/ 18 w 112"/>
              <a:gd name="T17" fmla="*/ 43 h 85"/>
              <a:gd name="T18" fmla="*/ 27 w 112"/>
              <a:gd name="T19" fmla="*/ 53 h 85"/>
              <a:gd name="T20" fmla="*/ 56 w 112"/>
              <a:gd name="T21" fmla="*/ 43 h 85"/>
              <a:gd name="T22" fmla="*/ 84 w 112"/>
              <a:gd name="T23" fmla="*/ 53 h 85"/>
              <a:gd name="T24" fmla="*/ 94 w 112"/>
              <a:gd name="T25" fmla="*/ 43 h 85"/>
              <a:gd name="T26" fmla="*/ 56 w 112"/>
              <a:gd name="T27" fmla="*/ 28 h 85"/>
              <a:gd name="T28" fmla="*/ 56 w 112"/>
              <a:gd name="T29" fmla="*/ 56 h 85"/>
              <a:gd name="T30" fmla="*/ 37 w 112"/>
              <a:gd name="T31" fmla="*/ 64 h 85"/>
              <a:gd name="T32" fmla="*/ 56 w 112"/>
              <a:gd name="T33" fmla="*/ 85 h 85"/>
              <a:gd name="T34" fmla="*/ 75 w 112"/>
              <a:gd name="T35" fmla="*/ 64 h 85"/>
              <a:gd name="T36" fmla="*/ 56 w 112"/>
              <a:gd name="T37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2" h="85">
                <a:moveTo>
                  <a:pt x="56" y="0"/>
                </a:moveTo>
                <a:cubicBezTo>
                  <a:pt x="34" y="0"/>
                  <a:pt x="15" y="9"/>
                  <a:pt x="0" y="22"/>
                </a:cubicBezTo>
                <a:lnTo>
                  <a:pt x="8" y="32"/>
                </a:lnTo>
                <a:cubicBezTo>
                  <a:pt x="21" y="21"/>
                  <a:pt x="38" y="14"/>
                  <a:pt x="56" y="14"/>
                </a:cubicBezTo>
                <a:cubicBezTo>
                  <a:pt x="74" y="14"/>
                  <a:pt x="91" y="21"/>
                  <a:pt x="103" y="32"/>
                </a:cubicBezTo>
                <a:lnTo>
                  <a:pt x="112" y="22"/>
                </a:lnTo>
                <a:cubicBezTo>
                  <a:pt x="97" y="9"/>
                  <a:pt x="77" y="0"/>
                  <a:pt x="56" y="0"/>
                </a:cubicBezTo>
                <a:close/>
                <a:moveTo>
                  <a:pt x="56" y="28"/>
                </a:moveTo>
                <a:cubicBezTo>
                  <a:pt x="41" y="28"/>
                  <a:pt x="28" y="34"/>
                  <a:pt x="18" y="43"/>
                </a:cubicBezTo>
                <a:lnTo>
                  <a:pt x="27" y="53"/>
                </a:lnTo>
                <a:cubicBezTo>
                  <a:pt x="35" y="47"/>
                  <a:pt x="45" y="43"/>
                  <a:pt x="56" y="43"/>
                </a:cubicBezTo>
                <a:cubicBezTo>
                  <a:pt x="67" y="43"/>
                  <a:pt x="77" y="47"/>
                  <a:pt x="84" y="53"/>
                </a:cubicBezTo>
                <a:lnTo>
                  <a:pt x="94" y="43"/>
                </a:lnTo>
                <a:cubicBezTo>
                  <a:pt x="84" y="34"/>
                  <a:pt x="70" y="28"/>
                  <a:pt x="56" y="28"/>
                </a:cubicBezTo>
                <a:close/>
                <a:moveTo>
                  <a:pt x="56" y="56"/>
                </a:moveTo>
                <a:cubicBezTo>
                  <a:pt x="49" y="56"/>
                  <a:pt x="42" y="59"/>
                  <a:pt x="37" y="64"/>
                </a:cubicBezTo>
                <a:lnTo>
                  <a:pt x="56" y="85"/>
                </a:lnTo>
                <a:lnTo>
                  <a:pt x="75" y="64"/>
                </a:lnTo>
                <a:cubicBezTo>
                  <a:pt x="70" y="59"/>
                  <a:pt x="63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Signal Strength"/>
          <p:cNvSpPr>
            <a:spLocks noChangeAspect="1" noEditPoints="1"/>
          </p:cNvSpPr>
          <p:nvPr userDrawn="1"/>
        </p:nvSpPr>
        <p:spPr bwMode="auto">
          <a:xfrm>
            <a:off x="500393" y="717434"/>
            <a:ext cx="239713" cy="39688"/>
          </a:xfrm>
          <a:custGeom>
            <a:avLst/>
            <a:gdLst>
              <a:gd name="T0" fmla="*/ 26 w 314"/>
              <a:gd name="T1" fmla="*/ 0 h 52"/>
              <a:gd name="T2" fmla="*/ 0 w 314"/>
              <a:gd name="T3" fmla="*/ 26 h 52"/>
              <a:gd name="T4" fmla="*/ 26 w 314"/>
              <a:gd name="T5" fmla="*/ 52 h 52"/>
              <a:gd name="T6" fmla="*/ 52 w 314"/>
              <a:gd name="T7" fmla="*/ 26 h 52"/>
              <a:gd name="T8" fmla="*/ 26 w 314"/>
              <a:gd name="T9" fmla="*/ 0 h 52"/>
              <a:gd name="T10" fmla="*/ 91 w 314"/>
              <a:gd name="T11" fmla="*/ 0 h 52"/>
              <a:gd name="T12" fmla="*/ 66 w 314"/>
              <a:gd name="T13" fmla="*/ 26 h 52"/>
              <a:gd name="T14" fmla="*/ 91 w 314"/>
              <a:gd name="T15" fmla="*/ 52 h 52"/>
              <a:gd name="T16" fmla="*/ 117 w 314"/>
              <a:gd name="T17" fmla="*/ 26 h 52"/>
              <a:gd name="T18" fmla="*/ 91 w 314"/>
              <a:gd name="T19" fmla="*/ 0 h 52"/>
              <a:gd name="T20" fmla="*/ 157 w 314"/>
              <a:gd name="T21" fmla="*/ 0 h 52"/>
              <a:gd name="T22" fmla="*/ 131 w 314"/>
              <a:gd name="T23" fmla="*/ 26 h 52"/>
              <a:gd name="T24" fmla="*/ 157 w 314"/>
              <a:gd name="T25" fmla="*/ 52 h 52"/>
              <a:gd name="T26" fmla="*/ 183 w 314"/>
              <a:gd name="T27" fmla="*/ 26 h 52"/>
              <a:gd name="T28" fmla="*/ 157 w 314"/>
              <a:gd name="T29" fmla="*/ 0 h 52"/>
              <a:gd name="T30" fmla="*/ 223 w 314"/>
              <a:gd name="T31" fmla="*/ 0 h 52"/>
              <a:gd name="T32" fmla="*/ 197 w 314"/>
              <a:gd name="T33" fmla="*/ 26 h 52"/>
              <a:gd name="T34" fmla="*/ 223 w 314"/>
              <a:gd name="T35" fmla="*/ 52 h 52"/>
              <a:gd name="T36" fmla="*/ 248 w 314"/>
              <a:gd name="T37" fmla="*/ 26 h 52"/>
              <a:gd name="T38" fmla="*/ 223 w 314"/>
              <a:gd name="T39" fmla="*/ 0 h 52"/>
              <a:gd name="T40" fmla="*/ 288 w 314"/>
              <a:gd name="T41" fmla="*/ 0 h 52"/>
              <a:gd name="T42" fmla="*/ 262 w 314"/>
              <a:gd name="T43" fmla="*/ 26 h 52"/>
              <a:gd name="T44" fmla="*/ 288 w 314"/>
              <a:gd name="T45" fmla="*/ 52 h 52"/>
              <a:gd name="T46" fmla="*/ 314 w 314"/>
              <a:gd name="T47" fmla="*/ 26 h 52"/>
              <a:gd name="T48" fmla="*/ 288 w 314"/>
              <a:gd name="T49" fmla="*/ 0 h 52"/>
              <a:gd name="T50" fmla="*/ 288 w 314"/>
              <a:gd name="T51" fmla="*/ 3 h 52"/>
              <a:gd name="T52" fmla="*/ 312 w 314"/>
              <a:gd name="T53" fmla="*/ 26 h 52"/>
              <a:gd name="T54" fmla="*/ 288 w 314"/>
              <a:gd name="T55" fmla="*/ 50 h 52"/>
              <a:gd name="T56" fmla="*/ 265 w 314"/>
              <a:gd name="T57" fmla="*/ 26 h 52"/>
              <a:gd name="T58" fmla="*/ 288 w 314"/>
              <a:gd name="T59" fmla="*/ 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14" h="52">
                <a:moveTo>
                  <a:pt x="26" y="0"/>
                </a:moveTo>
                <a:cubicBezTo>
                  <a:pt x="11" y="0"/>
                  <a:pt x="0" y="12"/>
                  <a:pt x="0" y="26"/>
                </a:cubicBezTo>
                <a:cubicBezTo>
                  <a:pt x="0" y="40"/>
                  <a:pt x="11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91" y="0"/>
                </a:moveTo>
                <a:cubicBezTo>
                  <a:pt x="77" y="0"/>
                  <a:pt x="66" y="12"/>
                  <a:pt x="66" y="26"/>
                </a:cubicBezTo>
                <a:cubicBezTo>
                  <a:pt x="66" y="40"/>
                  <a:pt x="77" y="52"/>
                  <a:pt x="91" y="52"/>
                </a:cubicBezTo>
                <a:cubicBezTo>
                  <a:pt x="106" y="52"/>
                  <a:pt x="117" y="40"/>
                  <a:pt x="117" y="26"/>
                </a:cubicBezTo>
                <a:cubicBezTo>
                  <a:pt x="117" y="12"/>
                  <a:pt x="106" y="0"/>
                  <a:pt x="91" y="0"/>
                </a:cubicBezTo>
                <a:close/>
                <a:moveTo>
                  <a:pt x="157" y="0"/>
                </a:moveTo>
                <a:cubicBezTo>
                  <a:pt x="143" y="0"/>
                  <a:pt x="131" y="12"/>
                  <a:pt x="131" y="26"/>
                </a:cubicBezTo>
                <a:cubicBezTo>
                  <a:pt x="131" y="40"/>
                  <a:pt x="143" y="52"/>
                  <a:pt x="157" y="52"/>
                </a:cubicBezTo>
                <a:cubicBezTo>
                  <a:pt x="171" y="52"/>
                  <a:pt x="183" y="40"/>
                  <a:pt x="183" y="26"/>
                </a:cubicBezTo>
                <a:cubicBezTo>
                  <a:pt x="183" y="12"/>
                  <a:pt x="171" y="0"/>
                  <a:pt x="157" y="0"/>
                </a:cubicBezTo>
                <a:close/>
                <a:moveTo>
                  <a:pt x="223" y="0"/>
                </a:moveTo>
                <a:cubicBezTo>
                  <a:pt x="208" y="0"/>
                  <a:pt x="197" y="12"/>
                  <a:pt x="197" y="26"/>
                </a:cubicBezTo>
                <a:cubicBezTo>
                  <a:pt x="197" y="40"/>
                  <a:pt x="208" y="52"/>
                  <a:pt x="223" y="52"/>
                </a:cubicBezTo>
                <a:cubicBezTo>
                  <a:pt x="237" y="52"/>
                  <a:pt x="248" y="40"/>
                  <a:pt x="248" y="26"/>
                </a:cubicBezTo>
                <a:cubicBezTo>
                  <a:pt x="248" y="12"/>
                  <a:pt x="237" y="0"/>
                  <a:pt x="223" y="0"/>
                </a:cubicBezTo>
                <a:close/>
                <a:moveTo>
                  <a:pt x="288" y="0"/>
                </a:moveTo>
                <a:cubicBezTo>
                  <a:pt x="274" y="0"/>
                  <a:pt x="262" y="12"/>
                  <a:pt x="262" y="26"/>
                </a:cubicBezTo>
                <a:cubicBezTo>
                  <a:pt x="262" y="40"/>
                  <a:pt x="274" y="52"/>
                  <a:pt x="288" y="52"/>
                </a:cubicBezTo>
                <a:cubicBezTo>
                  <a:pt x="302" y="52"/>
                  <a:pt x="314" y="40"/>
                  <a:pt x="314" y="26"/>
                </a:cubicBezTo>
                <a:cubicBezTo>
                  <a:pt x="314" y="12"/>
                  <a:pt x="302" y="0"/>
                  <a:pt x="288" y="0"/>
                </a:cubicBezTo>
                <a:close/>
                <a:moveTo>
                  <a:pt x="288" y="3"/>
                </a:moveTo>
                <a:cubicBezTo>
                  <a:pt x="301" y="3"/>
                  <a:pt x="312" y="13"/>
                  <a:pt x="312" y="26"/>
                </a:cubicBezTo>
                <a:cubicBezTo>
                  <a:pt x="312" y="39"/>
                  <a:pt x="301" y="50"/>
                  <a:pt x="288" y="50"/>
                </a:cubicBezTo>
                <a:cubicBezTo>
                  <a:pt x="275" y="50"/>
                  <a:pt x="265" y="39"/>
                  <a:pt x="265" y="26"/>
                </a:cubicBezTo>
                <a:cubicBezTo>
                  <a:pt x="265" y="13"/>
                  <a:pt x="275" y="3"/>
                  <a:pt x="288" y="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Carrier Label"/>
          <p:cNvSpPr txBox="1"/>
          <p:nvPr userDrawn="1"/>
        </p:nvSpPr>
        <p:spPr>
          <a:xfrm>
            <a:off x="771856" y="683417"/>
            <a:ext cx="214802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rier</a:t>
            </a:r>
          </a:p>
        </p:txBody>
      </p:sp>
      <p:sp>
        <p:nvSpPr>
          <p:cNvPr id="39" name="Battery Label"/>
          <p:cNvSpPr txBox="1"/>
          <p:nvPr userDrawn="1"/>
        </p:nvSpPr>
        <p:spPr>
          <a:xfrm>
            <a:off x="3243477" y="683417"/>
            <a:ext cx="179536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2973101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4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 userDrawn="1"/>
        </p:nvCxnSpPr>
        <p:spPr>
          <a:xfrm>
            <a:off x="0" y="238314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/>
          <p:cNvCxnSpPr/>
          <p:nvPr userDrawn="1"/>
        </p:nvCxnSpPr>
        <p:spPr>
          <a:xfrm>
            <a:off x="9675833" y="0"/>
            <a:ext cx="0" cy="685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55340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Page name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5879" y="7620"/>
            <a:ext cx="18594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ID</a:t>
            </a:r>
            <a:r>
              <a:rPr lang="en-US" altLang="ko-KR" sz="650" baseline="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58174" y="35388"/>
            <a:ext cx="3813828" cy="178440"/>
          </a:xfrm>
          <a:prstGeom prst="rect">
            <a:avLst/>
          </a:prstGeom>
        </p:spPr>
        <p:txBody>
          <a:bodyPr/>
          <a:lstStyle>
            <a:lvl1pPr>
              <a:defRPr sz="650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22" name="직사각형 21"/>
          <p:cNvSpPr/>
          <p:nvPr userDrawn="1"/>
        </p:nvSpPr>
        <p:spPr>
          <a:xfrm>
            <a:off x="9675832" y="-5656"/>
            <a:ext cx="2516169" cy="243970"/>
          </a:xfrm>
          <a:prstGeom prst="rect">
            <a:avLst/>
          </a:prstGeom>
          <a:solidFill>
            <a:schemeClr val="tx1">
              <a:lumMod val="95000"/>
              <a:lumOff val="5000"/>
              <a:alpha val="7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ko-KR" altLang="en-US" sz="731" b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9768408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 b="0">
                <a:solidFill>
                  <a:schemeClr val="bg1"/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Description</a:t>
            </a:r>
            <a:endParaRPr lang="ko-KR" altLang="en-US" sz="650" b="0">
              <a:solidFill>
                <a:schemeClr val="bg1"/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951281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Logo Shape Red" userDrawn="1">
  <p:cSld name="Title Slide Logo Shape Red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BBCFC353-E6BE-4C92-9C9B-AD60DC978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42048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BBCFC353-E6BE-4C92-9C9B-AD60DC978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hidden">
          <a:xfrm>
            <a:off x="5032497" y="-1"/>
            <a:ext cx="7159503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95" name="Google Shape;95;p14"/>
          <p:cNvSpPr/>
          <p:nvPr/>
        </p:nvSpPr>
        <p:spPr>
          <a:xfrm>
            <a:off x="0" y="3"/>
            <a:ext cx="8914102" cy="6858001"/>
          </a:xfrm>
          <a:custGeom>
            <a:avLst/>
            <a:gdLst/>
            <a:ahLst/>
            <a:cxnLst/>
            <a:rect l="l" t="t" r="r" b="b"/>
            <a:pathLst>
              <a:path w="8914102" h="6858001" extrusionOk="0">
                <a:moveTo>
                  <a:pt x="1260764" y="0"/>
                </a:moveTo>
                <a:lnTo>
                  <a:pt x="5169189" y="0"/>
                </a:lnTo>
                <a:lnTo>
                  <a:pt x="5169189" y="765175"/>
                </a:lnTo>
                <a:lnTo>
                  <a:pt x="5937540" y="765175"/>
                </a:lnTo>
                <a:lnTo>
                  <a:pt x="5937540" y="1957388"/>
                </a:lnTo>
                <a:lnTo>
                  <a:pt x="7920327" y="1957388"/>
                </a:lnTo>
                <a:lnTo>
                  <a:pt x="7920327" y="4899025"/>
                </a:lnTo>
                <a:lnTo>
                  <a:pt x="8914102" y="4899025"/>
                </a:lnTo>
                <a:lnTo>
                  <a:pt x="8914102" y="6858000"/>
                </a:lnTo>
                <a:lnTo>
                  <a:pt x="7920327" y="6858000"/>
                </a:lnTo>
                <a:lnTo>
                  <a:pt x="5937540" y="6858000"/>
                </a:lnTo>
                <a:lnTo>
                  <a:pt x="5169189" y="6858000"/>
                </a:lnTo>
                <a:lnTo>
                  <a:pt x="3705515" y="6858000"/>
                </a:lnTo>
                <a:lnTo>
                  <a:pt x="1260764" y="6858000"/>
                </a:lnTo>
                <a:lnTo>
                  <a:pt x="1260764" y="6858001"/>
                </a:lnTo>
                <a:lnTo>
                  <a:pt x="0" y="6858001"/>
                </a:lnTo>
                <a:lnTo>
                  <a:pt x="0" y="1"/>
                </a:lnTo>
                <a:lnTo>
                  <a:pt x="1260764" y="1"/>
                </a:lnTo>
                <a:close/>
              </a:path>
            </a:pathLst>
          </a:custGeom>
          <a:solidFill>
            <a:srgbClr val="E0301E"/>
          </a:solidFill>
          <a:ln>
            <a:noFill/>
          </a:ln>
        </p:spPr>
        <p:txBody>
          <a:bodyPr spcFirstLastPara="1" wrap="square" lIns="74283" tIns="37131" rIns="74283" bIns="37131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ko-KR" altLang="en-US" sz="1463" dirty="0">
              <a:solidFill>
                <a:schemeClr val="lt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  <a:sym typeface="맑은 고딕" panose="020B0503020000020004" pitchFamily="50" charset="-127"/>
            </a:endParaRPr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908" y="5550665"/>
            <a:ext cx="1386831" cy="8546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511908" y="765175"/>
            <a:ext cx="5140966" cy="2339637"/>
          </a:xfrm>
        </p:spPr>
        <p:txBody>
          <a:bodyPr vert="horz" anchor="b" anchorCtr="0">
            <a:normAutofit/>
          </a:bodyPr>
          <a:lstStyle>
            <a:lvl1pPr algn="l">
              <a:lnSpc>
                <a:spcPct val="85000"/>
              </a:lnSpc>
              <a:defRPr sz="4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en-US" altLang="ko-KR"/>
              <a:t>Click to edit master title style</a:t>
            </a:r>
            <a:endParaRPr lang="ko-KR" alt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8E6B5BD0-CC46-9847-923C-F09159A05C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908" y="3703320"/>
            <a:ext cx="5140966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altLang="ko-KR"/>
              <a:t>Click to edit master subtitle style</a:t>
            </a:r>
            <a:endParaRPr lang="en-US" altLang="ko-KR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4872" y="6114000"/>
            <a:ext cx="3299186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9799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9267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9146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9051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9792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613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DB344CF8-BD1F-405C-A84A-0214996AD2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2569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DB344CF8-BD1F-405C-A84A-0214996AD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4">
            <a:extLst>
              <a:ext uri="{FF2B5EF4-FFF2-40B4-BE49-F238E27FC236}">
                <a16:creationId xmlns:a16="http://schemas.microsoft.com/office/drawing/2014/main" id="{4B5B2E2E-61C0-4ED8-A1FC-8B5F260224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65094" y="6565494"/>
            <a:ext cx="2618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CD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697B8F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 eaLnBrk="1" hangingPunct="1"/>
            <a:fld id="{B144587D-ED76-49C9-8FB6-BC366E2FBB0D}" type="slidenum">
              <a:rPr lang="en-US" altLang="ko-KR" sz="800" b="0" smtClean="0">
                <a:ln w="0">
                  <a:solidFill>
                    <a:srgbClr val="FF0000">
                      <a:alpha val="0"/>
                    </a:srgbClr>
                  </a:solidFill>
                </a:ln>
                <a:solidFill>
                  <a:srgbClr val="555555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pPr lvl="0" algn="ctr" eaLnBrk="1" hangingPunct="1"/>
              <a:t>‹#›</a:t>
            </a:fld>
            <a:endParaRPr lang="en-US" altLang="ko-KR" sz="800" b="0" dirty="0">
              <a:ln w="0">
                <a:solidFill>
                  <a:srgbClr val="FF0000">
                    <a:alpha val="0"/>
                  </a:srgbClr>
                </a:solidFill>
              </a:ln>
              <a:solidFill>
                <a:srgbClr val="555555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B8DCA1EC-F636-4654-B57A-3B4D8A384D1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53" y="6339928"/>
            <a:ext cx="671682" cy="414721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3E66F30D-036F-4B00-9BDD-09E7865A89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930" y="6575730"/>
            <a:ext cx="1187540" cy="16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66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0938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362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8448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8929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4812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2820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2910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9B215D55-7A13-4B5D-9BA8-186B2D83A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50270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9B215D55-7A13-4B5D-9BA8-186B2D83A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esentation Title"/>
          <p:cNvSpPr>
            <a:spLocks noGrp="1"/>
          </p:cNvSpPr>
          <p:nvPr>
            <p:ph type="ctrTitle" hasCustomPrompt="1"/>
          </p:nvPr>
        </p:nvSpPr>
        <p:spPr>
          <a:xfrm>
            <a:off x="511908" y="457201"/>
            <a:ext cx="5453185" cy="2514601"/>
          </a:xfrm>
        </p:spPr>
        <p:txBody>
          <a:bodyPr vert="horz" anchor="b" anchorCtr="0">
            <a:normAutofit/>
          </a:bodyPr>
          <a:lstStyle>
            <a:lvl1pPr algn="l">
              <a:lnSpc>
                <a:spcPct val="100000"/>
              </a:lnSpc>
              <a:defRPr sz="54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en-US" altLang="ko-KR"/>
              <a:t>Thank you</a:t>
            </a:r>
            <a:endParaRPr lang="ko-KR" altLang="en-US" dirty="0"/>
          </a:p>
        </p:txBody>
      </p:sp>
      <p:sp>
        <p:nvSpPr>
          <p:cNvPr id="14" name="Rectangle"/>
          <p:cNvSpPr/>
          <p:nvPr/>
        </p:nvSpPr>
        <p:spPr bwMode="hidden">
          <a:xfrm>
            <a:off x="1" y="4940856"/>
            <a:ext cx="12192000" cy="19171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13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2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6702" tIns="33350" rIns="66702" bIns="33350" numCol="1" anchor="t" anchorCtr="0" compatLnSpc="1">
            <a:prstTxWarp prst="textNoShape">
              <a:avLst/>
            </a:prstTxWarp>
          </a:bodyPr>
          <a:lstStyle/>
          <a:p>
            <a:endParaRPr lang="ko-KR" altLang="en-US" sz="1313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11908" y="5212081"/>
            <a:ext cx="11168185" cy="1096644"/>
          </a:xfr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000" b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2">
                <a:solidFill>
                  <a:schemeClr val="bg1"/>
                </a:solidFill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altLang="ko-KR" sz="1000">
                <a:solidFill>
                  <a:schemeClr val="bg1"/>
                </a:solidFill>
                <a:latin typeface="+mn-lt"/>
                <a:ea typeface="Arial"/>
                <a:cs typeface="Arial"/>
                <a:sym typeface="Arial"/>
              </a:rPr>
              <a:t>© &lt;YEAR HERE&gt; </a:t>
            </a:r>
            <a:r>
              <a:rPr lang="ko-KR" altLang="en-US" sz="1000">
                <a:solidFill>
                  <a:schemeClr val="bg1"/>
                </a:solidFill>
                <a:latin typeface="+mn-lt"/>
                <a:ea typeface="Arial"/>
                <a:cs typeface="Arial"/>
                <a:sym typeface="Arial"/>
              </a:rPr>
              <a:t>프라이스워터하우스쿠퍼스컨설팅</a:t>
            </a:r>
            <a:r>
              <a:rPr lang="en-US" altLang="ko-KR" sz="1000">
                <a:solidFill>
                  <a:schemeClr val="bg1"/>
                </a:solidFill>
                <a:latin typeface="+mn-lt"/>
                <a:ea typeface="Arial"/>
                <a:cs typeface="Arial"/>
                <a:sym typeface="Arial"/>
              </a:rPr>
              <a:t>. All rights reserved. </a:t>
            </a:r>
            <a:endParaRPr lang="en-US" altLang="ko-KR" sz="1000" dirty="0">
              <a:solidFill>
                <a:schemeClr val="bg1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2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6702" tIns="33350" rIns="66702" bIns="33350" numCol="1" anchor="t" anchorCtr="0" compatLnSpc="1">
            <a:prstTxWarp prst="textNoShape">
              <a:avLst/>
            </a:prstTxWarp>
          </a:bodyPr>
          <a:lstStyle/>
          <a:p>
            <a:endParaRPr lang="ko-KR" altLang="en-US" sz="1313" dirty="0"/>
          </a:p>
        </p:txBody>
      </p:sp>
    </p:spTree>
    <p:extLst>
      <p:ext uri="{BB962C8B-B14F-4D97-AF65-F5344CB8AC3E}">
        <p14:creationId xmlns:p14="http://schemas.microsoft.com/office/powerpoint/2010/main" val="3333901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Logo Shape Red" userDrawn="1">
  <p:cSld name="Title Slide Logo Shape Red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BBCFC353-E6BE-4C92-9C9B-AD60DC978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42048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BBCFC353-E6BE-4C92-9C9B-AD60DC978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hidden">
          <a:xfrm>
            <a:off x="5032497" y="-1"/>
            <a:ext cx="7159503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en-US" altLang="ko-KR" dirty="0"/>
              <a:t>Click icon to add picture</a:t>
            </a:r>
            <a:endParaRPr lang="ko-KR" altLang="en-US" dirty="0"/>
          </a:p>
        </p:txBody>
      </p:sp>
      <p:sp>
        <p:nvSpPr>
          <p:cNvPr id="95" name="Google Shape;95;p14"/>
          <p:cNvSpPr/>
          <p:nvPr/>
        </p:nvSpPr>
        <p:spPr>
          <a:xfrm>
            <a:off x="0" y="3"/>
            <a:ext cx="8914102" cy="6858001"/>
          </a:xfrm>
          <a:custGeom>
            <a:avLst/>
            <a:gdLst/>
            <a:ahLst/>
            <a:cxnLst/>
            <a:rect l="l" t="t" r="r" b="b"/>
            <a:pathLst>
              <a:path w="8914102" h="6858001" extrusionOk="0">
                <a:moveTo>
                  <a:pt x="1260764" y="0"/>
                </a:moveTo>
                <a:lnTo>
                  <a:pt x="5169189" y="0"/>
                </a:lnTo>
                <a:lnTo>
                  <a:pt x="5169189" y="765175"/>
                </a:lnTo>
                <a:lnTo>
                  <a:pt x="5937540" y="765175"/>
                </a:lnTo>
                <a:lnTo>
                  <a:pt x="5937540" y="1957388"/>
                </a:lnTo>
                <a:lnTo>
                  <a:pt x="7920327" y="1957388"/>
                </a:lnTo>
                <a:lnTo>
                  <a:pt x="7920327" y="4899025"/>
                </a:lnTo>
                <a:lnTo>
                  <a:pt x="8914102" y="4899025"/>
                </a:lnTo>
                <a:lnTo>
                  <a:pt x="8914102" y="6858000"/>
                </a:lnTo>
                <a:lnTo>
                  <a:pt x="7920327" y="6858000"/>
                </a:lnTo>
                <a:lnTo>
                  <a:pt x="5937540" y="6858000"/>
                </a:lnTo>
                <a:lnTo>
                  <a:pt x="5169189" y="6858000"/>
                </a:lnTo>
                <a:lnTo>
                  <a:pt x="3705515" y="6858000"/>
                </a:lnTo>
                <a:lnTo>
                  <a:pt x="1260764" y="6858000"/>
                </a:lnTo>
                <a:lnTo>
                  <a:pt x="1260764" y="6858001"/>
                </a:lnTo>
                <a:lnTo>
                  <a:pt x="0" y="6858001"/>
                </a:lnTo>
                <a:lnTo>
                  <a:pt x="0" y="1"/>
                </a:lnTo>
                <a:lnTo>
                  <a:pt x="1260764" y="1"/>
                </a:lnTo>
                <a:close/>
              </a:path>
            </a:pathLst>
          </a:custGeom>
          <a:solidFill>
            <a:srgbClr val="E0301E"/>
          </a:solidFill>
          <a:ln>
            <a:noFill/>
          </a:ln>
        </p:spPr>
        <p:txBody>
          <a:bodyPr spcFirstLastPara="1" wrap="square" lIns="74283" tIns="37131" rIns="74283" bIns="37131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ko-KR" altLang="en-US" sz="1463" dirty="0">
              <a:solidFill>
                <a:schemeClr val="lt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/>
              <a:sym typeface="맑은 고딕" panose="020B0503020000020004" pitchFamily="50" charset="-127"/>
            </a:endParaRPr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908" y="5550665"/>
            <a:ext cx="1386831" cy="8546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511908" y="765175"/>
            <a:ext cx="5140966" cy="2339637"/>
          </a:xfrm>
        </p:spPr>
        <p:txBody>
          <a:bodyPr vert="horz" anchor="b" anchorCtr="0">
            <a:normAutofit/>
          </a:bodyPr>
          <a:lstStyle>
            <a:lvl1pPr algn="l">
              <a:lnSpc>
                <a:spcPct val="85000"/>
              </a:lnSpc>
              <a:defRPr sz="40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en-US" altLang="ko-KR"/>
              <a:t>Click to edit master title style</a:t>
            </a:r>
            <a:endParaRPr lang="ko-KR" alt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8E6B5BD0-CC46-9847-923C-F09159A05C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1908" y="3703320"/>
            <a:ext cx="5140966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altLang="ko-KR"/>
              <a:t>Click to edit master subtitle style</a:t>
            </a:r>
            <a:endParaRPr lang="en-US" altLang="ko-KR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4872" y="6114000"/>
            <a:ext cx="3299186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7385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EB4F3052-A950-44A7-8C59-AB78FDAA34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080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EB4F3052-A950-44A7-8C59-AB78FDAA34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>
            <a:extLst>
              <a:ext uri="{FF2B5EF4-FFF2-40B4-BE49-F238E27FC236}">
                <a16:creationId xmlns:a16="http://schemas.microsoft.com/office/drawing/2014/main" id="{87CAB1A9-F515-884B-906F-F80430ACA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t" anchorCtr="0">
            <a:normAutofit/>
          </a:bodyPr>
          <a:lstStyle>
            <a:lvl1pPr>
              <a:defRPr lang="en-US" sz="1300" dirty="0">
                <a:latin typeface="맑은 고딕" panose="020B0503020000020004" pitchFamily="50" charset="-127"/>
                <a:cs typeface="+mj-cs"/>
              </a:defRPr>
            </a:lvl1pPr>
          </a:lstStyle>
          <a:p>
            <a:pPr lvl="0"/>
            <a:r>
              <a:rPr lang="en-US" dirty="0"/>
              <a:t>HEAD</a:t>
            </a:r>
            <a:r>
              <a:rPr lang="ko-KR" altLang="en-US" dirty="0"/>
              <a:t> </a:t>
            </a:r>
            <a:r>
              <a:rPr lang="en-US" altLang="ko-KR" dirty="0"/>
              <a:t>MESSEAGE</a:t>
            </a:r>
            <a:endParaRPr lang="en-US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298DDE95-B1C5-FB4C-8BF7-12046F6A30F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4"/>
            <a:ext cx="11306174" cy="320177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dirty="0">
                <a:solidFill>
                  <a:schemeClr val="tx2"/>
                </a:solidFill>
                <a:latin typeface="맑은 고딕" panose="020B0503020000020004" pitchFamily="50" charset="-127"/>
              </a:defRPr>
            </a:lvl1pPr>
          </a:lstStyle>
          <a:p>
            <a:pPr marL="0" lvl="0" indent="0">
              <a:spcAft>
                <a:spcPts val="0"/>
              </a:spcAft>
              <a:buNone/>
            </a:pPr>
            <a:r>
              <a:rPr lang="en-US" dirty="0"/>
              <a:t>TITLE</a:t>
            </a:r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B85135FE-5CD1-40E8-8312-B6FE7B4FD8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609">
                <a:latin typeface="+mn-ea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FontTx/>
              <a:buNone/>
              <a:defRPr sz="609"/>
            </a:lvl2pPr>
            <a:lvl3pPr marL="0" indent="0">
              <a:spcAft>
                <a:spcPts val="0"/>
              </a:spcAft>
              <a:buFontTx/>
              <a:buNone/>
              <a:defRPr sz="609"/>
            </a:lvl3pPr>
            <a:lvl4pPr marL="0" indent="0">
              <a:spcAft>
                <a:spcPts val="0"/>
              </a:spcAft>
              <a:buFontTx/>
              <a:buNone/>
              <a:defRPr sz="609"/>
            </a:lvl4pPr>
            <a:lvl5pPr marL="0" indent="0">
              <a:spcAft>
                <a:spcPts val="0"/>
              </a:spcAft>
              <a:buFontTx/>
              <a:buNone/>
              <a:defRPr sz="609"/>
            </a:lvl5pPr>
            <a:lvl6pPr marL="0" indent="0">
              <a:spcAft>
                <a:spcPts val="0"/>
              </a:spcAft>
              <a:buFontTx/>
              <a:buNone/>
              <a:defRPr sz="609"/>
            </a:lvl6pPr>
            <a:lvl7pPr marL="0" indent="0">
              <a:spcAft>
                <a:spcPts val="0"/>
              </a:spcAft>
              <a:buFontTx/>
              <a:buNone/>
              <a:defRPr sz="609"/>
            </a:lvl7pPr>
            <a:lvl8pPr marL="0" indent="0">
              <a:spcAft>
                <a:spcPts val="0"/>
              </a:spcAft>
              <a:buFontTx/>
              <a:buNone/>
              <a:defRPr sz="609"/>
            </a:lvl8pPr>
            <a:lvl9pPr marL="0" indent="0">
              <a:spcAft>
                <a:spcPts val="0"/>
              </a:spcAft>
              <a:buFontTx/>
              <a:buNone/>
              <a:defRPr sz="609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9" name="내용 개체 틀 3">
            <a:extLst>
              <a:ext uri="{FF2B5EF4-FFF2-40B4-BE49-F238E27FC236}">
                <a16:creationId xmlns:a16="http://schemas.microsoft.com/office/drawing/2014/main" id="{2AEE61D7-55CE-4A1C-8F49-2C7A3AAAE56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0049691" y="2"/>
            <a:ext cx="1699394" cy="404813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813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 sz="894">
                <a:latin typeface="CJ ONLYONE Medium" panose="02020603020101020101" pitchFamily="18" charset="-127"/>
                <a:ea typeface="CJ ONLYONE Medium" panose="02020603020101020101" pitchFamily="18" charset="-127"/>
              </a:defRPr>
            </a:lvl2pPr>
            <a:lvl3pPr>
              <a:defRPr sz="894">
                <a:latin typeface="CJ ONLYONE Medium" panose="02020603020101020101" pitchFamily="18" charset="-127"/>
                <a:ea typeface="CJ ONLYONE Medium" panose="02020603020101020101" pitchFamily="18" charset="-127"/>
              </a:defRPr>
            </a:lvl3pPr>
            <a:lvl4pPr>
              <a:defRPr sz="894">
                <a:latin typeface="CJ ONLYONE Medium" panose="02020603020101020101" pitchFamily="18" charset="-127"/>
                <a:ea typeface="CJ ONLYONE Medium" panose="02020603020101020101" pitchFamily="18" charset="-127"/>
              </a:defRPr>
            </a:lvl4pPr>
            <a:lvl5pPr>
              <a:defRPr sz="894">
                <a:latin typeface="CJ ONLYONE Medium" panose="02020603020101020101" pitchFamily="18" charset="-127"/>
                <a:ea typeface="CJ ONLYONE Medium" panose="02020603020101020101" pitchFamily="18" charset="-127"/>
              </a:defRPr>
            </a:lvl5pPr>
          </a:lstStyle>
          <a:p>
            <a:pPr lvl="0"/>
            <a:r>
              <a:rPr lang="ko-KR" altLang="en-US" dirty="0" err="1"/>
              <a:t>대목차</a:t>
            </a:r>
            <a:endParaRPr lang="en-US" altLang="ko-KR" dirty="0"/>
          </a:p>
          <a:p>
            <a:pPr lvl="0"/>
            <a:r>
              <a:rPr lang="ko-KR" altLang="en-US" dirty="0" err="1"/>
              <a:t>중목차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29159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4831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38151" y="300883"/>
            <a:ext cx="5657850" cy="261610"/>
          </a:xfrm>
          <a:prstGeom prst="rect">
            <a:avLst/>
          </a:prstGeom>
        </p:spPr>
        <p:txBody>
          <a:bodyPr lIns="0" tIns="46800" rIns="0" bIns="46800"/>
          <a:lstStyle>
            <a:lvl1pPr>
              <a:defRPr sz="894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3780145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 userDrawn="1"/>
        </p:nvCxnSpPr>
        <p:spPr>
          <a:xfrm>
            <a:off x="0" y="238314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/>
          <p:cNvCxnSpPr/>
          <p:nvPr userDrawn="1"/>
        </p:nvCxnSpPr>
        <p:spPr>
          <a:xfrm>
            <a:off x="9675833" y="0"/>
            <a:ext cx="0" cy="685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55340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Page name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5879" y="7620"/>
            <a:ext cx="18594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ID</a:t>
            </a:r>
            <a:r>
              <a:rPr lang="en-US" altLang="ko-KR" sz="650" baseline="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620690"/>
            <a:ext cx="3240000" cy="2294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 cap="flat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170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650" dirty="0">
              <a:solidFill>
                <a:schemeClr val="bg1"/>
              </a:solidFill>
              <a:latin typeface="Yu Gothic UI" panose="020B0500000000000000" pitchFamily="34" charset="-128"/>
              <a:ea typeface="+mj-ea"/>
              <a:cs typeface="나눔고딕"/>
              <a:sym typeface="나눔고딕"/>
            </a:endParaRPr>
          </a:p>
        </p:txBody>
      </p:sp>
      <p:sp>
        <p:nvSpPr>
          <p:cNvPr id="16" name="Status Bar Background"/>
          <p:cNvSpPr>
            <a:spLocks noChangeArrowheads="1"/>
          </p:cNvSpPr>
          <p:nvPr userDrawn="1"/>
        </p:nvSpPr>
        <p:spPr bwMode="auto">
          <a:xfrm>
            <a:off x="446495" y="665843"/>
            <a:ext cx="3240000" cy="1428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:08 AM</a:t>
            </a:r>
          </a:p>
        </p:txBody>
      </p:sp>
      <p:sp>
        <p:nvSpPr>
          <p:cNvPr id="17" name="Battery"/>
          <p:cNvSpPr>
            <a:spLocks noChangeAspect="1" noEditPoints="1"/>
          </p:cNvSpPr>
          <p:nvPr userDrawn="1"/>
        </p:nvSpPr>
        <p:spPr bwMode="auto">
          <a:xfrm>
            <a:off x="3455505" y="703149"/>
            <a:ext cx="174625" cy="68263"/>
          </a:xfrm>
          <a:custGeom>
            <a:avLst/>
            <a:gdLst>
              <a:gd name="T0" fmla="*/ 14 w 229"/>
              <a:gd name="T1" fmla="*/ 0 h 89"/>
              <a:gd name="T2" fmla="*/ 0 w 229"/>
              <a:gd name="T3" fmla="*/ 14 h 89"/>
              <a:gd name="T4" fmla="*/ 0 w 229"/>
              <a:gd name="T5" fmla="*/ 75 h 89"/>
              <a:gd name="T6" fmla="*/ 14 w 229"/>
              <a:gd name="T7" fmla="*/ 89 h 89"/>
              <a:gd name="T8" fmla="*/ 197 w 229"/>
              <a:gd name="T9" fmla="*/ 89 h 89"/>
              <a:gd name="T10" fmla="*/ 211 w 229"/>
              <a:gd name="T11" fmla="*/ 75 h 89"/>
              <a:gd name="T12" fmla="*/ 211 w 229"/>
              <a:gd name="T13" fmla="*/ 14 h 89"/>
              <a:gd name="T14" fmla="*/ 197 w 229"/>
              <a:gd name="T15" fmla="*/ 0 h 89"/>
              <a:gd name="T16" fmla="*/ 14 w 229"/>
              <a:gd name="T17" fmla="*/ 0 h 89"/>
              <a:gd name="T18" fmla="*/ 14 w 229"/>
              <a:gd name="T19" fmla="*/ 4 h 89"/>
              <a:gd name="T20" fmla="*/ 197 w 229"/>
              <a:gd name="T21" fmla="*/ 4 h 89"/>
              <a:gd name="T22" fmla="*/ 206 w 229"/>
              <a:gd name="T23" fmla="*/ 14 h 89"/>
              <a:gd name="T24" fmla="*/ 206 w 229"/>
              <a:gd name="T25" fmla="*/ 75 h 89"/>
              <a:gd name="T26" fmla="*/ 197 w 229"/>
              <a:gd name="T27" fmla="*/ 84 h 89"/>
              <a:gd name="T28" fmla="*/ 14 w 229"/>
              <a:gd name="T29" fmla="*/ 84 h 89"/>
              <a:gd name="T30" fmla="*/ 4 w 229"/>
              <a:gd name="T31" fmla="*/ 75 h 89"/>
              <a:gd name="T32" fmla="*/ 4 w 229"/>
              <a:gd name="T33" fmla="*/ 14 h 89"/>
              <a:gd name="T34" fmla="*/ 14 w 229"/>
              <a:gd name="T35" fmla="*/ 4 h 89"/>
              <a:gd name="T36" fmla="*/ 19 w 229"/>
              <a:gd name="T37" fmla="*/ 9 h 89"/>
              <a:gd name="T38" fmla="*/ 9 w 229"/>
              <a:gd name="T39" fmla="*/ 18 h 89"/>
              <a:gd name="T40" fmla="*/ 9 w 229"/>
              <a:gd name="T41" fmla="*/ 70 h 89"/>
              <a:gd name="T42" fmla="*/ 19 w 229"/>
              <a:gd name="T43" fmla="*/ 79 h 89"/>
              <a:gd name="T44" fmla="*/ 192 w 229"/>
              <a:gd name="T45" fmla="*/ 79 h 89"/>
              <a:gd name="T46" fmla="*/ 201 w 229"/>
              <a:gd name="T47" fmla="*/ 70 h 89"/>
              <a:gd name="T48" fmla="*/ 201 w 229"/>
              <a:gd name="T49" fmla="*/ 18 h 89"/>
              <a:gd name="T50" fmla="*/ 192 w 229"/>
              <a:gd name="T51" fmla="*/ 9 h 89"/>
              <a:gd name="T52" fmla="*/ 19 w 229"/>
              <a:gd name="T53" fmla="*/ 9 h 89"/>
              <a:gd name="T54" fmla="*/ 215 w 229"/>
              <a:gd name="T55" fmla="*/ 28 h 89"/>
              <a:gd name="T56" fmla="*/ 215 w 229"/>
              <a:gd name="T57" fmla="*/ 61 h 89"/>
              <a:gd name="T58" fmla="*/ 229 w 229"/>
              <a:gd name="T59" fmla="*/ 44 h 89"/>
              <a:gd name="T60" fmla="*/ 215 w 229"/>
              <a:gd name="T61" fmla="*/ 2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9" h="89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lnTo>
                  <a:pt x="0" y="75"/>
                </a:lnTo>
                <a:cubicBezTo>
                  <a:pt x="0" y="82"/>
                  <a:pt x="6" y="89"/>
                  <a:pt x="14" y="89"/>
                </a:cubicBezTo>
                <a:lnTo>
                  <a:pt x="197" y="89"/>
                </a:lnTo>
                <a:cubicBezTo>
                  <a:pt x="204" y="89"/>
                  <a:pt x="211" y="82"/>
                  <a:pt x="211" y="75"/>
                </a:cubicBezTo>
                <a:lnTo>
                  <a:pt x="211" y="14"/>
                </a:lnTo>
                <a:cubicBezTo>
                  <a:pt x="211" y="6"/>
                  <a:pt x="204" y="0"/>
                  <a:pt x="197" y="0"/>
                </a:cubicBezTo>
                <a:lnTo>
                  <a:pt x="14" y="0"/>
                </a:lnTo>
                <a:close/>
                <a:moveTo>
                  <a:pt x="14" y="4"/>
                </a:moveTo>
                <a:lnTo>
                  <a:pt x="197" y="4"/>
                </a:lnTo>
                <a:cubicBezTo>
                  <a:pt x="202" y="4"/>
                  <a:pt x="206" y="8"/>
                  <a:pt x="206" y="14"/>
                </a:cubicBezTo>
                <a:lnTo>
                  <a:pt x="206" y="75"/>
                </a:lnTo>
                <a:cubicBezTo>
                  <a:pt x="206" y="80"/>
                  <a:pt x="202" y="84"/>
                  <a:pt x="197" y="84"/>
                </a:cubicBezTo>
                <a:lnTo>
                  <a:pt x="14" y="84"/>
                </a:lnTo>
                <a:cubicBezTo>
                  <a:pt x="9" y="84"/>
                  <a:pt x="4" y="80"/>
                  <a:pt x="4" y="75"/>
                </a:cubicBezTo>
                <a:lnTo>
                  <a:pt x="4" y="14"/>
                </a:lnTo>
                <a:cubicBezTo>
                  <a:pt x="4" y="8"/>
                  <a:pt x="9" y="4"/>
                  <a:pt x="14" y="4"/>
                </a:cubicBezTo>
                <a:close/>
                <a:moveTo>
                  <a:pt x="19" y="9"/>
                </a:moveTo>
                <a:cubicBezTo>
                  <a:pt x="13" y="9"/>
                  <a:pt x="9" y="13"/>
                  <a:pt x="9" y="18"/>
                </a:cubicBezTo>
                <a:lnTo>
                  <a:pt x="9" y="70"/>
                </a:lnTo>
                <a:cubicBezTo>
                  <a:pt x="9" y="75"/>
                  <a:pt x="13" y="79"/>
                  <a:pt x="19" y="79"/>
                </a:cubicBezTo>
                <a:lnTo>
                  <a:pt x="192" y="79"/>
                </a:lnTo>
                <a:cubicBezTo>
                  <a:pt x="197" y="79"/>
                  <a:pt x="201" y="75"/>
                  <a:pt x="201" y="70"/>
                </a:cubicBezTo>
                <a:lnTo>
                  <a:pt x="201" y="18"/>
                </a:lnTo>
                <a:cubicBezTo>
                  <a:pt x="201" y="13"/>
                  <a:pt x="197" y="9"/>
                  <a:pt x="192" y="9"/>
                </a:cubicBezTo>
                <a:lnTo>
                  <a:pt x="19" y="9"/>
                </a:lnTo>
                <a:close/>
                <a:moveTo>
                  <a:pt x="215" y="28"/>
                </a:moveTo>
                <a:lnTo>
                  <a:pt x="215" y="61"/>
                </a:lnTo>
                <a:cubicBezTo>
                  <a:pt x="224" y="61"/>
                  <a:pt x="229" y="53"/>
                  <a:pt x="229" y="44"/>
                </a:cubicBezTo>
                <a:cubicBezTo>
                  <a:pt x="229" y="35"/>
                  <a:pt x="224" y="28"/>
                  <a:pt x="215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WLAN Strength"/>
          <p:cNvSpPr>
            <a:spLocks noChangeAspect="1" noEditPoints="1"/>
          </p:cNvSpPr>
          <p:nvPr userDrawn="1"/>
        </p:nvSpPr>
        <p:spPr bwMode="auto">
          <a:xfrm>
            <a:off x="1086179" y="704734"/>
            <a:ext cx="85726" cy="65088"/>
          </a:xfrm>
          <a:custGeom>
            <a:avLst/>
            <a:gdLst>
              <a:gd name="T0" fmla="*/ 56 w 112"/>
              <a:gd name="T1" fmla="*/ 0 h 85"/>
              <a:gd name="T2" fmla="*/ 0 w 112"/>
              <a:gd name="T3" fmla="*/ 22 h 85"/>
              <a:gd name="T4" fmla="*/ 8 w 112"/>
              <a:gd name="T5" fmla="*/ 32 h 85"/>
              <a:gd name="T6" fmla="*/ 56 w 112"/>
              <a:gd name="T7" fmla="*/ 14 h 85"/>
              <a:gd name="T8" fmla="*/ 103 w 112"/>
              <a:gd name="T9" fmla="*/ 32 h 85"/>
              <a:gd name="T10" fmla="*/ 112 w 112"/>
              <a:gd name="T11" fmla="*/ 22 h 85"/>
              <a:gd name="T12" fmla="*/ 56 w 112"/>
              <a:gd name="T13" fmla="*/ 0 h 85"/>
              <a:gd name="T14" fmla="*/ 56 w 112"/>
              <a:gd name="T15" fmla="*/ 28 h 85"/>
              <a:gd name="T16" fmla="*/ 18 w 112"/>
              <a:gd name="T17" fmla="*/ 43 h 85"/>
              <a:gd name="T18" fmla="*/ 27 w 112"/>
              <a:gd name="T19" fmla="*/ 53 h 85"/>
              <a:gd name="T20" fmla="*/ 56 w 112"/>
              <a:gd name="T21" fmla="*/ 43 h 85"/>
              <a:gd name="T22" fmla="*/ 84 w 112"/>
              <a:gd name="T23" fmla="*/ 53 h 85"/>
              <a:gd name="T24" fmla="*/ 94 w 112"/>
              <a:gd name="T25" fmla="*/ 43 h 85"/>
              <a:gd name="T26" fmla="*/ 56 w 112"/>
              <a:gd name="T27" fmla="*/ 28 h 85"/>
              <a:gd name="T28" fmla="*/ 56 w 112"/>
              <a:gd name="T29" fmla="*/ 56 h 85"/>
              <a:gd name="T30" fmla="*/ 37 w 112"/>
              <a:gd name="T31" fmla="*/ 64 h 85"/>
              <a:gd name="T32" fmla="*/ 56 w 112"/>
              <a:gd name="T33" fmla="*/ 85 h 85"/>
              <a:gd name="T34" fmla="*/ 75 w 112"/>
              <a:gd name="T35" fmla="*/ 64 h 85"/>
              <a:gd name="T36" fmla="*/ 56 w 112"/>
              <a:gd name="T37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2" h="85">
                <a:moveTo>
                  <a:pt x="56" y="0"/>
                </a:moveTo>
                <a:cubicBezTo>
                  <a:pt x="34" y="0"/>
                  <a:pt x="15" y="9"/>
                  <a:pt x="0" y="22"/>
                </a:cubicBezTo>
                <a:lnTo>
                  <a:pt x="8" y="32"/>
                </a:lnTo>
                <a:cubicBezTo>
                  <a:pt x="21" y="21"/>
                  <a:pt x="38" y="14"/>
                  <a:pt x="56" y="14"/>
                </a:cubicBezTo>
                <a:cubicBezTo>
                  <a:pt x="74" y="14"/>
                  <a:pt x="91" y="21"/>
                  <a:pt x="103" y="32"/>
                </a:cubicBezTo>
                <a:lnTo>
                  <a:pt x="112" y="22"/>
                </a:lnTo>
                <a:cubicBezTo>
                  <a:pt x="97" y="9"/>
                  <a:pt x="77" y="0"/>
                  <a:pt x="56" y="0"/>
                </a:cubicBezTo>
                <a:close/>
                <a:moveTo>
                  <a:pt x="56" y="28"/>
                </a:moveTo>
                <a:cubicBezTo>
                  <a:pt x="41" y="28"/>
                  <a:pt x="28" y="34"/>
                  <a:pt x="18" y="43"/>
                </a:cubicBezTo>
                <a:lnTo>
                  <a:pt x="27" y="53"/>
                </a:lnTo>
                <a:cubicBezTo>
                  <a:pt x="35" y="47"/>
                  <a:pt x="45" y="43"/>
                  <a:pt x="56" y="43"/>
                </a:cubicBezTo>
                <a:cubicBezTo>
                  <a:pt x="67" y="43"/>
                  <a:pt x="77" y="47"/>
                  <a:pt x="84" y="53"/>
                </a:cubicBezTo>
                <a:lnTo>
                  <a:pt x="94" y="43"/>
                </a:lnTo>
                <a:cubicBezTo>
                  <a:pt x="84" y="34"/>
                  <a:pt x="70" y="28"/>
                  <a:pt x="56" y="28"/>
                </a:cubicBezTo>
                <a:close/>
                <a:moveTo>
                  <a:pt x="56" y="56"/>
                </a:moveTo>
                <a:cubicBezTo>
                  <a:pt x="49" y="56"/>
                  <a:pt x="42" y="59"/>
                  <a:pt x="37" y="64"/>
                </a:cubicBezTo>
                <a:lnTo>
                  <a:pt x="56" y="85"/>
                </a:lnTo>
                <a:lnTo>
                  <a:pt x="75" y="64"/>
                </a:lnTo>
                <a:cubicBezTo>
                  <a:pt x="70" y="59"/>
                  <a:pt x="63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Signal Strength"/>
          <p:cNvSpPr>
            <a:spLocks noChangeAspect="1" noEditPoints="1"/>
          </p:cNvSpPr>
          <p:nvPr userDrawn="1"/>
        </p:nvSpPr>
        <p:spPr bwMode="auto">
          <a:xfrm>
            <a:off x="500393" y="717434"/>
            <a:ext cx="239713" cy="39688"/>
          </a:xfrm>
          <a:custGeom>
            <a:avLst/>
            <a:gdLst>
              <a:gd name="T0" fmla="*/ 26 w 314"/>
              <a:gd name="T1" fmla="*/ 0 h 52"/>
              <a:gd name="T2" fmla="*/ 0 w 314"/>
              <a:gd name="T3" fmla="*/ 26 h 52"/>
              <a:gd name="T4" fmla="*/ 26 w 314"/>
              <a:gd name="T5" fmla="*/ 52 h 52"/>
              <a:gd name="T6" fmla="*/ 52 w 314"/>
              <a:gd name="T7" fmla="*/ 26 h 52"/>
              <a:gd name="T8" fmla="*/ 26 w 314"/>
              <a:gd name="T9" fmla="*/ 0 h 52"/>
              <a:gd name="T10" fmla="*/ 91 w 314"/>
              <a:gd name="T11" fmla="*/ 0 h 52"/>
              <a:gd name="T12" fmla="*/ 66 w 314"/>
              <a:gd name="T13" fmla="*/ 26 h 52"/>
              <a:gd name="T14" fmla="*/ 91 w 314"/>
              <a:gd name="T15" fmla="*/ 52 h 52"/>
              <a:gd name="T16" fmla="*/ 117 w 314"/>
              <a:gd name="T17" fmla="*/ 26 h 52"/>
              <a:gd name="T18" fmla="*/ 91 w 314"/>
              <a:gd name="T19" fmla="*/ 0 h 52"/>
              <a:gd name="T20" fmla="*/ 157 w 314"/>
              <a:gd name="T21" fmla="*/ 0 h 52"/>
              <a:gd name="T22" fmla="*/ 131 w 314"/>
              <a:gd name="T23" fmla="*/ 26 h 52"/>
              <a:gd name="T24" fmla="*/ 157 w 314"/>
              <a:gd name="T25" fmla="*/ 52 h 52"/>
              <a:gd name="T26" fmla="*/ 183 w 314"/>
              <a:gd name="T27" fmla="*/ 26 h 52"/>
              <a:gd name="T28" fmla="*/ 157 w 314"/>
              <a:gd name="T29" fmla="*/ 0 h 52"/>
              <a:gd name="T30" fmla="*/ 223 w 314"/>
              <a:gd name="T31" fmla="*/ 0 h 52"/>
              <a:gd name="T32" fmla="*/ 197 w 314"/>
              <a:gd name="T33" fmla="*/ 26 h 52"/>
              <a:gd name="T34" fmla="*/ 223 w 314"/>
              <a:gd name="T35" fmla="*/ 52 h 52"/>
              <a:gd name="T36" fmla="*/ 248 w 314"/>
              <a:gd name="T37" fmla="*/ 26 h 52"/>
              <a:gd name="T38" fmla="*/ 223 w 314"/>
              <a:gd name="T39" fmla="*/ 0 h 52"/>
              <a:gd name="T40" fmla="*/ 288 w 314"/>
              <a:gd name="T41" fmla="*/ 0 h 52"/>
              <a:gd name="T42" fmla="*/ 262 w 314"/>
              <a:gd name="T43" fmla="*/ 26 h 52"/>
              <a:gd name="T44" fmla="*/ 288 w 314"/>
              <a:gd name="T45" fmla="*/ 52 h 52"/>
              <a:gd name="T46" fmla="*/ 314 w 314"/>
              <a:gd name="T47" fmla="*/ 26 h 52"/>
              <a:gd name="T48" fmla="*/ 288 w 314"/>
              <a:gd name="T49" fmla="*/ 0 h 52"/>
              <a:gd name="T50" fmla="*/ 288 w 314"/>
              <a:gd name="T51" fmla="*/ 3 h 52"/>
              <a:gd name="T52" fmla="*/ 312 w 314"/>
              <a:gd name="T53" fmla="*/ 26 h 52"/>
              <a:gd name="T54" fmla="*/ 288 w 314"/>
              <a:gd name="T55" fmla="*/ 50 h 52"/>
              <a:gd name="T56" fmla="*/ 265 w 314"/>
              <a:gd name="T57" fmla="*/ 26 h 52"/>
              <a:gd name="T58" fmla="*/ 288 w 314"/>
              <a:gd name="T59" fmla="*/ 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14" h="52">
                <a:moveTo>
                  <a:pt x="26" y="0"/>
                </a:moveTo>
                <a:cubicBezTo>
                  <a:pt x="11" y="0"/>
                  <a:pt x="0" y="12"/>
                  <a:pt x="0" y="26"/>
                </a:cubicBezTo>
                <a:cubicBezTo>
                  <a:pt x="0" y="40"/>
                  <a:pt x="11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91" y="0"/>
                </a:moveTo>
                <a:cubicBezTo>
                  <a:pt x="77" y="0"/>
                  <a:pt x="66" y="12"/>
                  <a:pt x="66" y="26"/>
                </a:cubicBezTo>
                <a:cubicBezTo>
                  <a:pt x="66" y="40"/>
                  <a:pt x="77" y="52"/>
                  <a:pt x="91" y="52"/>
                </a:cubicBezTo>
                <a:cubicBezTo>
                  <a:pt x="106" y="52"/>
                  <a:pt x="117" y="40"/>
                  <a:pt x="117" y="26"/>
                </a:cubicBezTo>
                <a:cubicBezTo>
                  <a:pt x="117" y="12"/>
                  <a:pt x="106" y="0"/>
                  <a:pt x="91" y="0"/>
                </a:cubicBezTo>
                <a:close/>
                <a:moveTo>
                  <a:pt x="157" y="0"/>
                </a:moveTo>
                <a:cubicBezTo>
                  <a:pt x="143" y="0"/>
                  <a:pt x="131" y="12"/>
                  <a:pt x="131" y="26"/>
                </a:cubicBezTo>
                <a:cubicBezTo>
                  <a:pt x="131" y="40"/>
                  <a:pt x="143" y="52"/>
                  <a:pt x="157" y="52"/>
                </a:cubicBezTo>
                <a:cubicBezTo>
                  <a:pt x="171" y="52"/>
                  <a:pt x="183" y="40"/>
                  <a:pt x="183" y="26"/>
                </a:cubicBezTo>
                <a:cubicBezTo>
                  <a:pt x="183" y="12"/>
                  <a:pt x="171" y="0"/>
                  <a:pt x="157" y="0"/>
                </a:cubicBezTo>
                <a:close/>
                <a:moveTo>
                  <a:pt x="223" y="0"/>
                </a:moveTo>
                <a:cubicBezTo>
                  <a:pt x="208" y="0"/>
                  <a:pt x="197" y="12"/>
                  <a:pt x="197" y="26"/>
                </a:cubicBezTo>
                <a:cubicBezTo>
                  <a:pt x="197" y="40"/>
                  <a:pt x="208" y="52"/>
                  <a:pt x="223" y="52"/>
                </a:cubicBezTo>
                <a:cubicBezTo>
                  <a:pt x="237" y="52"/>
                  <a:pt x="248" y="40"/>
                  <a:pt x="248" y="26"/>
                </a:cubicBezTo>
                <a:cubicBezTo>
                  <a:pt x="248" y="12"/>
                  <a:pt x="237" y="0"/>
                  <a:pt x="223" y="0"/>
                </a:cubicBezTo>
                <a:close/>
                <a:moveTo>
                  <a:pt x="288" y="0"/>
                </a:moveTo>
                <a:cubicBezTo>
                  <a:pt x="274" y="0"/>
                  <a:pt x="262" y="12"/>
                  <a:pt x="262" y="26"/>
                </a:cubicBezTo>
                <a:cubicBezTo>
                  <a:pt x="262" y="40"/>
                  <a:pt x="274" y="52"/>
                  <a:pt x="288" y="52"/>
                </a:cubicBezTo>
                <a:cubicBezTo>
                  <a:pt x="302" y="52"/>
                  <a:pt x="314" y="40"/>
                  <a:pt x="314" y="26"/>
                </a:cubicBezTo>
                <a:cubicBezTo>
                  <a:pt x="314" y="12"/>
                  <a:pt x="302" y="0"/>
                  <a:pt x="288" y="0"/>
                </a:cubicBezTo>
                <a:close/>
                <a:moveTo>
                  <a:pt x="288" y="3"/>
                </a:moveTo>
                <a:cubicBezTo>
                  <a:pt x="301" y="3"/>
                  <a:pt x="312" y="13"/>
                  <a:pt x="312" y="26"/>
                </a:cubicBezTo>
                <a:cubicBezTo>
                  <a:pt x="312" y="39"/>
                  <a:pt x="301" y="50"/>
                  <a:pt x="288" y="50"/>
                </a:cubicBezTo>
                <a:cubicBezTo>
                  <a:pt x="275" y="50"/>
                  <a:pt x="265" y="39"/>
                  <a:pt x="265" y="26"/>
                </a:cubicBezTo>
                <a:cubicBezTo>
                  <a:pt x="265" y="13"/>
                  <a:pt x="275" y="3"/>
                  <a:pt x="288" y="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Carrier Label"/>
          <p:cNvSpPr txBox="1"/>
          <p:nvPr userDrawn="1"/>
        </p:nvSpPr>
        <p:spPr>
          <a:xfrm>
            <a:off x="771856" y="683417"/>
            <a:ext cx="214802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rier</a:t>
            </a:r>
          </a:p>
        </p:txBody>
      </p:sp>
      <p:sp>
        <p:nvSpPr>
          <p:cNvPr id="21" name="Battery Label"/>
          <p:cNvSpPr txBox="1"/>
          <p:nvPr userDrawn="1"/>
        </p:nvSpPr>
        <p:spPr>
          <a:xfrm>
            <a:off x="3243477" y="683417"/>
            <a:ext cx="179536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%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58174" y="35388"/>
            <a:ext cx="3813828" cy="178440"/>
          </a:xfrm>
          <a:prstGeom prst="rect">
            <a:avLst/>
          </a:prstGeom>
        </p:spPr>
        <p:txBody>
          <a:bodyPr/>
          <a:lstStyle>
            <a:lvl1pPr>
              <a:defRPr sz="650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22" name="직사각형 21"/>
          <p:cNvSpPr/>
          <p:nvPr userDrawn="1"/>
        </p:nvSpPr>
        <p:spPr>
          <a:xfrm>
            <a:off x="9675832" y="-5656"/>
            <a:ext cx="2516169" cy="243970"/>
          </a:xfrm>
          <a:prstGeom prst="rect">
            <a:avLst/>
          </a:prstGeom>
          <a:solidFill>
            <a:schemeClr val="tx1">
              <a:lumMod val="95000"/>
              <a:lumOff val="5000"/>
              <a:alpha val="7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ko-KR" altLang="en-US" sz="731" b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9768408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 b="0">
                <a:solidFill>
                  <a:schemeClr val="bg1"/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Description</a:t>
            </a:r>
            <a:endParaRPr lang="ko-KR" altLang="en-US" sz="650" b="0">
              <a:solidFill>
                <a:schemeClr val="bg1"/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68408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 userDrawn="1"/>
        </p:nvCxnSpPr>
        <p:spPr>
          <a:xfrm>
            <a:off x="0" y="238314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/>
          <p:cNvCxnSpPr/>
          <p:nvPr userDrawn="1"/>
        </p:nvCxnSpPr>
        <p:spPr>
          <a:xfrm>
            <a:off x="9675833" y="0"/>
            <a:ext cx="0" cy="685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55340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Page name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5879" y="7620"/>
            <a:ext cx="18594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ID</a:t>
            </a:r>
            <a:r>
              <a:rPr lang="en-US" altLang="ko-KR" sz="650" baseline="0">
                <a:solidFill>
                  <a:schemeClr val="tx1">
                    <a:lumMod val="75000"/>
                    <a:lumOff val="25000"/>
                  </a:schemeClr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 :</a:t>
            </a:r>
            <a:endParaRPr lang="ko-KR" altLang="en-US" sz="650">
              <a:solidFill>
                <a:schemeClr val="tx1">
                  <a:lumMod val="75000"/>
                  <a:lumOff val="25000"/>
                </a:schemeClr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31C3D164-953D-4032-A364-525BFAACC995}"/>
              </a:ext>
            </a:extLst>
          </p:cNvPr>
          <p:cNvSpPr/>
          <p:nvPr userDrawn="1"/>
        </p:nvSpPr>
        <p:spPr>
          <a:xfrm>
            <a:off x="431255" y="620690"/>
            <a:ext cx="3240000" cy="2294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 cap="flat">
            <a:solidFill>
              <a:schemeClr val="tx1">
                <a:lumMod val="75000"/>
                <a:lumOff val="2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17000" tIns="117000" rIns="117000" bIns="117000" numCol="1" spcCol="38100" rtlCol="0" anchor="ctr">
            <a:noAutofit/>
          </a:bodyPr>
          <a:lstStyle/>
          <a:p>
            <a:pPr defTabSz="1980863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650" dirty="0">
              <a:solidFill>
                <a:schemeClr val="bg1"/>
              </a:solidFill>
              <a:latin typeface="Yu Gothic UI" panose="020B0500000000000000" pitchFamily="34" charset="-128"/>
              <a:ea typeface="+mj-ea"/>
              <a:cs typeface="나눔고딕"/>
              <a:sym typeface="나눔고딕"/>
            </a:endParaRPr>
          </a:p>
        </p:txBody>
      </p:sp>
      <p:sp>
        <p:nvSpPr>
          <p:cNvPr id="16" name="Status Bar Background"/>
          <p:cNvSpPr>
            <a:spLocks noChangeArrowheads="1"/>
          </p:cNvSpPr>
          <p:nvPr userDrawn="1"/>
        </p:nvSpPr>
        <p:spPr bwMode="auto">
          <a:xfrm>
            <a:off x="446495" y="665843"/>
            <a:ext cx="3240000" cy="1428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:08 AM</a:t>
            </a:r>
          </a:p>
        </p:txBody>
      </p:sp>
      <p:sp>
        <p:nvSpPr>
          <p:cNvPr id="17" name="Battery"/>
          <p:cNvSpPr>
            <a:spLocks noChangeAspect="1" noEditPoints="1"/>
          </p:cNvSpPr>
          <p:nvPr userDrawn="1"/>
        </p:nvSpPr>
        <p:spPr bwMode="auto">
          <a:xfrm>
            <a:off x="3455505" y="703149"/>
            <a:ext cx="174625" cy="68263"/>
          </a:xfrm>
          <a:custGeom>
            <a:avLst/>
            <a:gdLst>
              <a:gd name="T0" fmla="*/ 14 w 229"/>
              <a:gd name="T1" fmla="*/ 0 h 89"/>
              <a:gd name="T2" fmla="*/ 0 w 229"/>
              <a:gd name="T3" fmla="*/ 14 h 89"/>
              <a:gd name="T4" fmla="*/ 0 w 229"/>
              <a:gd name="T5" fmla="*/ 75 h 89"/>
              <a:gd name="T6" fmla="*/ 14 w 229"/>
              <a:gd name="T7" fmla="*/ 89 h 89"/>
              <a:gd name="T8" fmla="*/ 197 w 229"/>
              <a:gd name="T9" fmla="*/ 89 h 89"/>
              <a:gd name="T10" fmla="*/ 211 w 229"/>
              <a:gd name="T11" fmla="*/ 75 h 89"/>
              <a:gd name="T12" fmla="*/ 211 w 229"/>
              <a:gd name="T13" fmla="*/ 14 h 89"/>
              <a:gd name="T14" fmla="*/ 197 w 229"/>
              <a:gd name="T15" fmla="*/ 0 h 89"/>
              <a:gd name="T16" fmla="*/ 14 w 229"/>
              <a:gd name="T17" fmla="*/ 0 h 89"/>
              <a:gd name="T18" fmla="*/ 14 w 229"/>
              <a:gd name="T19" fmla="*/ 4 h 89"/>
              <a:gd name="T20" fmla="*/ 197 w 229"/>
              <a:gd name="T21" fmla="*/ 4 h 89"/>
              <a:gd name="T22" fmla="*/ 206 w 229"/>
              <a:gd name="T23" fmla="*/ 14 h 89"/>
              <a:gd name="T24" fmla="*/ 206 w 229"/>
              <a:gd name="T25" fmla="*/ 75 h 89"/>
              <a:gd name="T26" fmla="*/ 197 w 229"/>
              <a:gd name="T27" fmla="*/ 84 h 89"/>
              <a:gd name="T28" fmla="*/ 14 w 229"/>
              <a:gd name="T29" fmla="*/ 84 h 89"/>
              <a:gd name="T30" fmla="*/ 4 w 229"/>
              <a:gd name="T31" fmla="*/ 75 h 89"/>
              <a:gd name="T32" fmla="*/ 4 w 229"/>
              <a:gd name="T33" fmla="*/ 14 h 89"/>
              <a:gd name="T34" fmla="*/ 14 w 229"/>
              <a:gd name="T35" fmla="*/ 4 h 89"/>
              <a:gd name="T36" fmla="*/ 19 w 229"/>
              <a:gd name="T37" fmla="*/ 9 h 89"/>
              <a:gd name="T38" fmla="*/ 9 w 229"/>
              <a:gd name="T39" fmla="*/ 18 h 89"/>
              <a:gd name="T40" fmla="*/ 9 w 229"/>
              <a:gd name="T41" fmla="*/ 70 h 89"/>
              <a:gd name="T42" fmla="*/ 19 w 229"/>
              <a:gd name="T43" fmla="*/ 79 h 89"/>
              <a:gd name="T44" fmla="*/ 192 w 229"/>
              <a:gd name="T45" fmla="*/ 79 h 89"/>
              <a:gd name="T46" fmla="*/ 201 w 229"/>
              <a:gd name="T47" fmla="*/ 70 h 89"/>
              <a:gd name="T48" fmla="*/ 201 w 229"/>
              <a:gd name="T49" fmla="*/ 18 h 89"/>
              <a:gd name="T50" fmla="*/ 192 w 229"/>
              <a:gd name="T51" fmla="*/ 9 h 89"/>
              <a:gd name="T52" fmla="*/ 19 w 229"/>
              <a:gd name="T53" fmla="*/ 9 h 89"/>
              <a:gd name="T54" fmla="*/ 215 w 229"/>
              <a:gd name="T55" fmla="*/ 28 h 89"/>
              <a:gd name="T56" fmla="*/ 215 w 229"/>
              <a:gd name="T57" fmla="*/ 61 h 89"/>
              <a:gd name="T58" fmla="*/ 229 w 229"/>
              <a:gd name="T59" fmla="*/ 44 h 89"/>
              <a:gd name="T60" fmla="*/ 215 w 229"/>
              <a:gd name="T61" fmla="*/ 28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9" h="89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lnTo>
                  <a:pt x="0" y="75"/>
                </a:lnTo>
                <a:cubicBezTo>
                  <a:pt x="0" y="82"/>
                  <a:pt x="6" y="89"/>
                  <a:pt x="14" y="89"/>
                </a:cubicBezTo>
                <a:lnTo>
                  <a:pt x="197" y="89"/>
                </a:lnTo>
                <a:cubicBezTo>
                  <a:pt x="204" y="89"/>
                  <a:pt x="211" y="82"/>
                  <a:pt x="211" y="75"/>
                </a:cubicBezTo>
                <a:lnTo>
                  <a:pt x="211" y="14"/>
                </a:lnTo>
                <a:cubicBezTo>
                  <a:pt x="211" y="6"/>
                  <a:pt x="204" y="0"/>
                  <a:pt x="197" y="0"/>
                </a:cubicBezTo>
                <a:lnTo>
                  <a:pt x="14" y="0"/>
                </a:lnTo>
                <a:close/>
                <a:moveTo>
                  <a:pt x="14" y="4"/>
                </a:moveTo>
                <a:lnTo>
                  <a:pt x="197" y="4"/>
                </a:lnTo>
                <a:cubicBezTo>
                  <a:pt x="202" y="4"/>
                  <a:pt x="206" y="8"/>
                  <a:pt x="206" y="14"/>
                </a:cubicBezTo>
                <a:lnTo>
                  <a:pt x="206" y="75"/>
                </a:lnTo>
                <a:cubicBezTo>
                  <a:pt x="206" y="80"/>
                  <a:pt x="202" y="84"/>
                  <a:pt x="197" y="84"/>
                </a:cubicBezTo>
                <a:lnTo>
                  <a:pt x="14" y="84"/>
                </a:lnTo>
                <a:cubicBezTo>
                  <a:pt x="9" y="84"/>
                  <a:pt x="4" y="80"/>
                  <a:pt x="4" y="75"/>
                </a:cubicBezTo>
                <a:lnTo>
                  <a:pt x="4" y="14"/>
                </a:lnTo>
                <a:cubicBezTo>
                  <a:pt x="4" y="8"/>
                  <a:pt x="9" y="4"/>
                  <a:pt x="14" y="4"/>
                </a:cubicBezTo>
                <a:close/>
                <a:moveTo>
                  <a:pt x="19" y="9"/>
                </a:moveTo>
                <a:cubicBezTo>
                  <a:pt x="13" y="9"/>
                  <a:pt x="9" y="13"/>
                  <a:pt x="9" y="18"/>
                </a:cubicBezTo>
                <a:lnTo>
                  <a:pt x="9" y="70"/>
                </a:lnTo>
                <a:cubicBezTo>
                  <a:pt x="9" y="75"/>
                  <a:pt x="13" y="79"/>
                  <a:pt x="19" y="79"/>
                </a:cubicBezTo>
                <a:lnTo>
                  <a:pt x="192" y="79"/>
                </a:lnTo>
                <a:cubicBezTo>
                  <a:pt x="197" y="79"/>
                  <a:pt x="201" y="75"/>
                  <a:pt x="201" y="70"/>
                </a:cubicBezTo>
                <a:lnTo>
                  <a:pt x="201" y="18"/>
                </a:lnTo>
                <a:cubicBezTo>
                  <a:pt x="201" y="13"/>
                  <a:pt x="197" y="9"/>
                  <a:pt x="192" y="9"/>
                </a:cubicBezTo>
                <a:lnTo>
                  <a:pt x="19" y="9"/>
                </a:lnTo>
                <a:close/>
                <a:moveTo>
                  <a:pt x="215" y="28"/>
                </a:moveTo>
                <a:lnTo>
                  <a:pt x="215" y="61"/>
                </a:lnTo>
                <a:cubicBezTo>
                  <a:pt x="224" y="61"/>
                  <a:pt x="229" y="53"/>
                  <a:pt x="229" y="44"/>
                </a:cubicBezTo>
                <a:cubicBezTo>
                  <a:pt x="229" y="35"/>
                  <a:pt x="224" y="28"/>
                  <a:pt x="215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WLAN Strength"/>
          <p:cNvSpPr>
            <a:spLocks noChangeAspect="1" noEditPoints="1"/>
          </p:cNvSpPr>
          <p:nvPr userDrawn="1"/>
        </p:nvSpPr>
        <p:spPr bwMode="auto">
          <a:xfrm>
            <a:off x="1086179" y="704734"/>
            <a:ext cx="85726" cy="65088"/>
          </a:xfrm>
          <a:custGeom>
            <a:avLst/>
            <a:gdLst>
              <a:gd name="T0" fmla="*/ 56 w 112"/>
              <a:gd name="T1" fmla="*/ 0 h 85"/>
              <a:gd name="T2" fmla="*/ 0 w 112"/>
              <a:gd name="T3" fmla="*/ 22 h 85"/>
              <a:gd name="T4" fmla="*/ 8 w 112"/>
              <a:gd name="T5" fmla="*/ 32 h 85"/>
              <a:gd name="T6" fmla="*/ 56 w 112"/>
              <a:gd name="T7" fmla="*/ 14 h 85"/>
              <a:gd name="T8" fmla="*/ 103 w 112"/>
              <a:gd name="T9" fmla="*/ 32 h 85"/>
              <a:gd name="T10" fmla="*/ 112 w 112"/>
              <a:gd name="T11" fmla="*/ 22 h 85"/>
              <a:gd name="T12" fmla="*/ 56 w 112"/>
              <a:gd name="T13" fmla="*/ 0 h 85"/>
              <a:gd name="T14" fmla="*/ 56 w 112"/>
              <a:gd name="T15" fmla="*/ 28 h 85"/>
              <a:gd name="T16" fmla="*/ 18 w 112"/>
              <a:gd name="T17" fmla="*/ 43 h 85"/>
              <a:gd name="T18" fmla="*/ 27 w 112"/>
              <a:gd name="T19" fmla="*/ 53 h 85"/>
              <a:gd name="T20" fmla="*/ 56 w 112"/>
              <a:gd name="T21" fmla="*/ 43 h 85"/>
              <a:gd name="T22" fmla="*/ 84 w 112"/>
              <a:gd name="T23" fmla="*/ 53 h 85"/>
              <a:gd name="T24" fmla="*/ 94 w 112"/>
              <a:gd name="T25" fmla="*/ 43 h 85"/>
              <a:gd name="T26" fmla="*/ 56 w 112"/>
              <a:gd name="T27" fmla="*/ 28 h 85"/>
              <a:gd name="T28" fmla="*/ 56 w 112"/>
              <a:gd name="T29" fmla="*/ 56 h 85"/>
              <a:gd name="T30" fmla="*/ 37 w 112"/>
              <a:gd name="T31" fmla="*/ 64 h 85"/>
              <a:gd name="T32" fmla="*/ 56 w 112"/>
              <a:gd name="T33" fmla="*/ 85 h 85"/>
              <a:gd name="T34" fmla="*/ 75 w 112"/>
              <a:gd name="T35" fmla="*/ 64 h 85"/>
              <a:gd name="T36" fmla="*/ 56 w 112"/>
              <a:gd name="T37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2" h="85">
                <a:moveTo>
                  <a:pt x="56" y="0"/>
                </a:moveTo>
                <a:cubicBezTo>
                  <a:pt x="34" y="0"/>
                  <a:pt x="15" y="9"/>
                  <a:pt x="0" y="22"/>
                </a:cubicBezTo>
                <a:lnTo>
                  <a:pt x="8" y="32"/>
                </a:lnTo>
                <a:cubicBezTo>
                  <a:pt x="21" y="21"/>
                  <a:pt x="38" y="14"/>
                  <a:pt x="56" y="14"/>
                </a:cubicBezTo>
                <a:cubicBezTo>
                  <a:pt x="74" y="14"/>
                  <a:pt x="91" y="21"/>
                  <a:pt x="103" y="32"/>
                </a:cubicBezTo>
                <a:lnTo>
                  <a:pt x="112" y="22"/>
                </a:lnTo>
                <a:cubicBezTo>
                  <a:pt x="97" y="9"/>
                  <a:pt x="77" y="0"/>
                  <a:pt x="56" y="0"/>
                </a:cubicBezTo>
                <a:close/>
                <a:moveTo>
                  <a:pt x="56" y="28"/>
                </a:moveTo>
                <a:cubicBezTo>
                  <a:pt x="41" y="28"/>
                  <a:pt x="28" y="34"/>
                  <a:pt x="18" y="43"/>
                </a:cubicBezTo>
                <a:lnTo>
                  <a:pt x="27" y="53"/>
                </a:lnTo>
                <a:cubicBezTo>
                  <a:pt x="35" y="47"/>
                  <a:pt x="45" y="43"/>
                  <a:pt x="56" y="43"/>
                </a:cubicBezTo>
                <a:cubicBezTo>
                  <a:pt x="67" y="43"/>
                  <a:pt x="77" y="47"/>
                  <a:pt x="84" y="53"/>
                </a:cubicBezTo>
                <a:lnTo>
                  <a:pt x="94" y="43"/>
                </a:lnTo>
                <a:cubicBezTo>
                  <a:pt x="84" y="34"/>
                  <a:pt x="70" y="28"/>
                  <a:pt x="56" y="28"/>
                </a:cubicBezTo>
                <a:close/>
                <a:moveTo>
                  <a:pt x="56" y="56"/>
                </a:moveTo>
                <a:cubicBezTo>
                  <a:pt x="49" y="56"/>
                  <a:pt x="42" y="59"/>
                  <a:pt x="37" y="64"/>
                </a:cubicBezTo>
                <a:lnTo>
                  <a:pt x="56" y="85"/>
                </a:lnTo>
                <a:lnTo>
                  <a:pt x="75" y="64"/>
                </a:lnTo>
                <a:cubicBezTo>
                  <a:pt x="70" y="59"/>
                  <a:pt x="63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Signal Strength"/>
          <p:cNvSpPr>
            <a:spLocks noChangeAspect="1" noEditPoints="1"/>
          </p:cNvSpPr>
          <p:nvPr userDrawn="1"/>
        </p:nvSpPr>
        <p:spPr bwMode="auto">
          <a:xfrm>
            <a:off x="500393" y="717434"/>
            <a:ext cx="239713" cy="39688"/>
          </a:xfrm>
          <a:custGeom>
            <a:avLst/>
            <a:gdLst>
              <a:gd name="T0" fmla="*/ 26 w 314"/>
              <a:gd name="T1" fmla="*/ 0 h 52"/>
              <a:gd name="T2" fmla="*/ 0 w 314"/>
              <a:gd name="T3" fmla="*/ 26 h 52"/>
              <a:gd name="T4" fmla="*/ 26 w 314"/>
              <a:gd name="T5" fmla="*/ 52 h 52"/>
              <a:gd name="T6" fmla="*/ 52 w 314"/>
              <a:gd name="T7" fmla="*/ 26 h 52"/>
              <a:gd name="T8" fmla="*/ 26 w 314"/>
              <a:gd name="T9" fmla="*/ 0 h 52"/>
              <a:gd name="T10" fmla="*/ 91 w 314"/>
              <a:gd name="T11" fmla="*/ 0 h 52"/>
              <a:gd name="T12" fmla="*/ 66 w 314"/>
              <a:gd name="T13" fmla="*/ 26 h 52"/>
              <a:gd name="T14" fmla="*/ 91 w 314"/>
              <a:gd name="T15" fmla="*/ 52 h 52"/>
              <a:gd name="T16" fmla="*/ 117 w 314"/>
              <a:gd name="T17" fmla="*/ 26 h 52"/>
              <a:gd name="T18" fmla="*/ 91 w 314"/>
              <a:gd name="T19" fmla="*/ 0 h 52"/>
              <a:gd name="T20" fmla="*/ 157 w 314"/>
              <a:gd name="T21" fmla="*/ 0 h 52"/>
              <a:gd name="T22" fmla="*/ 131 w 314"/>
              <a:gd name="T23" fmla="*/ 26 h 52"/>
              <a:gd name="T24" fmla="*/ 157 w 314"/>
              <a:gd name="T25" fmla="*/ 52 h 52"/>
              <a:gd name="T26" fmla="*/ 183 w 314"/>
              <a:gd name="T27" fmla="*/ 26 h 52"/>
              <a:gd name="T28" fmla="*/ 157 w 314"/>
              <a:gd name="T29" fmla="*/ 0 h 52"/>
              <a:gd name="T30" fmla="*/ 223 w 314"/>
              <a:gd name="T31" fmla="*/ 0 h 52"/>
              <a:gd name="T32" fmla="*/ 197 w 314"/>
              <a:gd name="T33" fmla="*/ 26 h 52"/>
              <a:gd name="T34" fmla="*/ 223 w 314"/>
              <a:gd name="T35" fmla="*/ 52 h 52"/>
              <a:gd name="T36" fmla="*/ 248 w 314"/>
              <a:gd name="T37" fmla="*/ 26 h 52"/>
              <a:gd name="T38" fmla="*/ 223 w 314"/>
              <a:gd name="T39" fmla="*/ 0 h 52"/>
              <a:gd name="T40" fmla="*/ 288 w 314"/>
              <a:gd name="T41" fmla="*/ 0 h 52"/>
              <a:gd name="T42" fmla="*/ 262 w 314"/>
              <a:gd name="T43" fmla="*/ 26 h 52"/>
              <a:gd name="T44" fmla="*/ 288 w 314"/>
              <a:gd name="T45" fmla="*/ 52 h 52"/>
              <a:gd name="T46" fmla="*/ 314 w 314"/>
              <a:gd name="T47" fmla="*/ 26 h 52"/>
              <a:gd name="T48" fmla="*/ 288 w 314"/>
              <a:gd name="T49" fmla="*/ 0 h 52"/>
              <a:gd name="T50" fmla="*/ 288 w 314"/>
              <a:gd name="T51" fmla="*/ 3 h 52"/>
              <a:gd name="T52" fmla="*/ 312 w 314"/>
              <a:gd name="T53" fmla="*/ 26 h 52"/>
              <a:gd name="T54" fmla="*/ 288 w 314"/>
              <a:gd name="T55" fmla="*/ 50 h 52"/>
              <a:gd name="T56" fmla="*/ 265 w 314"/>
              <a:gd name="T57" fmla="*/ 26 h 52"/>
              <a:gd name="T58" fmla="*/ 288 w 314"/>
              <a:gd name="T59" fmla="*/ 3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14" h="52">
                <a:moveTo>
                  <a:pt x="26" y="0"/>
                </a:moveTo>
                <a:cubicBezTo>
                  <a:pt x="11" y="0"/>
                  <a:pt x="0" y="12"/>
                  <a:pt x="0" y="26"/>
                </a:cubicBezTo>
                <a:cubicBezTo>
                  <a:pt x="0" y="40"/>
                  <a:pt x="11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91" y="0"/>
                </a:moveTo>
                <a:cubicBezTo>
                  <a:pt x="77" y="0"/>
                  <a:pt x="66" y="12"/>
                  <a:pt x="66" y="26"/>
                </a:cubicBezTo>
                <a:cubicBezTo>
                  <a:pt x="66" y="40"/>
                  <a:pt x="77" y="52"/>
                  <a:pt x="91" y="52"/>
                </a:cubicBezTo>
                <a:cubicBezTo>
                  <a:pt x="106" y="52"/>
                  <a:pt x="117" y="40"/>
                  <a:pt x="117" y="26"/>
                </a:cubicBezTo>
                <a:cubicBezTo>
                  <a:pt x="117" y="12"/>
                  <a:pt x="106" y="0"/>
                  <a:pt x="91" y="0"/>
                </a:cubicBezTo>
                <a:close/>
                <a:moveTo>
                  <a:pt x="157" y="0"/>
                </a:moveTo>
                <a:cubicBezTo>
                  <a:pt x="143" y="0"/>
                  <a:pt x="131" y="12"/>
                  <a:pt x="131" y="26"/>
                </a:cubicBezTo>
                <a:cubicBezTo>
                  <a:pt x="131" y="40"/>
                  <a:pt x="143" y="52"/>
                  <a:pt x="157" y="52"/>
                </a:cubicBezTo>
                <a:cubicBezTo>
                  <a:pt x="171" y="52"/>
                  <a:pt x="183" y="40"/>
                  <a:pt x="183" y="26"/>
                </a:cubicBezTo>
                <a:cubicBezTo>
                  <a:pt x="183" y="12"/>
                  <a:pt x="171" y="0"/>
                  <a:pt x="157" y="0"/>
                </a:cubicBezTo>
                <a:close/>
                <a:moveTo>
                  <a:pt x="223" y="0"/>
                </a:moveTo>
                <a:cubicBezTo>
                  <a:pt x="208" y="0"/>
                  <a:pt x="197" y="12"/>
                  <a:pt x="197" y="26"/>
                </a:cubicBezTo>
                <a:cubicBezTo>
                  <a:pt x="197" y="40"/>
                  <a:pt x="208" y="52"/>
                  <a:pt x="223" y="52"/>
                </a:cubicBezTo>
                <a:cubicBezTo>
                  <a:pt x="237" y="52"/>
                  <a:pt x="248" y="40"/>
                  <a:pt x="248" y="26"/>
                </a:cubicBezTo>
                <a:cubicBezTo>
                  <a:pt x="248" y="12"/>
                  <a:pt x="237" y="0"/>
                  <a:pt x="223" y="0"/>
                </a:cubicBezTo>
                <a:close/>
                <a:moveTo>
                  <a:pt x="288" y="0"/>
                </a:moveTo>
                <a:cubicBezTo>
                  <a:pt x="274" y="0"/>
                  <a:pt x="262" y="12"/>
                  <a:pt x="262" y="26"/>
                </a:cubicBezTo>
                <a:cubicBezTo>
                  <a:pt x="262" y="40"/>
                  <a:pt x="274" y="52"/>
                  <a:pt x="288" y="52"/>
                </a:cubicBezTo>
                <a:cubicBezTo>
                  <a:pt x="302" y="52"/>
                  <a:pt x="314" y="40"/>
                  <a:pt x="314" y="26"/>
                </a:cubicBezTo>
                <a:cubicBezTo>
                  <a:pt x="314" y="12"/>
                  <a:pt x="302" y="0"/>
                  <a:pt x="288" y="0"/>
                </a:cubicBezTo>
                <a:close/>
                <a:moveTo>
                  <a:pt x="288" y="3"/>
                </a:moveTo>
                <a:cubicBezTo>
                  <a:pt x="301" y="3"/>
                  <a:pt x="312" y="13"/>
                  <a:pt x="312" y="26"/>
                </a:cubicBezTo>
                <a:cubicBezTo>
                  <a:pt x="312" y="39"/>
                  <a:pt x="301" y="50"/>
                  <a:pt x="288" y="50"/>
                </a:cubicBezTo>
                <a:cubicBezTo>
                  <a:pt x="275" y="50"/>
                  <a:pt x="265" y="39"/>
                  <a:pt x="265" y="26"/>
                </a:cubicBezTo>
                <a:cubicBezTo>
                  <a:pt x="265" y="13"/>
                  <a:pt x="275" y="3"/>
                  <a:pt x="288" y="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3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Carrier Label"/>
          <p:cNvSpPr txBox="1"/>
          <p:nvPr userDrawn="1"/>
        </p:nvSpPr>
        <p:spPr>
          <a:xfrm>
            <a:off x="771856" y="683417"/>
            <a:ext cx="214802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rier</a:t>
            </a:r>
          </a:p>
        </p:txBody>
      </p:sp>
      <p:sp>
        <p:nvSpPr>
          <p:cNvPr id="21" name="Battery Label"/>
          <p:cNvSpPr txBox="1"/>
          <p:nvPr userDrawn="1"/>
        </p:nvSpPr>
        <p:spPr>
          <a:xfrm>
            <a:off x="3243477" y="683417"/>
            <a:ext cx="179536" cy="875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9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%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58174" y="35388"/>
            <a:ext cx="3813828" cy="178440"/>
          </a:xfrm>
          <a:prstGeom prst="rect">
            <a:avLst/>
          </a:prstGeom>
        </p:spPr>
        <p:txBody>
          <a:bodyPr/>
          <a:lstStyle>
            <a:lvl1pPr>
              <a:defRPr sz="650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22" name="직사각형 21"/>
          <p:cNvSpPr/>
          <p:nvPr userDrawn="1"/>
        </p:nvSpPr>
        <p:spPr>
          <a:xfrm>
            <a:off x="9675832" y="-5656"/>
            <a:ext cx="2516169" cy="243970"/>
          </a:xfrm>
          <a:prstGeom prst="rect">
            <a:avLst/>
          </a:prstGeom>
          <a:solidFill>
            <a:schemeClr val="tx1">
              <a:lumMod val="95000"/>
              <a:lumOff val="5000"/>
              <a:alpha val="7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ko-KR" altLang="en-US" sz="731" b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9768408" y="7620"/>
            <a:ext cx="511358" cy="19236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ko-KR" sz="650" b="0">
                <a:solidFill>
                  <a:schemeClr val="bg1"/>
                </a:solidFill>
                <a:latin typeface="Consolas" panose="020B0609020204030204" pitchFamily="49" charset="0"/>
                <a:ea typeface="Yu Gothic UI" panose="020B0500000000000000" pitchFamily="34" charset="-128"/>
              </a:rPr>
              <a:t>Description</a:t>
            </a:r>
            <a:endParaRPr lang="ko-KR" altLang="en-US" sz="650" b="0">
              <a:solidFill>
                <a:schemeClr val="bg1"/>
              </a:solidFill>
              <a:latin typeface="Consolas" panose="020B0609020204030204" pitchFamily="49" charset="0"/>
              <a:ea typeface="Yu Gothic UI" panose="020B0500000000000000" pitchFamily="34" charset="-128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281940" y="518160"/>
            <a:ext cx="3749040" cy="579120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4577" rtlCol="0" anchor="t" anchorCtr="0"/>
          <a:lstStyle/>
          <a:p>
            <a:pPr algn="ctr"/>
            <a:endParaRPr lang="ko-KR" altLang="en-US" sz="65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274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w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3CF79F9A-7640-451E-9BC6-DD8CCA827E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4888664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3CF79F9A-7640-451E-9BC6-DD8CCA827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esentation Title"/>
          <p:cNvSpPr>
            <a:spLocks noGrp="1"/>
          </p:cNvSpPr>
          <p:nvPr>
            <p:ph type="title"/>
          </p:nvPr>
        </p:nvSpPr>
        <p:spPr>
          <a:xfrm>
            <a:off x="511908" y="765174"/>
            <a:ext cx="11168185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altLang="ko-KR"/>
              <a:t>Click to edit slide title style</a:t>
            </a:r>
            <a:endParaRPr lang="ko-KR" altLang="en-US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511908" y="1916114"/>
            <a:ext cx="11168185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ko-KR" altLang="en-US" dirty="0"/>
              <a:t>마스터 텍스트 스타일 편집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9538E19-6607-4D67-B011-1FE3934AB5D4}"/>
              </a:ext>
            </a:extLst>
          </p:cNvPr>
          <p:cNvSpPr/>
          <p:nvPr/>
        </p:nvSpPr>
        <p:spPr>
          <a:xfrm>
            <a:off x="12345014" y="7478"/>
            <a:ext cx="354462" cy="28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466485C7-7B67-49BA-9BB2-B2597D4C6A8D}"/>
              </a:ext>
            </a:extLst>
          </p:cNvPr>
          <p:cNvSpPr/>
          <p:nvPr/>
        </p:nvSpPr>
        <p:spPr>
          <a:xfrm>
            <a:off x="12345014" y="322549"/>
            <a:ext cx="354462" cy="28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C18F7BFE-2EEF-4835-AABC-61C8F1E889D6}"/>
              </a:ext>
            </a:extLst>
          </p:cNvPr>
          <p:cNvSpPr/>
          <p:nvPr/>
        </p:nvSpPr>
        <p:spPr>
          <a:xfrm>
            <a:off x="12345014" y="641370"/>
            <a:ext cx="354462" cy="28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1FEB388-AB57-44F5-A6D5-68242D2AF444}"/>
              </a:ext>
            </a:extLst>
          </p:cNvPr>
          <p:cNvSpPr/>
          <p:nvPr/>
        </p:nvSpPr>
        <p:spPr>
          <a:xfrm>
            <a:off x="12764258" y="7478"/>
            <a:ext cx="354462" cy="288000"/>
          </a:xfrm>
          <a:prstGeom prst="rect">
            <a:avLst/>
          </a:prstGeom>
          <a:solidFill>
            <a:srgbClr val="35353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E4282D90-6EF1-40FA-9DA4-41DD9723292A}"/>
              </a:ext>
            </a:extLst>
          </p:cNvPr>
          <p:cNvSpPr/>
          <p:nvPr/>
        </p:nvSpPr>
        <p:spPr>
          <a:xfrm>
            <a:off x="12764258" y="322549"/>
            <a:ext cx="354462" cy="288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C42FADFB-AFA0-46AF-9B36-F41A961E3E69}"/>
              </a:ext>
            </a:extLst>
          </p:cNvPr>
          <p:cNvSpPr/>
          <p:nvPr/>
        </p:nvSpPr>
        <p:spPr>
          <a:xfrm>
            <a:off x="12764258" y="641370"/>
            <a:ext cx="354462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50C90A90-6942-4419-9300-0C8316FBDA7E}"/>
              </a:ext>
            </a:extLst>
          </p:cNvPr>
          <p:cNvSpPr/>
          <p:nvPr userDrawn="1"/>
        </p:nvSpPr>
        <p:spPr>
          <a:xfrm>
            <a:off x="12345014" y="960715"/>
            <a:ext cx="354462" cy="28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7A925C31-7D48-42CC-B519-79428BF2F795}"/>
              </a:ext>
            </a:extLst>
          </p:cNvPr>
          <p:cNvSpPr/>
          <p:nvPr userDrawn="1"/>
        </p:nvSpPr>
        <p:spPr>
          <a:xfrm>
            <a:off x="12764258" y="960715"/>
            <a:ext cx="354462" cy="2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44D2380E-7B97-478F-A84D-31146811658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53" y="6339928"/>
            <a:ext cx="671682" cy="414721"/>
          </a:xfrm>
          <a:prstGeom prst="rect">
            <a:avLst/>
          </a:prstGeom>
        </p:spPr>
      </p:pic>
      <p:sp>
        <p:nvSpPr>
          <p:cNvPr id="21" name="Rectangle 4">
            <a:extLst>
              <a:ext uri="{FF2B5EF4-FFF2-40B4-BE49-F238E27FC236}">
                <a16:creationId xmlns:a16="http://schemas.microsoft.com/office/drawing/2014/main" id="{D429D2C8-7972-4CA2-8CDB-75B1B999FD3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65094" y="6565494"/>
            <a:ext cx="2618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CD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697B8F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 eaLnBrk="1" hangingPunct="1"/>
            <a:fld id="{B144587D-ED76-49C9-8FB6-BC366E2FBB0D}" type="slidenum">
              <a:rPr lang="en-US" altLang="ko-KR" sz="800" b="0" smtClean="0">
                <a:ln w="0">
                  <a:solidFill>
                    <a:srgbClr val="FF0000">
                      <a:alpha val="0"/>
                    </a:srgbClr>
                  </a:solidFill>
                </a:ln>
                <a:solidFill>
                  <a:srgbClr val="555555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pPr lvl="0" algn="ctr" eaLnBrk="1" hangingPunct="1"/>
              <a:t>‹#›</a:t>
            </a:fld>
            <a:endParaRPr lang="en-US" altLang="ko-KR" sz="800" b="0" dirty="0">
              <a:ln w="0">
                <a:solidFill>
                  <a:srgbClr val="FF0000">
                    <a:alpha val="0"/>
                  </a:srgbClr>
                </a:solidFill>
              </a:ln>
              <a:solidFill>
                <a:srgbClr val="555555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645E170-7712-43AF-6CE6-2A7BCF78C51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930" y="6575730"/>
            <a:ext cx="1187540" cy="16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790" r:id="rId2"/>
    <p:sldLayoutId id="2147483809" r:id="rId3"/>
    <p:sldLayoutId id="2147483818" r:id="rId4"/>
    <p:sldLayoutId id="2147483819" r:id="rId5"/>
    <p:sldLayoutId id="2147483845" r:id="rId6"/>
  </p:sldLayoutIdLst>
  <p:hf hdr="0" ftr="0" dt="0"/>
  <p:txStyles>
    <p:titleStyle>
      <a:lvl1pPr algn="l" defTabSz="666985" rtl="0" eaLnBrk="1" latinLnBrk="1" hangingPunct="1">
        <a:lnSpc>
          <a:spcPct val="100000"/>
        </a:lnSpc>
        <a:spcBef>
          <a:spcPts val="0"/>
        </a:spcBef>
        <a:buNone/>
        <a:defRPr sz="2600" kern="1200" spc="-3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j-cs"/>
          <a:sym typeface="맑은 고딕" panose="020B0503020000020004" pitchFamily="50" charset="-127"/>
        </a:defRPr>
      </a:lvl1pPr>
    </p:titleStyle>
    <p:bodyStyle>
      <a:lvl1pPr marL="0" marR="0" indent="-144000" algn="l" defTabSz="914126" rtl="0" eaLnBrk="1" fontAlgn="auto" latinLnBrk="1" hangingPunct="1">
        <a:lnSpc>
          <a:spcPct val="120000"/>
        </a:lnSpc>
        <a:spcBef>
          <a:spcPts val="0"/>
        </a:spcBef>
        <a:spcAft>
          <a:spcPts val="600"/>
        </a:spcAft>
        <a:buClr>
          <a:prstClr val="black"/>
        </a:buClr>
        <a:buSzTx/>
        <a:buFontTx/>
        <a:buNone/>
        <a:tabLst/>
        <a:defRPr sz="1200" b="1" kern="1200" spc="-30" baseline="0">
          <a:solidFill>
            <a:schemeClr val="accent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  <a:sym typeface="맑은 고딕" panose="020B0503020000020004" pitchFamily="50" charset="-127"/>
        </a:defRPr>
      </a:lvl1pPr>
      <a:lvl2pPr marL="144000" marR="0" indent="-144000" algn="l" defTabSz="914126" rtl="0" eaLnBrk="1" fontAlgn="auto" latinLnBrk="1" hangingPunct="1">
        <a:lnSpc>
          <a:spcPct val="120000"/>
        </a:lnSpc>
        <a:spcBef>
          <a:spcPts val="0"/>
        </a:spcBef>
        <a:spcAft>
          <a:spcPts val="600"/>
        </a:spcAft>
        <a:buClrTx/>
        <a:buSzTx/>
        <a:buFont typeface="Georgia" pitchFamily="18" charset="0"/>
        <a:buChar char="•"/>
        <a:tabLst/>
        <a:defRPr sz="1200" kern="1200" spc="-3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  <a:sym typeface="맑은 고딕" panose="020B0503020000020004" pitchFamily="50" charset="-127"/>
        </a:defRPr>
      </a:lvl2pPr>
      <a:lvl3pPr marL="360000" marR="0" indent="-144000" algn="l" defTabSz="914126" rtl="0" eaLnBrk="1" fontAlgn="auto" latinLnBrk="1" hangingPunct="1">
        <a:lnSpc>
          <a:spcPct val="120000"/>
        </a:lnSpc>
        <a:spcBef>
          <a:spcPts val="0"/>
        </a:spcBef>
        <a:spcAft>
          <a:spcPts val="600"/>
        </a:spcAft>
        <a:buClrTx/>
        <a:buSzTx/>
        <a:buFont typeface="Georgia" pitchFamily="18" charset="0"/>
        <a:buChar char="-"/>
        <a:tabLst/>
        <a:defRPr sz="1200" kern="1200" spc="-3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  <a:sym typeface="맑은 고딕" panose="020B0503020000020004" pitchFamily="50" charset="-127"/>
        </a:defRPr>
      </a:lvl3pPr>
      <a:lvl4pPr marL="576000" marR="0" indent="-144000" algn="l" defTabSz="914126" rtl="0" eaLnBrk="1" fontAlgn="auto" latinLnBrk="1" hangingPunct="1">
        <a:lnSpc>
          <a:spcPct val="120000"/>
        </a:lnSpc>
        <a:spcBef>
          <a:spcPts val="0"/>
        </a:spcBef>
        <a:spcAft>
          <a:spcPts val="600"/>
        </a:spcAft>
        <a:buClrTx/>
        <a:buSzTx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  <a:sym typeface="맑은 고딕" panose="020B0503020000020004" pitchFamily="50" charset="-127"/>
        </a:defRPr>
      </a:lvl4pPr>
      <a:lvl5pPr marL="720000" marR="0" indent="-144000" algn="l" defTabSz="914126" rtl="0" eaLnBrk="1" fontAlgn="auto" latinLnBrk="1" hangingPunct="1">
        <a:lnSpc>
          <a:spcPct val="120000"/>
        </a:lnSpc>
        <a:spcBef>
          <a:spcPts val="0"/>
        </a:spcBef>
        <a:spcAft>
          <a:spcPts val="600"/>
        </a:spcAft>
        <a:buClrTx/>
        <a:buSzTx/>
        <a:buFont typeface="Georgia" pitchFamily="18" charset="0"/>
        <a:buChar char="›"/>
        <a:tabLst/>
        <a:defRPr sz="1200" kern="12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  <a:sym typeface="맑은 고딕" panose="020B0503020000020004" pitchFamily="50" charset="-127"/>
        </a:defRPr>
      </a:lvl5pPr>
      <a:lvl6pPr marL="711451" indent="-177863" algn="l" defTabSz="666985" rtl="0" eaLnBrk="1" latinLnBrk="1" hangingPunct="1">
        <a:lnSpc>
          <a:spcPct val="100000"/>
        </a:lnSpc>
        <a:spcBef>
          <a:spcPts val="0"/>
        </a:spcBef>
        <a:spcAft>
          <a:spcPts val="583"/>
        </a:spcAft>
        <a:buFont typeface="Arial" panose="020B0604020202020204" pitchFamily="34" charset="0"/>
        <a:buChar char="–"/>
        <a:defRPr sz="1361" kern="1200">
          <a:solidFill>
            <a:schemeClr val="tx1"/>
          </a:solidFill>
          <a:latin typeface="+mn-lt"/>
          <a:ea typeface="+mn-ea"/>
          <a:cs typeface="+mn-cs"/>
        </a:defRPr>
      </a:lvl6pPr>
      <a:lvl7pPr marL="889314" indent="-177863" algn="l" defTabSz="666985" rtl="0" eaLnBrk="1" latinLnBrk="1" hangingPunct="1">
        <a:lnSpc>
          <a:spcPct val="100000"/>
        </a:lnSpc>
        <a:spcBef>
          <a:spcPts val="0"/>
        </a:spcBef>
        <a:spcAft>
          <a:spcPts val="583"/>
        </a:spcAft>
        <a:buFont typeface="Arial" panose="020B0604020202020204" pitchFamily="34" charset="0"/>
        <a:buChar char="•"/>
        <a:defRPr sz="1361" kern="1200">
          <a:solidFill>
            <a:schemeClr val="tx1"/>
          </a:solidFill>
          <a:latin typeface="+mn-lt"/>
          <a:ea typeface="+mn-ea"/>
          <a:cs typeface="+mn-cs"/>
        </a:defRPr>
      </a:lvl7pPr>
      <a:lvl8pPr marL="1067177" indent="-177863" algn="l" defTabSz="666985" rtl="0" eaLnBrk="1" latinLnBrk="1" hangingPunct="1">
        <a:lnSpc>
          <a:spcPct val="100000"/>
        </a:lnSpc>
        <a:spcBef>
          <a:spcPts val="0"/>
        </a:spcBef>
        <a:spcAft>
          <a:spcPts val="583"/>
        </a:spcAft>
        <a:buFont typeface="Arial" panose="020B0604020202020204" pitchFamily="34" charset="0"/>
        <a:buChar char="–"/>
        <a:defRPr sz="1361" kern="1200">
          <a:solidFill>
            <a:schemeClr val="tx1"/>
          </a:solidFill>
          <a:latin typeface="+mn-lt"/>
          <a:ea typeface="+mn-ea"/>
          <a:cs typeface="+mn-cs"/>
        </a:defRPr>
      </a:lvl8pPr>
      <a:lvl9pPr marL="1245040" indent="-177863" algn="l" defTabSz="666985" rtl="0" eaLnBrk="1" latinLnBrk="1" hangingPunct="1">
        <a:lnSpc>
          <a:spcPct val="100000"/>
        </a:lnSpc>
        <a:spcBef>
          <a:spcPts val="0"/>
        </a:spcBef>
        <a:spcAft>
          <a:spcPts val="583"/>
        </a:spcAft>
        <a:buFont typeface="Arial" panose="020B0604020202020204" pitchFamily="34" charset="0"/>
        <a:buChar char="•"/>
        <a:defRPr sz="13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1pPr>
      <a:lvl2pPr marL="333493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2pPr>
      <a:lvl3pPr marL="666985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3pPr>
      <a:lvl4pPr marL="1000478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4pPr>
      <a:lvl5pPr marL="1333972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5pPr>
      <a:lvl6pPr marL="1667464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6pPr>
      <a:lvl7pPr marL="2000957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7pPr>
      <a:lvl8pPr marL="2334450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8pPr>
      <a:lvl9pPr marL="2667942" algn="l" defTabSz="666985" rtl="0" eaLnBrk="1" latinLnBrk="1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F26B43"/>
          </p15:clr>
        </p15:guide>
        <p15:guide id="1" pos="322" userDrawn="1">
          <p15:clr>
            <a:srgbClr val="F26B43"/>
          </p15:clr>
        </p15:guide>
        <p15:guide id="2" pos="7358" userDrawn="1">
          <p15:clr>
            <a:srgbClr val="F26B43"/>
          </p15:clr>
        </p15:guide>
        <p15:guide id="3" pos="3922" userDrawn="1">
          <p15:clr>
            <a:srgbClr val="F26B43"/>
          </p15:clr>
        </p15:guide>
        <p15:guide id="4" pos="3758" userDrawn="1">
          <p15:clr>
            <a:srgbClr val="F26B43"/>
          </p15:clr>
        </p15:guide>
        <p15:guide id="5" orient="horz" pos="3838" userDrawn="1">
          <p15:clr>
            <a:srgbClr val="F26B43"/>
          </p15:clr>
        </p15:guide>
        <p15:guide id="6" pos="2724" userDrawn="1">
          <p15:clr>
            <a:srgbClr val="F26B43"/>
          </p15:clr>
        </p15:guide>
        <p15:guide id="7" pos="2556" userDrawn="1">
          <p15:clr>
            <a:srgbClr val="F26B43"/>
          </p15:clr>
        </p15:guide>
        <p15:guide id="8" pos="4956" userDrawn="1">
          <p15:clr>
            <a:srgbClr val="F26B43"/>
          </p15:clr>
        </p15:guide>
        <p15:guide id="9" pos="5124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  <p15:guide id="12" orient="horz" pos="663" userDrawn="1">
          <p15:clr>
            <a:srgbClr val="F26B43"/>
          </p15:clr>
        </p15:guide>
        <p15:guide id="13" orient="horz" pos="482" userDrawn="1">
          <p15:clr>
            <a:srgbClr val="F26B43"/>
          </p15:clr>
        </p15:guide>
        <p15:guide id="14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2010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8" r:id="rId7"/>
    <p:sldLayoutId id="2147483830" r:id="rId8"/>
  </p:sldLayoutIdLst>
  <p:txStyles>
    <p:titleStyle>
      <a:lvl1pPr algn="l" defTabSz="742950" rtl="0" eaLnBrk="1" latinLnBrk="1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1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1/2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4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1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8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0.png"/><Relationship Id="rId4" Type="http://schemas.openxmlformats.org/officeDocument/2006/relationships/image" Target="../media/image1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8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2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6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27.png"/><Relationship Id="rId10" Type="http://schemas.openxmlformats.org/officeDocument/2006/relationships/image" Target="../media/image31.svg"/><Relationship Id="rId4" Type="http://schemas.microsoft.com/office/2007/relationships/hdphoto" Target="../media/hdphoto1.wdp"/><Relationship Id="rId9" Type="http://schemas.openxmlformats.org/officeDocument/2006/relationships/image" Target="../media/image3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27.png"/><Relationship Id="rId4" Type="http://schemas.microsoft.com/office/2007/relationships/hdphoto" Target="../media/hdphoto1.wdp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6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3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3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5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4.png"/><Relationship Id="rId4" Type="http://schemas.openxmlformats.org/officeDocument/2006/relationships/image" Target="../media/image11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.wmf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4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그림 개체 틀 9">
            <a:extLst>
              <a:ext uri="{FF2B5EF4-FFF2-40B4-BE49-F238E27FC236}">
                <a16:creationId xmlns:a16="http://schemas.microsoft.com/office/drawing/2014/main" id="{134C17AE-9E70-4421-8E99-F964FDAB508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grpSp>
        <p:nvGrpSpPr>
          <p:cNvPr id="2" name="그룹 1"/>
          <p:cNvGrpSpPr/>
          <p:nvPr/>
        </p:nvGrpSpPr>
        <p:grpSpPr>
          <a:xfrm>
            <a:off x="1991544" y="-2"/>
            <a:ext cx="6810660" cy="6858001"/>
            <a:chOff x="-300612" y="-79300"/>
            <a:chExt cx="6810660" cy="6858001"/>
          </a:xfrm>
        </p:grpSpPr>
        <p:sp>
          <p:nvSpPr>
            <p:cNvPr id="7" name="Google Shape;95;p14"/>
            <p:cNvSpPr/>
            <p:nvPr/>
          </p:nvSpPr>
          <p:spPr>
            <a:xfrm>
              <a:off x="-300612" y="-79300"/>
              <a:ext cx="6810660" cy="6858001"/>
            </a:xfrm>
            <a:custGeom>
              <a:avLst/>
              <a:gdLst/>
              <a:ahLst/>
              <a:cxnLst/>
              <a:rect l="l" t="t" r="r" b="b"/>
              <a:pathLst>
                <a:path w="8914102" h="6858001" extrusionOk="0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74283" tIns="37131" rIns="74283" bIns="37131" anchor="ctr" anchorCtr="0">
              <a:noAutofit/>
            </a:bodyPr>
            <a:lstStyle/>
            <a:p>
              <a:pPr algn="ctr"/>
              <a:endParaRPr lang="ko-KR" altLang="en-US" sz="1463" dirty="0">
                <a:solidFill>
                  <a:schemeClr val="lt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endParaRPr>
            </a:p>
          </p:txBody>
        </p:sp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163" y="6024000"/>
              <a:ext cx="2680589" cy="180000"/>
            </a:xfrm>
            <a:prstGeom prst="rect">
              <a:avLst/>
            </a:prstGeom>
          </p:spPr>
        </p:pic>
      </p:grpSp>
      <p:sp>
        <p:nvSpPr>
          <p:cNvPr id="13" name="제목 12"/>
          <p:cNvSpPr>
            <a:spLocks noGrp="1"/>
          </p:cNvSpPr>
          <p:nvPr>
            <p:ph type="ctrTitle"/>
          </p:nvPr>
        </p:nvSpPr>
        <p:spPr>
          <a:xfrm>
            <a:off x="557956" y="873339"/>
            <a:ext cx="6258124" cy="2339637"/>
          </a:xfrm>
        </p:spPr>
        <p:txBody>
          <a:bodyPr vert="horz">
            <a:noAutofit/>
          </a:bodyPr>
          <a:lstStyle/>
          <a:p>
            <a:pPr>
              <a:lnSpc>
                <a:spcPts val="5000"/>
              </a:lnSpc>
            </a:pPr>
            <a:r>
              <a:rPr lang="ko-KR" altLang="en-US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삼일 </a:t>
            </a:r>
            <a:r>
              <a:rPr lang="en-US" altLang="ko-KR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ESG </a:t>
            </a:r>
            <a:r>
              <a:rPr lang="ko-KR" altLang="en-US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플랫폼 </a:t>
            </a:r>
            <a:br>
              <a:rPr lang="en-US" altLang="ko-KR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</a:br>
            <a:r>
              <a:rPr lang="ko-KR" altLang="en-US" sz="3200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기획 및 구축 컨설팅 </a:t>
            </a:r>
            <a:br>
              <a:rPr lang="en-US" altLang="ko-KR" sz="3200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</a:br>
            <a:r>
              <a:rPr lang="ko-KR" altLang="en-US" sz="1800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화면 및 기능 정의 </a:t>
            </a:r>
            <a:r>
              <a:rPr lang="en-US" altLang="ko-KR" sz="1800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(</a:t>
            </a:r>
            <a:r>
              <a:rPr lang="ko-KR" altLang="en-US" sz="1800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운영자 </a:t>
            </a:r>
            <a:r>
              <a:rPr lang="en-US" altLang="ko-KR" sz="1800" b="1" spc="-50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Admin)</a:t>
            </a:r>
            <a:endParaRPr lang="ko-KR" altLang="en-US" sz="3200" b="1" spc="-50" dirty="0">
              <a:ln>
                <a:solidFill>
                  <a:srgbClr val="FFFFFF">
                    <a:lumMod val="75000"/>
                    <a:alpha val="0"/>
                  </a:srgbClr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4" name="부제목 3"/>
          <p:cNvSpPr>
            <a:spLocks noGrp="1"/>
          </p:cNvSpPr>
          <p:nvPr>
            <p:ph type="subTitle" idx="1"/>
          </p:nvPr>
        </p:nvSpPr>
        <p:spPr>
          <a:xfrm>
            <a:off x="557956" y="3703320"/>
            <a:ext cx="5140966" cy="379819"/>
          </a:xfrm>
        </p:spPr>
        <p:txBody>
          <a:bodyPr anchor="ctr"/>
          <a:lstStyle/>
          <a:p>
            <a:r>
              <a:rPr lang="en-US" altLang="ko-KR" dirty="0"/>
              <a:t>2023.08.30</a:t>
            </a:r>
          </a:p>
        </p:txBody>
      </p:sp>
    </p:spTree>
    <p:extLst>
      <p:ext uri="{BB962C8B-B14F-4D97-AF65-F5344CB8AC3E}">
        <p14:creationId xmlns:p14="http://schemas.microsoft.com/office/powerpoint/2010/main" val="4062118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8623005"/>
              </p:ext>
            </p:extLst>
          </p:nvPr>
        </p:nvGraphicFramePr>
        <p:xfrm>
          <a:off x="9267391" y="766119"/>
          <a:ext cx="2922885" cy="60918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9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M005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0490755"/>
                  </a:ext>
                </a:extLst>
              </a:tr>
              <a:tr h="7932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설정안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설정안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하면 일자 선택 기능 활성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재시점부터 과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으로 자동 설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변경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39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 자유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39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상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중지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939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으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조회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키워드가 들어간 컨텐츠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두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6299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종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 선택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웃링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선택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베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코드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5939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으로 조회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키워드가 들어간 컨텐츠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두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2660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외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239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공언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문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68565"/>
                  </a:ext>
                </a:extLst>
              </a:tr>
              <a:tr h="7932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선택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Level 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버튼 활성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사이트 리포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239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관리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계획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endParaRPr lang="en-US" altLang="ko-KR" sz="800" b="0" i="0" u="none" strike="noStrike" kern="1200" cap="none" spc="-6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659808"/>
                  </a:ext>
                </a:extLst>
              </a:tr>
              <a:tr h="239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39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전시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7946405"/>
                  </a:ext>
                </a:extLst>
              </a:tr>
              <a:tr h="239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2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활성화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968229"/>
                  </a:ext>
                </a:extLst>
              </a:tr>
              <a:tr h="2395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가능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4806038"/>
                  </a:ext>
                </a:extLst>
              </a:tr>
              <a:tr h="2660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가능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6174622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8715380"/>
              </p:ext>
            </p:extLst>
          </p:nvPr>
        </p:nvGraphicFramePr>
        <p:xfrm>
          <a:off x="345126" y="1459939"/>
          <a:ext cx="8641709" cy="20758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2869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47546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15360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369905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576802">
                  <a:extLst>
                    <a:ext uri="{9D8B030D-6E8A-4147-A177-3AD203B41FA5}">
                      <a16:colId xmlns:a16="http://schemas.microsoft.com/office/drawing/2014/main" val="3880985863"/>
                    </a:ext>
                  </a:extLst>
                </a:gridCol>
                <a:gridCol w="1153061">
                  <a:extLst>
                    <a:ext uri="{9D8B030D-6E8A-4147-A177-3AD203B41FA5}">
                      <a16:colId xmlns:a16="http://schemas.microsoft.com/office/drawing/2014/main" val="1038657223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번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번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   ○ 국내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언어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11702917"/>
                  </a:ext>
                </a:extLst>
              </a:tr>
              <a:tr h="2409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83200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열람허용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○ 전체공개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483089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6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5" name="직사각형 84">
            <a:extLst>
              <a:ext uri="{FF2B5EF4-FFF2-40B4-BE49-F238E27FC236}">
                <a16:creationId xmlns:a16="http://schemas.microsoft.com/office/drawing/2014/main" id="{C3E5D00F-CF4B-4C5E-BC5A-8812BEDD9341}"/>
              </a:ext>
            </a:extLst>
          </p:cNvPr>
          <p:cNvSpPr/>
          <p:nvPr/>
        </p:nvSpPr>
        <p:spPr>
          <a:xfrm>
            <a:off x="6604898" y="1493932"/>
            <a:ext cx="49776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73D7B8F0-497D-4292-9F8C-E0111B9E5BF1}"/>
              </a:ext>
            </a:extLst>
          </p:cNvPr>
          <p:cNvGrpSpPr/>
          <p:nvPr/>
        </p:nvGrpSpPr>
        <p:grpSpPr>
          <a:xfrm>
            <a:off x="2361053" y="1500348"/>
            <a:ext cx="1749536" cy="180527"/>
            <a:chOff x="1208287" y="1514945"/>
            <a:chExt cx="1749536" cy="180527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2CB77E35-E495-48AC-933C-78143479AE3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4105991-6501-4168-8BA9-5D85EFD54B0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2F827555-4081-4261-9A9A-2148AC4049B3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01070033-EF9A-4A47-9A9E-D68F061C2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FE848C4E-6177-4ED8-8E14-42C73B29F256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26FC3911-9203-4AAB-9BBC-4B1B8159950D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0DD98797-A83A-434A-AD2E-BE76B395A606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>
                <a:extLst>
                  <a:ext uri="{FF2B5EF4-FFF2-40B4-BE49-F238E27FC236}">
                    <a16:creationId xmlns:a16="http://schemas.microsoft.com/office/drawing/2014/main" id="{CE0F8CC6-8026-4DAE-B6B9-8F986ED1D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0864696-D459-493D-8276-58432E01067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6BC7ADE-7CA8-4D08-BC41-B046D960B4B0}"/>
                </a:ext>
              </a:extLst>
            </p:cNvPr>
            <p:cNvSpPr/>
            <p:nvPr/>
          </p:nvSpPr>
          <p:spPr>
            <a:xfrm>
              <a:off x="1208287" y="1522517"/>
              <a:ext cx="723126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7E22A3D3-8F70-4E7D-995D-32C1C218FF75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3BC5CA5-277D-4189-9026-ABF3CE1116E1}"/>
              </a:ext>
            </a:extLst>
          </p:cNvPr>
          <p:cNvSpPr/>
          <p:nvPr/>
        </p:nvSpPr>
        <p:spPr>
          <a:xfrm>
            <a:off x="1335005" y="1752634"/>
            <a:ext cx="81393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명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271AAF07-5108-448C-B231-2D3CCF49DDD9}"/>
              </a:ext>
            </a:extLst>
          </p:cNvPr>
          <p:cNvSpPr/>
          <p:nvPr/>
        </p:nvSpPr>
        <p:spPr>
          <a:xfrm>
            <a:off x="2412800" y="1752634"/>
            <a:ext cx="1601921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D583D71-80BC-44E3-BBBA-468156B8DCEF}"/>
              </a:ext>
            </a:extLst>
          </p:cNvPr>
          <p:cNvGrpSpPr/>
          <p:nvPr/>
        </p:nvGrpSpPr>
        <p:grpSpPr>
          <a:xfrm>
            <a:off x="5934079" y="1745727"/>
            <a:ext cx="2197195" cy="174340"/>
            <a:chOff x="1331353" y="2500672"/>
            <a:chExt cx="2197195" cy="174340"/>
          </a:xfrm>
        </p:grpSpPr>
        <p:grpSp>
          <p:nvGrpSpPr>
            <p:cNvPr id="147" name="그룹 146">
              <a:extLst>
                <a:ext uri="{FF2B5EF4-FFF2-40B4-BE49-F238E27FC236}">
                  <a16:creationId xmlns:a16="http://schemas.microsoft.com/office/drawing/2014/main" id="{F3C9D234-C4EB-4B9F-8BC5-1E6366815967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148" name="직사각형 147">
                <a:extLst>
                  <a:ext uri="{FF2B5EF4-FFF2-40B4-BE49-F238E27FC236}">
                    <a16:creationId xmlns:a16="http://schemas.microsoft.com/office/drawing/2014/main" id="{655AA352-2DA6-431D-AD7F-3223454F19F8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AB1C29A6-4BC2-4430-8B1D-AA43C2E2300F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50" name="그룹 149">
              <a:extLst>
                <a:ext uri="{FF2B5EF4-FFF2-40B4-BE49-F238E27FC236}">
                  <a16:creationId xmlns:a16="http://schemas.microsoft.com/office/drawing/2014/main" id="{7471A3C8-86B5-42D4-834D-CE71FD5DB69B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FEAA70F7-32AC-447F-BAEB-66D8A1BB8B71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8317CF28-A034-4650-93EA-E46363CF0DB8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8495083"/>
              </p:ext>
            </p:extLst>
          </p:nvPr>
        </p:nvGraphicFramePr>
        <p:xfrm>
          <a:off x="336268" y="3757182"/>
          <a:ext cx="8647316" cy="16532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5543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10544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297902">
                  <a:extLst>
                    <a:ext uri="{9D8B030D-6E8A-4147-A177-3AD203B41FA5}">
                      <a16:colId xmlns:a16="http://schemas.microsoft.com/office/drawing/2014/main" val="3507830839"/>
                    </a:ext>
                  </a:extLst>
                </a:gridCol>
                <a:gridCol w="861287">
                  <a:extLst>
                    <a:ext uri="{9D8B030D-6E8A-4147-A177-3AD203B41FA5}">
                      <a16:colId xmlns:a16="http://schemas.microsoft.com/office/drawing/2014/main" val="1218332715"/>
                    </a:ext>
                  </a:extLst>
                </a:gridCol>
                <a:gridCol w="525149">
                  <a:extLst>
                    <a:ext uri="{9D8B030D-6E8A-4147-A177-3AD203B41FA5}">
                      <a16:colId xmlns:a16="http://schemas.microsoft.com/office/drawing/2014/main" val="3063414131"/>
                    </a:ext>
                  </a:extLst>
                </a:gridCol>
                <a:gridCol w="698987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655336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</a:tblGrid>
              <a:tr h="298415">
                <a:tc gridSpan="1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1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종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strike="noStrike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strike="noStrike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strike="noStrike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A00012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베드코드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MYP00005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 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10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0" kern="1200" spc="-10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102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녹색성장 기본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95" name="그룹 194">
            <a:extLst>
              <a:ext uri="{FF2B5EF4-FFF2-40B4-BE49-F238E27FC236}">
                <a16:creationId xmlns:a16="http://schemas.microsoft.com/office/drawing/2014/main" id="{D2FF3731-BF2B-48FA-A85A-30EEDCB62D51}"/>
              </a:ext>
            </a:extLst>
          </p:cNvPr>
          <p:cNvGrpSpPr/>
          <p:nvPr/>
        </p:nvGrpSpPr>
        <p:grpSpPr>
          <a:xfrm>
            <a:off x="7865445" y="2006831"/>
            <a:ext cx="1001575" cy="172800"/>
            <a:chOff x="1260035" y="1778319"/>
            <a:chExt cx="1065950" cy="172800"/>
          </a:xfrm>
        </p:grpSpPr>
        <p:sp>
          <p:nvSpPr>
            <p:cNvPr id="199" name="직사각형 198">
              <a:extLst>
                <a:ext uri="{FF2B5EF4-FFF2-40B4-BE49-F238E27FC236}">
                  <a16:creationId xmlns:a16="http://schemas.microsoft.com/office/drawing/2014/main" id="{C9EDE0D2-B965-4533-9205-6B2B860E1A71}"/>
                </a:ext>
              </a:extLst>
            </p:cNvPr>
            <p:cNvSpPr/>
            <p:nvPr/>
          </p:nvSpPr>
          <p:spPr>
            <a:xfrm>
              <a:off x="1260035" y="1778319"/>
              <a:ext cx="821279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00" name="직사각형 199">
              <a:extLst>
                <a:ext uri="{FF2B5EF4-FFF2-40B4-BE49-F238E27FC236}">
                  <a16:creationId xmlns:a16="http://schemas.microsoft.com/office/drawing/2014/main" id="{484EBEB5-AE92-423E-82D1-7BEC31B9E660}"/>
                </a:ext>
              </a:extLst>
            </p:cNvPr>
            <p:cNvSpPr/>
            <p:nvPr/>
          </p:nvSpPr>
          <p:spPr>
            <a:xfrm>
              <a:off x="2081313" y="1778638"/>
              <a:ext cx="244672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E2B63736-1B61-417B-A244-A2169D993191}"/>
              </a:ext>
            </a:extLst>
          </p:cNvPr>
          <p:cNvGrpSpPr/>
          <p:nvPr/>
        </p:nvGrpSpPr>
        <p:grpSpPr>
          <a:xfrm>
            <a:off x="5934079" y="2247017"/>
            <a:ext cx="1065951" cy="172800"/>
            <a:chOff x="1260034" y="1778319"/>
            <a:chExt cx="1065951" cy="172800"/>
          </a:xfrm>
        </p:grpSpPr>
        <p:sp>
          <p:nvSpPr>
            <p:cNvPr id="239" name="직사각형 238">
              <a:extLst>
                <a:ext uri="{FF2B5EF4-FFF2-40B4-BE49-F238E27FC236}">
                  <a16:creationId xmlns:a16="http://schemas.microsoft.com/office/drawing/2014/main" id="{FA4E2223-1DD4-4D4F-8B83-44925D2E5316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0" name="직사각형 239">
              <a:extLst>
                <a:ext uri="{FF2B5EF4-FFF2-40B4-BE49-F238E27FC236}">
                  <a16:creationId xmlns:a16="http://schemas.microsoft.com/office/drawing/2014/main" id="{7257429E-2A65-4FEF-9E79-31FDAAC07625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2CFC1E6E-8F0B-4450-BAF1-84CE7EC64C15}"/>
              </a:ext>
            </a:extLst>
          </p:cNvPr>
          <p:cNvGrpSpPr/>
          <p:nvPr/>
        </p:nvGrpSpPr>
        <p:grpSpPr>
          <a:xfrm>
            <a:off x="7864719" y="2247336"/>
            <a:ext cx="1001577" cy="172800"/>
            <a:chOff x="1324408" y="1778319"/>
            <a:chExt cx="1001577" cy="172800"/>
          </a:xfrm>
        </p:grpSpPr>
        <p:sp>
          <p:nvSpPr>
            <p:cNvPr id="242" name="직사각형 241">
              <a:extLst>
                <a:ext uri="{FF2B5EF4-FFF2-40B4-BE49-F238E27FC236}">
                  <a16:creationId xmlns:a16="http://schemas.microsoft.com/office/drawing/2014/main" id="{7E5A80AB-EA85-49C2-964E-E9E75BCFB6AE}"/>
                </a:ext>
              </a:extLst>
            </p:cNvPr>
            <p:cNvSpPr/>
            <p:nvPr/>
          </p:nvSpPr>
          <p:spPr>
            <a:xfrm>
              <a:off x="1324408" y="1778319"/>
              <a:ext cx="77168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4227F256-3E8D-42EB-9FDA-1674D512A4F2}"/>
                </a:ext>
              </a:extLst>
            </p:cNvPr>
            <p:cNvSpPr/>
            <p:nvPr/>
          </p:nvSpPr>
          <p:spPr>
            <a:xfrm>
              <a:off x="2096089" y="1778638"/>
              <a:ext cx="229896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44" name="표 66">
            <a:extLst>
              <a:ext uri="{FF2B5EF4-FFF2-40B4-BE49-F238E27FC236}">
                <a16:creationId xmlns:a16="http://schemas.microsoft.com/office/drawing/2014/main" id="{5E7F96FF-4465-4360-9046-6A1E4803731A}"/>
              </a:ext>
            </a:extLst>
          </p:cNvPr>
          <p:cNvGraphicFramePr>
            <a:graphicFrameLocks noGrp="1"/>
          </p:cNvGraphicFramePr>
          <p:nvPr/>
        </p:nvGraphicFramePr>
        <p:xfrm>
          <a:off x="1998312" y="5508485"/>
          <a:ext cx="6988524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5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257909302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370459386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14256562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30630511"/>
                    </a:ext>
                  </a:extLst>
                </a:gridCol>
                <a:gridCol w="695187">
                  <a:extLst>
                    <a:ext uri="{9D8B030D-6E8A-4147-A177-3AD203B41FA5}">
                      <a16:colId xmlns:a16="http://schemas.microsoft.com/office/drawing/2014/main" val="2911285607"/>
                    </a:ext>
                  </a:extLst>
                </a:gridCol>
                <a:gridCol w="462273">
                  <a:extLst>
                    <a:ext uri="{9D8B030D-6E8A-4147-A177-3AD203B41FA5}">
                      <a16:colId xmlns:a16="http://schemas.microsoft.com/office/drawing/2014/main" val="1371808166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GRI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U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11-2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녹색성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245" name="화살표: 오른쪽 244">
            <a:extLst>
              <a:ext uri="{FF2B5EF4-FFF2-40B4-BE49-F238E27FC236}">
                <a16:creationId xmlns:a16="http://schemas.microsoft.com/office/drawing/2014/main" id="{4CBF2E6B-87FD-4AC9-B4FD-0076C6F9614A}"/>
              </a:ext>
            </a:extLst>
          </p:cNvPr>
          <p:cNvSpPr/>
          <p:nvPr/>
        </p:nvSpPr>
        <p:spPr>
          <a:xfrm>
            <a:off x="1558381" y="5698029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376372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4108189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4113419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A25D0A63-881B-4E13-8FFD-B401C294364B}"/>
              </a:ext>
            </a:extLst>
          </p:cNvPr>
          <p:cNvGrpSpPr/>
          <p:nvPr/>
        </p:nvGrpSpPr>
        <p:grpSpPr>
          <a:xfrm>
            <a:off x="1330960" y="2244959"/>
            <a:ext cx="2131045" cy="174858"/>
            <a:chOff x="1336543" y="2500154"/>
            <a:chExt cx="2131045" cy="174858"/>
          </a:xfrm>
        </p:grpSpPr>
        <p:grpSp>
          <p:nvGrpSpPr>
            <p:cNvPr id="264" name="그룹 263">
              <a:extLst>
                <a:ext uri="{FF2B5EF4-FFF2-40B4-BE49-F238E27FC236}">
                  <a16:creationId xmlns:a16="http://schemas.microsoft.com/office/drawing/2014/main" id="{C4074594-5306-4BFB-AFCB-C788A7BA59AA}"/>
                </a:ext>
              </a:extLst>
            </p:cNvPr>
            <p:cNvGrpSpPr/>
            <p:nvPr/>
          </p:nvGrpSpPr>
          <p:grpSpPr>
            <a:xfrm>
              <a:off x="1336543" y="2500154"/>
              <a:ext cx="1036636" cy="173318"/>
              <a:chOff x="1265224" y="1777801"/>
              <a:chExt cx="1036636" cy="173318"/>
            </a:xfrm>
          </p:grpSpPr>
          <p:sp>
            <p:nvSpPr>
              <p:cNvPr id="268" name="직사각형 267">
                <a:extLst>
                  <a:ext uri="{FF2B5EF4-FFF2-40B4-BE49-F238E27FC236}">
                    <a16:creationId xmlns:a16="http://schemas.microsoft.com/office/drawing/2014/main" id="{0B445854-7857-4266-8E76-E1BB8D79C420}"/>
                  </a:ext>
                </a:extLst>
              </p:cNvPr>
              <p:cNvSpPr/>
              <p:nvPr/>
            </p:nvSpPr>
            <p:spPr>
              <a:xfrm>
                <a:off x="1265224" y="1778319"/>
                <a:ext cx="820612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9" name="직사각형 268">
                <a:extLst>
                  <a:ext uri="{FF2B5EF4-FFF2-40B4-BE49-F238E27FC236}">
                    <a16:creationId xmlns:a16="http://schemas.microsoft.com/office/drawing/2014/main" id="{086DAF83-B2D9-49AE-87C9-F7401679FEDA}"/>
                  </a:ext>
                </a:extLst>
              </p:cNvPr>
              <p:cNvSpPr/>
              <p:nvPr/>
            </p:nvSpPr>
            <p:spPr>
              <a:xfrm>
                <a:off x="2085836" y="1777801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265" name="그룹 264">
              <a:extLst>
                <a:ext uri="{FF2B5EF4-FFF2-40B4-BE49-F238E27FC236}">
                  <a16:creationId xmlns:a16="http://schemas.microsoft.com/office/drawing/2014/main" id="{F258107B-C617-455A-8271-DC7E8144FE38}"/>
                </a:ext>
              </a:extLst>
            </p:cNvPr>
            <p:cNvGrpSpPr/>
            <p:nvPr/>
          </p:nvGrpSpPr>
          <p:grpSpPr>
            <a:xfrm>
              <a:off x="2428542" y="2501893"/>
              <a:ext cx="1039046" cy="173119"/>
              <a:chOff x="1227446" y="1778319"/>
              <a:chExt cx="1039046" cy="173119"/>
            </a:xfrm>
          </p:grpSpPr>
          <p:sp>
            <p:nvSpPr>
              <p:cNvPr id="266" name="직사각형 265">
                <a:extLst>
                  <a:ext uri="{FF2B5EF4-FFF2-40B4-BE49-F238E27FC236}">
                    <a16:creationId xmlns:a16="http://schemas.microsoft.com/office/drawing/2014/main" id="{E5104259-D520-4F5B-B718-068A82B5BB1C}"/>
                  </a:ext>
                </a:extLst>
              </p:cNvPr>
              <p:cNvSpPr/>
              <p:nvPr/>
            </p:nvSpPr>
            <p:spPr>
              <a:xfrm>
                <a:off x="1227446" y="1778319"/>
                <a:ext cx="823021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7" name="직사각형 266">
                <a:extLst>
                  <a:ext uri="{FF2B5EF4-FFF2-40B4-BE49-F238E27FC236}">
                    <a16:creationId xmlns:a16="http://schemas.microsoft.com/office/drawing/2014/main" id="{46491C19-D344-4AFD-879B-BE5FB1F08ECF}"/>
                  </a:ext>
                </a:extLst>
              </p:cNvPr>
              <p:cNvSpPr/>
              <p:nvPr/>
            </p:nvSpPr>
            <p:spPr>
              <a:xfrm>
                <a:off x="205046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271" name="사각형: 둥근 모서리 270">
            <a:extLst>
              <a:ext uri="{FF2B5EF4-FFF2-40B4-BE49-F238E27FC236}">
                <a16:creationId xmlns:a16="http://schemas.microsoft.com/office/drawing/2014/main" id="{98A9715A-D77F-4BC0-A002-EECE7E330985}"/>
              </a:ext>
            </a:extLst>
          </p:cNvPr>
          <p:cNvSpPr/>
          <p:nvPr/>
        </p:nvSpPr>
        <p:spPr>
          <a:xfrm>
            <a:off x="388960" y="46268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2" name="사각형: 둥근 모서리 271">
            <a:extLst>
              <a:ext uri="{FF2B5EF4-FFF2-40B4-BE49-F238E27FC236}">
                <a16:creationId xmlns:a16="http://schemas.microsoft.com/office/drawing/2014/main" id="{C21EF9C1-0EDA-4694-84B7-376355ED2FF0}"/>
              </a:ext>
            </a:extLst>
          </p:cNvPr>
          <p:cNvSpPr/>
          <p:nvPr/>
        </p:nvSpPr>
        <p:spPr>
          <a:xfrm>
            <a:off x="388960" y="5048569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3" name="사각형: 둥근 모서리 272">
            <a:extLst>
              <a:ext uri="{FF2B5EF4-FFF2-40B4-BE49-F238E27FC236}">
                <a16:creationId xmlns:a16="http://schemas.microsoft.com/office/drawing/2014/main" id="{F1BF2076-BF45-4989-A3B3-9AC3C1AA753C}"/>
              </a:ext>
            </a:extLst>
          </p:cNvPr>
          <p:cNvSpPr/>
          <p:nvPr/>
        </p:nvSpPr>
        <p:spPr>
          <a:xfrm>
            <a:off x="388960" y="48422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B705B3E0-8595-4AB6-BF6A-E598A59A65A7}"/>
              </a:ext>
            </a:extLst>
          </p:cNvPr>
          <p:cNvSpPr/>
          <p:nvPr/>
        </p:nvSpPr>
        <p:spPr>
          <a:xfrm>
            <a:off x="388960" y="526057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71FFD5C8-D68E-45CD-8ED0-EAA59BFA079F}"/>
              </a:ext>
            </a:extLst>
          </p:cNvPr>
          <p:cNvSpPr/>
          <p:nvPr/>
        </p:nvSpPr>
        <p:spPr>
          <a:xfrm>
            <a:off x="2148940" y="1752435"/>
            <a:ext cx="216024" cy="17299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▼</a:t>
            </a: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2C646827-7EAE-44CC-B466-FC1885DB89F9}"/>
              </a:ext>
            </a:extLst>
          </p:cNvPr>
          <p:cNvSpPr/>
          <p:nvPr/>
        </p:nvSpPr>
        <p:spPr>
          <a:xfrm>
            <a:off x="8092473" y="3829999"/>
            <a:ext cx="760056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용중지</a:t>
            </a: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AF256719-8FE1-48AF-A3F4-AF1485640C9C}"/>
              </a:ext>
            </a:extLst>
          </p:cNvPr>
          <p:cNvGrpSpPr/>
          <p:nvPr/>
        </p:nvGrpSpPr>
        <p:grpSpPr>
          <a:xfrm>
            <a:off x="7866755" y="1495692"/>
            <a:ext cx="987704" cy="172800"/>
            <a:chOff x="1260034" y="1778319"/>
            <a:chExt cx="987704" cy="172800"/>
          </a:xfrm>
        </p:grpSpPr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BB99229C-2A73-430F-ACF5-4C04F11DD350}"/>
                </a:ext>
              </a:extLst>
            </p:cNvPr>
            <p:cNvSpPr/>
            <p:nvPr/>
          </p:nvSpPr>
          <p:spPr>
            <a:xfrm>
              <a:off x="1260034" y="1778319"/>
              <a:ext cx="771680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3DE8A0E0-AB4B-4F0A-BB88-432C050EBAF9}"/>
                </a:ext>
              </a:extLst>
            </p:cNvPr>
            <p:cNvSpPr/>
            <p:nvPr/>
          </p:nvSpPr>
          <p:spPr>
            <a:xfrm>
              <a:off x="2031714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1EFF85C7-A442-4C97-B966-4350433FAAB1}"/>
              </a:ext>
            </a:extLst>
          </p:cNvPr>
          <p:cNvSpPr/>
          <p:nvPr/>
        </p:nvSpPr>
        <p:spPr>
          <a:xfrm>
            <a:off x="246042" y="150002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71E7F1A6-327A-4DCF-9383-785B46C5F117}"/>
              </a:ext>
            </a:extLst>
          </p:cNvPr>
          <p:cNvSpPr/>
          <p:nvPr/>
        </p:nvSpPr>
        <p:spPr>
          <a:xfrm>
            <a:off x="4654353" y="15061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2" name="그룹 121">
            <a:extLst>
              <a:ext uri="{FF2B5EF4-FFF2-40B4-BE49-F238E27FC236}">
                <a16:creationId xmlns:a16="http://schemas.microsoft.com/office/drawing/2014/main" id="{47A7B583-0EBF-4CC9-B972-E8DF138B3847}"/>
              </a:ext>
            </a:extLst>
          </p:cNvPr>
          <p:cNvGrpSpPr/>
          <p:nvPr/>
        </p:nvGrpSpPr>
        <p:grpSpPr>
          <a:xfrm>
            <a:off x="1333985" y="1503402"/>
            <a:ext cx="1033611" cy="172800"/>
            <a:chOff x="1260033" y="1778319"/>
            <a:chExt cx="1033611" cy="172800"/>
          </a:xfrm>
        </p:grpSpPr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88A85CD5-F2A9-4848-A118-F1E2C8B64218}"/>
                </a:ext>
              </a:extLst>
            </p:cNvPr>
            <p:cNvSpPr/>
            <p:nvPr/>
          </p:nvSpPr>
          <p:spPr>
            <a:xfrm>
              <a:off x="1260033" y="1778319"/>
              <a:ext cx="81758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 안함</a:t>
              </a:r>
            </a:p>
          </p:txBody>
        </p:sp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75FDEAF2-2CF4-493F-82D3-8EA9614B620E}"/>
                </a:ext>
              </a:extLst>
            </p:cNvPr>
            <p:cNvSpPr/>
            <p:nvPr/>
          </p:nvSpPr>
          <p:spPr>
            <a:xfrm>
              <a:off x="2077620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25" name="그룹 124">
            <a:extLst>
              <a:ext uri="{FF2B5EF4-FFF2-40B4-BE49-F238E27FC236}">
                <a16:creationId xmlns:a16="http://schemas.microsoft.com/office/drawing/2014/main" id="{73848DB9-9E09-449A-A842-679B2195CC6B}"/>
              </a:ext>
            </a:extLst>
          </p:cNvPr>
          <p:cNvGrpSpPr/>
          <p:nvPr/>
        </p:nvGrpSpPr>
        <p:grpSpPr>
          <a:xfrm>
            <a:off x="5924418" y="1495373"/>
            <a:ext cx="639827" cy="172800"/>
            <a:chOff x="1260034" y="1778319"/>
            <a:chExt cx="639827" cy="172800"/>
          </a:xfrm>
        </p:grpSpPr>
        <p:sp>
          <p:nvSpPr>
            <p:cNvPr id="126" name="직사각형 125">
              <a:extLst>
                <a:ext uri="{FF2B5EF4-FFF2-40B4-BE49-F238E27FC236}">
                  <a16:creationId xmlns:a16="http://schemas.microsoft.com/office/drawing/2014/main" id="{26C440E7-C8E5-4432-8B85-D225321BD89B}"/>
                </a:ext>
              </a:extLst>
            </p:cNvPr>
            <p:cNvSpPr/>
            <p:nvPr/>
          </p:nvSpPr>
          <p:spPr>
            <a:xfrm>
              <a:off x="1260034" y="1778319"/>
              <a:ext cx="425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자</a:t>
              </a:r>
            </a:p>
          </p:txBody>
        </p:sp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A88DAEB3-C215-4E66-B994-481ED2B5EA80}"/>
                </a:ext>
              </a:extLst>
            </p:cNvPr>
            <p:cNvSpPr/>
            <p:nvPr/>
          </p:nvSpPr>
          <p:spPr>
            <a:xfrm>
              <a:off x="1683837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28" name="사각형: 둥근 모서리 127">
            <a:extLst>
              <a:ext uri="{FF2B5EF4-FFF2-40B4-BE49-F238E27FC236}">
                <a16:creationId xmlns:a16="http://schemas.microsoft.com/office/drawing/2014/main" id="{3D088905-87F6-463D-BB31-B807F22B6591}"/>
              </a:ext>
            </a:extLst>
          </p:cNvPr>
          <p:cNvSpPr/>
          <p:nvPr/>
        </p:nvSpPr>
        <p:spPr>
          <a:xfrm>
            <a:off x="7138546" y="150002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9" name="사각형: 둥근 모서리 128">
            <a:extLst>
              <a:ext uri="{FF2B5EF4-FFF2-40B4-BE49-F238E27FC236}">
                <a16:creationId xmlns:a16="http://schemas.microsoft.com/office/drawing/2014/main" id="{58D4ED0B-4CB6-4CE0-87DF-9A960345F290}"/>
              </a:ext>
            </a:extLst>
          </p:cNvPr>
          <p:cNvSpPr/>
          <p:nvPr/>
        </p:nvSpPr>
        <p:spPr>
          <a:xfrm>
            <a:off x="246042" y="175224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0" name="사각형: 둥근 모서리 129">
            <a:extLst>
              <a:ext uri="{FF2B5EF4-FFF2-40B4-BE49-F238E27FC236}">
                <a16:creationId xmlns:a16="http://schemas.microsoft.com/office/drawing/2014/main" id="{A46E5618-B28B-4017-BC80-2CD0D3E0B423}"/>
              </a:ext>
            </a:extLst>
          </p:cNvPr>
          <p:cNvSpPr/>
          <p:nvPr/>
        </p:nvSpPr>
        <p:spPr>
          <a:xfrm>
            <a:off x="4654353" y="175373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1" name="사각형: 둥근 모서리 130">
            <a:extLst>
              <a:ext uri="{FF2B5EF4-FFF2-40B4-BE49-F238E27FC236}">
                <a16:creationId xmlns:a16="http://schemas.microsoft.com/office/drawing/2014/main" id="{23F3195D-EA9D-4C1B-927B-3DD392DBAEB8}"/>
              </a:ext>
            </a:extLst>
          </p:cNvPr>
          <p:cNvSpPr/>
          <p:nvPr/>
        </p:nvSpPr>
        <p:spPr>
          <a:xfrm>
            <a:off x="246042" y="20002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2" name="사각형: 둥근 모서리 131">
            <a:extLst>
              <a:ext uri="{FF2B5EF4-FFF2-40B4-BE49-F238E27FC236}">
                <a16:creationId xmlns:a16="http://schemas.microsoft.com/office/drawing/2014/main" id="{7D8B6E12-BE6B-421C-B334-BD796C0A0914}"/>
              </a:ext>
            </a:extLst>
          </p:cNvPr>
          <p:cNvSpPr/>
          <p:nvPr/>
        </p:nvSpPr>
        <p:spPr>
          <a:xfrm>
            <a:off x="4654353" y="199285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19061259-8EE6-4ACC-A4C5-9DE8F2BEDD20}"/>
              </a:ext>
            </a:extLst>
          </p:cNvPr>
          <p:cNvSpPr/>
          <p:nvPr/>
        </p:nvSpPr>
        <p:spPr>
          <a:xfrm>
            <a:off x="7140746" y="199285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사각형: 둥근 모서리 133">
            <a:extLst>
              <a:ext uri="{FF2B5EF4-FFF2-40B4-BE49-F238E27FC236}">
                <a16:creationId xmlns:a16="http://schemas.microsoft.com/office/drawing/2014/main" id="{643A8E68-7A9F-4FA7-9B5D-BACA26F7CDAD}"/>
              </a:ext>
            </a:extLst>
          </p:cNvPr>
          <p:cNvSpPr/>
          <p:nvPr/>
        </p:nvSpPr>
        <p:spPr>
          <a:xfrm>
            <a:off x="246042" y="226632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E63F3A62-13E2-4739-8962-CA0513883F41}"/>
              </a:ext>
            </a:extLst>
          </p:cNvPr>
          <p:cNvSpPr/>
          <p:nvPr/>
        </p:nvSpPr>
        <p:spPr>
          <a:xfrm>
            <a:off x="4654353" y="22602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사각형: 둥근 모서리 135">
            <a:extLst>
              <a:ext uri="{FF2B5EF4-FFF2-40B4-BE49-F238E27FC236}">
                <a16:creationId xmlns:a16="http://schemas.microsoft.com/office/drawing/2014/main" id="{0A7ADE1F-D79E-4FF6-883B-A150B1596A85}"/>
              </a:ext>
            </a:extLst>
          </p:cNvPr>
          <p:cNvSpPr/>
          <p:nvPr/>
        </p:nvSpPr>
        <p:spPr>
          <a:xfrm>
            <a:off x="7142151" y="225743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7" name="사각형: 둥근 모서리 136">
            <a:extLst>
              <a:ext uri="{FF2B5EF4-FFF2-40B4-BE49-F238E27FC236}">
                <a16:creationId xmlns:a16="http://schemas.microsoft.com/office/drawing/2014/main" id="{2B469677-BAC6-4BAE-82F8-5A62F88D42A4}"/>
              </a:ext>
            </a:extLst>
          </p:cNvPr>
          <p:cNvSpPr/>
          <p:nvPr/>
        </p:nvSpPr>
        <p:spPr>
          <a:xfrm>
            <a:off x="246042" y="249797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8" name="사각형: 둥근 모서리 137">
            <a:extLst>
              <a:ext uri="{FF2B5EF4-FFF2-40B4-BE49-F238E27FC236}">
                <a16:creationId xmlns:a16="http://schemas.microsoft.com/office/drawing/2014/main" id="{3B09F033-C051-4928-9CCD-9A47EA66B721}"/>
              </a:ext>
            </a:extLst>
          </p:cNvPr>
          <p:cNvSpPr/>
          <p:nvPr/>
        </p:nvSpPr>
        <p:spPr>
          <a:xfrm>
            <a:off x="4654353" y="249433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9" name="사각형: 둥근 모서리 138">
            <a:extLst>
              <a:ext uri="{FF2B5EF4-FFF2-40B4-BE49-F238E27FC236}">
                <a16:creationId xmlns:a16="http://schemas.microsoft.com/office/drawing/2014/main" id="{F0CF6946-EB61-47EC-B81D-5DBB1040CC2D}"/>
              </a:ext>
            </a:extLst>
          </p:cNvPr>
          <p:cNvSpPr/>
          <p:nvPr/>
        </p:nvSpPr>
        <p:spPr>
          <a:xfrm>
            <a:off x="246042" y="275540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0" name="사각형: 둥근 모서리 139">
            <a:extLst>
              <a:ext uri="{FF2B5EF4-FFF2-40B4-BE49-F238E27FC236}">
                <a16:creationId xmlns:a16="http://schemas.microsoft.com/office/drawing/2014/main" id="{CA607D4E-7064-4537-922F-25D6F4541283}"/>
              </a:ext>
            </a:extLst>
          </p:cNvPr>
          <p:cNvSpPr/>
          <p:nvPr/>
        </p:nvSpPr>
        <p:spPr>
          <a:xfrm>
            <a:off x="4665895" y="27470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DE96A467-2573-4711-87CE-1B7570CCBF65}"/>
              </a:ext>
            </a:extLst>
          </p:cNvPr>
          <p:cNvSpPr/>
          <p:nvPr/>
        </p:nvSpPr>
        <p:spPr>
          <a:xfrm>
            <a:off x="5936459" y="3014418"/>
            <a:ext cx="298172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3" name="그룹 152">
            <a:extLst>
              <a:ext uri="{FF2B5EF4-FFF2-40B4-BE49-F238E27FC236}">
                <a16:creationId xmlns:a16="http://schemas.microsoft.com/office/drawing/2014/main" id="{C4CF2E64-541A-48FB-BB4D-47A406900AD1}"/>
              </a:ext>
            </a:extLst>
          </p:cNvPr>
          <p:cNvGrpSpPr/>
          <p:nvPr/>
        </p:nvGrpSpPr>
        <p:grpSpPr>
          <a:xfrm>
            <a:off x="8101523" y="4105249"/>
            <a:ext cx="760056" cy="168738"/>
            <a:chOff x="8101523" y="4105249"/>
            <a:chExt cx="760056" cy="168738"/>
          </a:xfrm>
        </p:grpSpPr>
        <p:sp>
          <p:nvSpPr>
            <p:cNvPr id="154" name="사각형: 둥근 모서리 153">
              <a:extLst>
                <a:ext uri="{FF2B5EF4-FFF2-40B4-BE49-F238E27FC236}">
                  <a16:creationId xmlns:a16="http://schemas.microsoft.com/office/drawing/2014/main" id="{9B18FC7A-0FD2-464A-8595-CCC4564B2B37}"/>
                </a:ext>
              </a:extLst>
            </p:cNvPr>
            <p:cNvSpPr/>
            <p:nvPr/>
          </p:nvSpPr>
          <p:spPr>
            <a:xfrm>
              <a:off x="8101523" y="4105249"/>
              <a:ext cx="760056" cy="16873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다운로드</a:t>
              </a: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164D87DB-4DCB-404E-B1E6-6D93285C43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84232" y="4135768"/>
              <a:ext cx="105940" cy="105940"/>
            </a:xfrm>
            <a:prstGeom prst="rect">
              <a:avLst/>
            </a:prstGeom>
          </p:spPr>
        </p:pic>
      </p:grp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C46CC8E9-C6B2-4CBD-99CD-43BDD2223FC3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영상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436C0A28-C04B-47DD-A789-551C24ECB739}"/>
              </a:ext>
            </a:extLst>
          </p:cNvPr>
          <p:cNvSpPr/>
          <p:nvPr/>
        </p:nvSpPr>
        <p:spPr>
          <a:xfrm>
            <a:off x="1335005" y="2006638"/>
            <a:ext cx="81393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명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718F650C-561E-49A9-95A7-E28B7BAD3E64}"/>
              </a:ext>
            </a:extLst>
          </p:cNvPr>
          <p:cNvSpPr/>
          <p:nvPr/>
        </p:nvSpPr>
        <p:spPr>
          <a:xfrm>
            <a:off x="2412800" y="2006638"/>
            <a:ext cx="160557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F12D02BE-3C69-48AA-84F3-8905DD059DAA}"/>
              </a:ext>
            </a:extLst>
          </p:cNvPr>
          <p:cNvSpPr/>
          <p:nvPr/>
        </p:nvSpPr>
        <p:spPr>
          <a:xfrm>
            <a:off x="2148940" y="2006439"/>
            <a:ext cx="216024" cy="172481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▼</a:t>
            </a:r>
          </a:p>
        </p:txBody>
      </p:sp>
      <p:grpSp>
        <p:nvGrpSpPr>
          <p:cNvPr id="178" name="그룹 177">
            <a:extLst>
              <a:ext uri="{FF2B5EF4-FFF2-40B4-BE49-F238E27FC236}">
                <a16:creationId xmlns:a16="http://schemas.microsoft.com/office/drawing/2014/main" id="{E4584764-9697-41E5-87AB-C5CF13B95CA3}"/>
              </a:ext>
            </a:extLst>
          </p:cNvPr>
          <p:cNvGrpSpPr/>
          <p:nvPr/>
        </p:nvGrpSpPr>
        <p:grpSpPr>
          <a:xfrm>
            <a:off x="1335005" y="3011132"/>
            <a:ext cx="2131045" cy="174858"/>
            <a:chOff x="1336543" y="2500154"/>
            <a:chExt cx="2131045" cy="174858"/>
          </a:xfrm>
        </p:grpSpPr>
        <p:grpSp>
          <p:nvGrpSpPr>
            <p:cNvPr id="179" name="그룹 178">
              <a:extLst>
                <a:ext uri="{FF2B5EF4-FFF2-40B4-BE49-F238E27FC236}">
                  <a16:creationId xmlns:a16="http://schemas.microsoft.com/office/drawing/2014/main" id="{E3F30A57-97D8-4F6B-A77D-B77BEC680CBB}"/>
                </a:ext>
              </a:extLst>
            </p:cNvPr>
            <p:cNvGrpSpPr/>
            <p:nvPr/>
          </p:nvGrpSpPr>
          <p:grpSpPr>
            <a:xfrm>
              <a:off x="1336543" y="2500154"/>
              <a:ext cx="1036636" cy="173318"/>
              <a:chOff x="1265224" y="1777801"/>
              <a:chExt cx="1036636" cy="173318"/>
            </a:xfrm>
          </p:grpSpPr>
          <p:sp>
            <p:nvSpPr>
              <p:cNvPr id="183" name="직사각형 182">
                <a:extLst>
                  <a:ext uri="{FF2B5EF4-FFF2-40B4-BE49-F238E27FC236}">
                    <a16:creationId xmlns:a16="http://schemas.microsoft.com/office/drawing/2014/main" id="{708CB8EC-95F0-491A-94CA-442841D25F7A}"/>
                  </a:ext>
                </a:extLst>
              </p:cNvPr>
              <p:cNvSpPr/>
              <p:nvPr/>
            </p:nvSpPr>
            <p:spPr>
              <a:xfrm>
                <a:off x="1265224" y="1778319"/>
                <a:ext cx="820612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84" name="직사각형 183">
                <a:extLst>
                  <a:ext uri="{FF2B5EF4-FFF2-40B4-BE49-F238E27FC236}">
                    <a16:creationId xmlns:a16="http://schemas.microsoft.com/office/drawing/2014/main" id="{A7FFF5C2-C548-4B5A-8AD4-0CE9BA235764}"/>
                  </a:ext>
                </a:extLst>
              </p:cNvPr>
              <p:cNvSpPr/>
              <p:nvPr/>
            </p:nvSpPr>
            <p:spPr>
              <a:xfrm>
                <a:off x="2085836" y="1777801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80" name="그룹 179">
              <a:extLst>
                <a:ext uri="{FF2B5EF4-FFF2-40B4-BE49-F238E27FC236}">
                  <a16:creationId xmlns:a16="http://schemas.microsoft.com/office/drawing/2014/main" id="{A5D87D6F-BF1F-41B6-993F-433584D15F9F}"/>
                </a:ext>
              </a:extLst>
            </p:cNvPr>
            <p:cNvGrpSpPr/>
            <p:nvPr/>
          </p:nvGrpSpPr>
          <p:grpSpPr>
            <a:xfrm>
              <a:off x="2428542" y="2501893"/>
              <a:ext cx="1039046" cy="173119"/>
              <a:chOff x="1227446" y="1778319"/>
              <a:chExt cx="1039046" cy="173119"/>
            </a:xfrm>
          </p:grpSpPr>
          <p:sp>
            <p:nvSpPr>
              <p:cNvPr id="181" name="직사각형 180">
                <a:extLst>
                  <a:ext uri="{FF2B5EF4-FFF2-40B4-BE49-F238E27FC236}">
                    <a16:creationId xmlns:a16="http://schemas.microsoft.com/office/drawing/2014/main" id="{09CFA2AB-F5BB-49B1-B3BC-A9D4EA90ECD3}"/>
                  </a:ext>
                </a:extLst>
              </p:cNvPr>
              <p:cNvSpPr/>
              <p:nvPr/>
            </p:nvSpPr>
            <p:spPr>
              <a:xfrm>
                <a:off x="1227446" y="1778319"/>
                <a:ext cx="823021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82" name="직사각형 181">
                <a:extLst>
                  <a:ext uri="{FF2B5EF4-FFF2-40B4-BE49-F238E27FC236}">
                    <a16:creationId xmlns:a16="http://schemas.microsoft.com/office/drawing/2014/main" id="{B006B106-8224-4F26-B8EA-49F41FEBB945}"/>
                  </a:ext>
                </a:extLst>
              </p:cNvPr>
              <p:cNvSpPr/>
              <p:nvPr/>
            </p:nvSpPr>
            <p:spPr>
              <a:xfrm>
                <a:off x="205046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A713AF3A-9AA5-4B8A-826E-3FFB53A3D2BD}"/>
              </a:ext>
            </a:extLst>
          </p:cNvPr>
          <p:cNvSpPr/>
          <p:nvPr/>
        </p:nvSpPr>
        <p:spPr>
          <a:xfrm>
            <a:off x="8106964" y="1180496"/>
            <a:ext cx="760056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</a:t>
            </a: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BD89A219-55FA-4EC2-8DBE-B75F5F2205E5}"/>
              </a:ext>
            </a:extLst>
          </p:cNvPr>
          <p:cNvSpPr/>
          <p:nvPr/>
        </p:nvSpPr>
        <p:spPr>
          <a:xfrm>
            <a:off x="8034563" y="11263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2205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4063422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152026"/>
              </p:ext>
            </p:extLst>
          </p:nvPr>
        </p:nvGraphicFramePr>
        <p:xfrm>
          <a:off x="345126" y="1459939"/>
          <a:ext cx="8630652" cy="20758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471021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880985863"/>
                    </a:ext>
                  </a:extLst>
                </a:gridCol>
                <a:gridCol w="1151586">
                  <a:extLst>
                    <a:ext uri="{9D8B030D-6E8A-4147-A177-3AD203B41FA5}">
                      <a16:colId xmlns:a16="http://schemas.microsoft.com/office/drawing/2014/main" val="1038657223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번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번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   ○ 국내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언어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11702917"/>
                  </a:ext>
                </a:extLst>
              </a:tr>
              <a:tr h="2409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83200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열람허용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○ 전체공개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483089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6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5" name="직사각형 84">
            <a:extLst>
              <a:ext uri="{FF2B5EF4-FFF2-40B4-BE49-F238E27FC236}">
                <a16:creationId xmlns:a16="http://schemas.microsoft.com/office/drawing/2014/main" id="{C3E5D00F-CF4B-4C5E-BC5A-8812BEDD9341}"/>
              </a:ext>
            </a:extLst>
          </p:cNvPr>
          <p:cNvSpPr/>
          <p:nvPr/>
        </p:nvSpPr>
        <p:spPr>
          <a:xfrm>
            <a:off x="6604898" y="1493932"/>
            <a:ext cx="49776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D583D71-80BC-44E3-BBBA-468156B8DCEF}"/>
              </a:ext>
            </a:extLst>
          </p:cNvPr>
          <p:cNvGrpSpPr/>
          <p:nvPr/>
        </p:nvGrpSpPr>
        <p:grpSpPr>
          <a:xfrm>
            <a:off x="5934079" y="1745727"/>
            <a:ext cx="2197195" cy="174340"/>
            <a:chOff x="1331353" y="2500672"/>
            <a:chExt cx="2197195" cy="174340"/>
          </a:xfrm>
        </p:grpSpPr>
        <p:grpSp>
          <p:nvGrpSpPr>
            <p:cNvPr id="147" name="그룹 146">
              <a:extLst>
                <a:ext uri="{FF2B5EF4-FFF2-40B4-BE49-F238E27FC236}">
                  <a16:creationId xmlns:a16="http://schemas.microsoft.com/office/drawing/2014/main" id="{F3C9D234-C4EB-4B9F-8BC5-1E6366815967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148" name="직사각형 147">
                <a:extLst>
                  <a:ext uri="{FF2B5EF4-FFF2-40B4-BE49-F238E27FC236}">
                    <a16:creationId xmlns:a16="http://schemas.microsoft.com/office/drawing/2014/main" id="{655AA352-2DA6-431D-AD7F-3223454F19F8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AB1C29A6-4BC2-4430-8B1D-AA43C2E2300F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50" name="그룹 149">
              <a:extLst>
                <a:ext uri="{FF2B5EF4-FFF2-40B4-BE49-F238E27FC236}">
                  <a16:creationId xmlns:a16="http://schemas.microsoft.com/office/drawing/2014/main" id="{7471A3C8-86B5-42D4-834D-CE71FD5DB69B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FEAA70F7-32AC-447F-BAEB-66D8A1BB8B71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8317CF28-A034-4650-93EA-E46363CF0DB8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929682"/>
              </p:ext>
            </p:extLst>
          </p:nvPr>
        </p:nvGraphicFramePr>
        <p:xfrm>
          <a:off x="336268" y="3757182"/>
          <a:ext cx="8647316" cy="16532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5543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10544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297902">
                  <a:extLst>
                    <a:ext uri="{9D8B030D-6E8A-4147-A177-3AD203B41FA5}">
                      <a16:colId xmlns:a16="http://schemas.microsoft.com/office/drawing/2014/main" val="3507830839"/>
                    </a:ext>
                  </a:extLst>
                </a:gridCol>
                <a:gridCol w="861287">
                  <a:extLst>
                    <a:ext uri="{9D8B030D-6E8A-4147-A177-3AD203B41FA5}">
                      <a16:colId xmlns:a16="http://schemas.microsoft.com/office/drawing/2014/main" val="1218332715"/>
                    </a:ext>
                  </a:extLst>
                </a:gridCol>
                <a:gridCol w="525149">
                  <a:extLst>
                    <a:ext uri="{9D8B030D-6E8A-4147-A177-3AD203B41FA5}">
                      <a16:colId xmlns:a16="http://schemas.microsoft.com/office/drawing/2014/main" val="3063414131"/>
                    </a:ext>
                  </a:extLst>
                </a:gridCol>
                <a:gridCol w="698987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655336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</a:tblGrid>
              <a:tr h="298415">
                <a:tc gridSpan="1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1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종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strike="noStrike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strike="noStrike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strike="noStrike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A00012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베드코드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MYP00005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 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10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0" kern="1200" spc="-10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102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녹색성장 기본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95" name="그룹 194">
            <a:extLst>
              <a:ext uri="{FF2B5EF4-FFF2-40B4-BE49-F238E27FC236}">
                <a16:creationId xmlns:a16="http://schemas.microsoft.com/office/drawing/2014/main" id="{D2FF3731-BF2B-48FA-A85A-30EEDCB62D51}"/>
              </a:ext>
            </a:extLst>
          </p:cNvPr>
          <p:cNvGrpSpPr/>
          <p:nvPr/>
        </p:nvGrpSpPr>
        <p:grpSpPr>
          <a:xfrm>
            <a:off x="7865445" y="2006831"/>
            <a:ext cx="1001575" cy="172800"/>
            <a:chOff x="1260035" y="1778319"/>
            <a:chExt cx="1065950" cy="172800"/>
          </a:xfrm>
        </p:grpSpPr>
        <p:sp>
          <p:nvSpPr>
            <p:cNvPr id="199" name="직사각형 198">
              <a:extLst>
                <a:ext uri="{FF2B5EF4-FFF2-40B4-BE49-F238E27FC236}">
                  <a16:creationId xmlns:a16="http://schemas.microsoft.com/office/drawing/2014/main" id="{C9EDE0D2-B965-4533-9205-6B2B860E1A71}"/>
                </a:ext>
              </a:extLst>
            </p:cNvPr>
            <p:cNvSpPr/>
            <p:nvPr/>
          </p:nvSpPr>
          <p:spPr>
            <a:xfrm>
              <a:off x="1260035" y="1778319"/>
              <a:ext cx="821279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00" name="직사각형 199">
              <a:extLst>
                <a:ext uri="{FF2B5EF4-FFF2-40B4-BE49-F238E27FC236}">
                  <a16:creationId xmlns:a16="http://schemas.microsoft.com/office/drawing/2014/main" id="{484EBEB5-AE92-423E-82D1-7BEC31B9E660}"/>
                </a:ext>
              </a:extLst>
            </p:cNvPr>
            <p:cNvSpPr/>
            <p:nvPr/>
          </p:nvSpPr>
          <p:spPr>
            <a:xfrm>
              <a:off x="2081313" y="1778638"/>
              <a:ext cx="244672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E2B63736-1B61-417B-A244-A2169D993191}"/>
              </a:ext>
            </a:extLst>
          </p:cNvPr>
          <p:cNvGrpSpPr/>
          <p:nvPr/>
        </p:nvGrpSpPr>
        <p:grpSpPr>
          <a:xfrm>
            <a:off x="5934079" y="2247017"/>
            <a:ext cx="1065951" cy="172800"/>
            <a:chOff x="1260034" y="1778319"/>
            <a:chExt cx="1065951" cy="172800"/>
          </a:xfrm>
        </p:grpSpPr>
        <p:sp>
          <p:nvSpPr>
            <p:cNvPr id="239" name="직사각형 238">
              <a:extLst>
                <a:ext uri="{FF2B5EF4-FFF2-40B4-BE49-F238E27FC236}">
                  <a16:creationId xmlns:a16="http://schemas.microsoft.com/office/drawing/2014/main" id="{FA4E2223-1DD4-4D4F-8B83-44925D2E5316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0" name="직사각형 239">
              <a:extLst>
                <a:ext uri="{FF2B5EF4-FFF2-40B4-BE49-F238E27FC236}">
                  <a16:creationId xmlns:a16="http://schemas.microsoft.com/office/drawing/2014/main" id="{7257429E-2A65-4FEF-9E79-31FDAAC07625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2CFC1E6E-8F0B-4450-BAF1-84CE7EC64C15}"/>
              </a:ext>
            </a:extLst>
          </p:cNvPr>
          <p:cNvGrpSpPr/>
          <p:nvPr/>
        </p:nvGrpSpPr>
        <p:grpSpPr>
          <a:xfrm>
            <a:off x="7864719" y="2247336"/>
            <a:ext cx="1001577" cy="172800"/>
            <a:chOff x="1324408" y="1778319"/>
            <a:chExt cx="1001577" cy="172800"/>
          </a:xfrm>
        </p:grpSpPr>
        <p:sp>
          <p:nvSpPr>
            <p:cNvPr id="242" name="직사각형 241">
              <a:extLst>
                <a:ext uri="{FF2B5EF4-FFF2-40B4-BE49-F238E27FC236}">
                  <a16:creationId xmlns:a16="http://schemas.microsoft.com/office/drawing/2014/main" id="{7E5A80AB-EA85-49C2-964E-E9E75BCFB6AE}"/>
                </a:ext>
              </a:extLst>
            </p:cNvPr>
            <p:cNvSpPr/>
            <p:nvPr/>
          </p:nvSpPr>
          <p:spPr>
            <a:xfrm>
              <a:off x="1324408" y="1778319"/>
              <a:ext cx="77168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4227F256-3E8D-42EB-9FDA-1674D512A4F2}"/>
                </a:ext>
              </a:extLst>
            </p:cNvPr>
            <p:cNvSpPr/>
            <p:nvPr/>
          </p:nvSpPr>
          <p:spPr>
            <a:xfrm>
              <a:off x="2096089" y="1778638"/>
              <a:ext cx="229896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44" name="표 66">
            <a:extLst>
              <a:ext uri="{FF2B5EF4-FFF2-40B4-BE49-F238E27FC236}">
                <a16:creationId xmlns:a16="http://schemas.microsoft.com/office/drawing/2014/main" id="{5E7F96FF-4465-4360-9046-6A1E4803731A}"/>
              </a:ext>
            </a:extLst>
          </p:cNvPr>
          <p:cNvGraphicFramePr>
            <a:graphicFrameLocks noGrp="1"/>
          </p:cNvGraphicFramePr>
          <p:nvPr/>
        </p:nvGraphicFramePr>
        <p:xfrm>
          <a:off x="1998312" y="5508485"/>
          <a:ext cx="6988524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5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257909302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370459386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14256562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30630511"/>
                    </a:ext>
                  </a:extLst>
                </a:gridCol>
                <a:gridCol w="695187">
                  <a:extLst>
                    <a:ext uri="{9D8B030D-6E8A-4147-A177-3AD203B41FA5}">
                      <a16:colId xmlns:a16="http://schemas.microsoft.com/office/drawing/2014/main" val="2911285607"/>
                    </a:ext>
                  </a:extLst>
                </a:gridCol>
                <a:gridCol w="462273">
                  <a:extLst>
                    <a:ext uri="{9D8B030D-6E8A-4147-A177-3AD203B41FA5}">
                      <a16:colId xmlns:a16="http://schemas.microsoft.com/office/drawing/2014/main" val="1371808166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GRI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U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11-2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녹색성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245" name="화살표: 오른쪽 244">
            <a:extLst>
              <a:ext uri="{FF2B5EF4-FFF2-40B4-BE49-F238E27FC236}">
                <a16:creationId xmlns:a16="http://schemas.microsoft.com/office/drawing/2014/main" id="{4CBF2E6B-87FD-4AC9-B4FD-0076C6F9614A}"/>
              </a:ext>
            </a:extLst>
          </p:cNvPr>
          <p:cNvSpPr/>
          <p:nvPr/>
        </p:nvSpPr>
        <p:spPr>
          <a:xfrm>
            <a:off x="1558381" y="5698029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376372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4108189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4113419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sp>
        <p:nvSpPr>
          <p:cNvPr id="271" name="사각형: 둥근 모서리 270">
            <a:extLst>
              <a:ext uri="{FF2B5EF4-FFF2-40B4-BE49-F238E27FC236}">
                <a16:creationId xmlns:a16="http://schemas.microsoft.com/office/drawing/2014/main" id="{98A9715A-D77F-4BC0-A002-EECE7E330985}"/>
              </a:ext>
            </a:extLst>
          </p:cNvPr>
          <p:cNvSpPr/>
          <p:nvPr/>
        </p:nvSpPr>
        <p:spPr>
          <a:xfrm>
            <a:off x="388960" y="46268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2" name="사각형: 둥근 모서리 271">
            <a:extLst>
              <a:ext uri="{FF2B5EF4-FFF2-40B4-BE49-F238E27FC236}">
                <a16:creationId xmlns:a16="http://schemas.microsoft.com/office/drawing/2014/main" id="{C21EF9C1-0EDA-4694-84B7-376355ED2FF0}"/>
              </a:ext>
            </a:extLst>
          </p:cNvPr>
          <p:cNvSpPr/>
          <p:nvPr/>
        </p:nvSpPr>
        <p:spPr>
          <a:xfrm>
            <a:off x="388960" y="5048569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3" name="사각형: 둥근 모서리 272">
            <a:extLst>
              <a:ext uri="{FF2B5EF4-FFF2-40B4-BE49-F238E27FC236}">
                <a16:creationId xmlns:a16="http://schemas.microsoft.com/office/drawing/2014/main" id="{F1BF2076-BF45-4989-A3B3-9AC3C1AA753C}"/>
              </a:ext>
            </a:extLst>
          </p:cNvPr>
          <p:cNvSpPr/>
          <p:nvPr/>
        </p:nvSpPr>
        <p:spPr>
          <a:xfrm>
            <a:off x="388960" y="48422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B705B3E0-8595-4AB6-BF6A-E598A59A65A7}"/>
              </a:ext>
            </a:extLst>
          </p:cNvPr>
          <p:cNvSpPr/>
          <p:nvPr/>
        </p:nvSpPr>
        <p:spPr>
          <a:xfrm>
            <a:off x="388960" y="526057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AF256719-8FE1-48AF-A3F4-AF1485640C9C}"/>
              </a:ext>
            </a:extLst>
          </p:cNvPr>
          <p:cNvGrpSpPr/>
          <p:nvPr/>
        </p:nvGrpSpPr>
        <p:grpSpPr>
          <a:xfrm>
            <a:off x="7866755" y="1495692"/>
            <a:ext cx="987704" cy="172800"/>
            <a:chOff x="1260034" y="1778319"/>
            <a:chExt cx="987704" cy="172800"/>
          </a:xfrm>
        </p:grpSpPr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BB99229C-2A73-430F-ACF5-4C04F11DD350}"/>
                </a:ext>
              </a:extLst>
            </p:cNvPr>
            <p:cNvSpPr/>
            <p:nvPr/>
          </p:nvSpPr>
          <p:spPr>
            <a:xfrm>
              <a:off x="1260034" y="1778319"/>
              <a:ext cx="771680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3DE8A0E0-AB4B-4F0A-BB88-432C050EBAF9}"/>
                </a:ext>
              </a:extLst>
            </p:cNvPr>
            <p:cNvSpPr/>
            <p:nvPr/>
          </p:nvSpPr>
          <p:spPr>
            <a:xfrm>
              <a:off x="2031714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25" name="그룹 124">
            <a:extLst>
              <a:ext uri="{FF2B5EF4-FFF2-40B4-BE49-F238E27FC236}">
                <a16:creationId xmlns:a16="http://schemas.microsoft.com/office/drawing/2014/main" id="{73848DB9-9E09-449A-A842-679B2195CC6B}"/>
              </a:ext>
            </a:extLst>
          </p:cNvPr>
          <p:cNvGrpSpPr/>
          <p:nvPr/>
        </p:nvGrpSpPr>
        <p:grpSpPr>
          <a:xfrm>
            <a:off x="5924418" y="1495373"/>
            <a:ext cx="639827" cy="172800"/>
            <a:chOff x="1260034" y="1778319"/>
            <a:chExt cx="639827" cy="172800"/>
          </a:xfrm>
        </p:grpSpPr>
        <p:sp>
          <p:nvSpPr>
            <p:cNvPr id="126" name="직사각형 125">
              <a:extLst>
                <a:ext uri="{FF2B5EF4-FFF2-40B4-BE49-F238E27FC236}">
                  <a16:creationId xmlns:a16="http://schemas.microsoft.com/office/drawing/2014/main" id="{26C440E7-C8E5-4432-8B85-D225321BD89B}"/>
                </a:ext>
              </a:extLst>
            </p:cNvPr>
            <p:cNvSpPr/>
            <p:nvPr/>
          </p:nvSpPr>
          <p:spPr>
            <a:xfrm>
              <a:off x="1260034" y="1778319"/>
              <a:ext cx="425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자</a:t>
              </a:r>
            </a:p>
          </p:txBody>
        </p:sp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A88DAEB3-C215-4E66-B994-481ED2B5EA80}"/>
                </a:ext>
              </a:extLst>
            </p:cNvPr>
            <p:cNvSpPr/>
            <p:nvPr/>
          </p:nvSpPr>
          <p:spPr>
            <a:xfrm>
              <a:off x="1683837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DE96A467-2573-4711-87CE-1B7570CCBF65}"/>
              </a:ext>
            </a:extLst>
          </p:cNvPr>
          <p:cNvSpPr/>
          <p:nvPr/>
        </p:nvSpPr>
        <p:spPr>
          <a:xfrm>
            <a:off x="5936459" y="3014418"/>
            <a:ext cx="298172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3" name="그룹 152">
            <a:extLst>
              <a:ext uri="{FF2B5EF4-FFF2-40B4-BE49-F238E27FC236}">
                <a16:creationId xmlns:a16="http://schemas.microsoft.com/office/drawing/2014/main" id="{C4CF2E64-541A-48FB-BB4D-47A406900AD1}"/>
              </a:ext>
            </a:extLst>
          </p:cNvPr>
          <p:cNvGrpSpPr/>
          <p:nvPr/>
        </p:nvGrpSpPr>
        <p:grpSpPr>
          <a:xfrm>
            <a:off x="8101523" y="4105249"/>
            <a:ext cx="760056" cy="168738"/>
            <a:chOff x="8101523" y="4105249"/>
            <a:chExt cx="760056" cy="168738"/>
          </a:xfrm>
        </p:grpSpPr>
        <p:sp>
          <p:nvSpPr>
            <p:cNvPr id="154" name="사각형: 둥근 모서리 153">
              <a:extLst>
                <a:ext uri="{FF2B5EF4-FFF2-40B4-BE49-F238E27FC236}">
                  <a16:creationId xmlns:a16="http://schemas.microsoft.com/office/drawing/2014/main" id="{9B18FC7A-0FD2-464A-8595-CCC4564B2B37}"/>
                </a:ext>
              </a:extLst>
            </p:cNvPr>
            <p:cNvSpPr/>
            <p:nvPr/>
          </p:nvSpPr>
          <p:spPr>
            <a:xfrm>
              <a:off x="8101523" y="4105249"/>
              <a:ext cx="760056" cy="16873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다운로드</a:t>
              </a: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164D87DB-4DCB-404E-B1E6-6D93285C43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84232" y="4135768"/>
              <a:ext cx="105940" cy="105940"/>
            </a:xfrm>
            <a:prstGeom prst="rect">
              <a:avLst/>
            </a:prstGeom>
          </p:spPr>
        </p:pic>
      </p:grp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986DF91D-0872-4B5B-94B2-8AD4EDBF403B}"/>
              </a:ext>
            </a:extLst>
          </p:cNvPr>
          <p:cNvSpPr/>
          <p:nvPr/>
        </p:nvSpPr>
        <p:spPr>
          <a:xfrm>
            <a:off x="246042" y="299948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17D02BF1-500D-459D-BCAC-34775D91A20D}"/>
              </a:ext>
            </a:extLst>
          </p:cNvPr>
          <p:cNvSpPr/>
          <p:nvPr/>
        </p:nvSpPr>
        <p:spPr>
          <a:xfrm>
            <a:off x="4659306" y="29945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CEA105B6-7BA1-4EBF-BAC2-579291AEDDC9}"/>
              </a:ext>
            </a:extLst>
          </p:cNvPr>
          <p:cNvSpPr/>
          <p:nvPr/>
        </p:nvSpPr>
        <p:spPr>
          <a:xfrm>
            <a:off x="4049923" y="324411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39E45A01-1FCD-4546-9704-89C0575900A0}"/>
              </a:ext>
            </a:extLst>
          </p:cNvPr>
          <p:cNvSpPr/>
          <p:nvPr/>
        </p:nvSpPr>
        <p:spPr>
          <a:xfrm>
            <a:off x="4760889" y="324411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00118F23-9979-40D5-85D8-332EBDD740FC}"/>
              </a:ext>
            </a:extLst>
          </p:cNvPr>
          <p:cNvSpPr/>
          <p:nvPr/>
        </p:nvSpPr>
        <p:spPr>
          <a:xfrm>
            <a:off x="1125236" y="37009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0A505D40-1FA4-4920-9BEE-83A6DE2B7B63}"/>
              </a:ext>
            </a:extLst>
          </p:cNvPr>
          <p:cNvSpPr/>
          <p:nvPr/>
        </p:nvSpPr>
        <p:spPr>
          <a:xfrm>
            <a:off x="339387" y="40510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4DEAE5DD-5C52-448B-927B-D5AA17AA5297}"/>
              </a:ext>
            </a:extLst>
          </p:cNvPr>
          <p:cNvSpPr/>
          <p:nvPr/>
        </p:nvSpPr>
        <p:spPr>
          <a:xfrm>
            <a:off x="1186390" y="402739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E039639F-79B5-41F8-AA94-A9849D2D8F95}"/>
              </a:ext>
            </a:extLst>
          </p:cNvPr>
          <p:cNvSpPr/>
          <p:nvPr/>
        </p:nvSpPr>
        <p:spPr>
          <a:xfrm>
            <a:off x="8014112" y="40767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6" name="사각형: 둥근 모서리 155">
            <a:extLst>
              <a:ext uri="{FF2B5EF4-FFF2-40B4-BE49-F238E27FC236}">
                <a16:creationId xmlns:a16="http://schemas.microsoft.com/office/drawing/2014/main" id="{C33FE26C-1BAF-48E5-8551-6E146001A2EB}"/>
              </a:ext>
            </a:extLst>
          </p:cNvPr>
          <p:cNvSpPr/>
          <p:nvPr/>
        </p:nvSpPr>
        <p:spPr>
          <a:xfrm>
            <a:off x="2432173" y="44845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7" name="사각형: 둥근 모서리 156">
            <a:extLst>
              <a:ext uri="{FF2B5EF4-FFF2-40B4-BE49-F238E27FC236}">
                <a16:creationId xmlns:a16="http://schemas.microsoft.com/office/drawing/2014/main" id="{22EFFD5A-24BB-4277-B962-B81AA2EAFDFC}"/>
              </a:ext>
            </a:extLst>
          </p:cNvPr>
          <p:cNvSpPr/>
          <p:nvPr/>
        </p:nvSpPr>
        <p:spPr>
          <a:xfrm>
            <a:off x="5049179" y="44953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8" name="사각형: 둥근 모서리 157">
            <a:extLst>
              <a:ext uri="{FF2B5EF4-FFF2-40B4-BE49-F238E27FC236}">
                <a16:creationId xmlns:a16="http://schemas.microsoft.com/office/drawing/2014/main" id="{75015EB2-327E-499B-A921-DE6261457AC2}"/>
              </a:ext>
            </a:extLst>
          </p:cNvPr>
          <p:cNvSpPr/>
          <p:nvPr/>
        </p:nvSpPr>
        <p:spPr>
          <a:xfrm>
            <a:off x="7757235" y="58828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2" name="사각형: 둥근 모서리 171">
            <a:extLst>
              <a:ext uri="{FF2B5EF4-FFF2-40B4-BE49-F238E27FC236}">
                <a16:creationId xmlns:a16="http://schemas.microsoft.com/office/drawing/2014/main" id="{D91914DD-B43F-4C73-ADF9-00458595088B}"/>
              </a:ext>
            </a:extLst>
          </p:cNvPr>
          <p:cNvSpPr/>
          <p:nvPr/>
        </p:nvSpPr>
        <p:spPr>
          <a:xfrm>
            <a:off x="8094378" y="3836638"/>
            <a:ext cx="760056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용중지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FFED7EA7-EC7A-4AFD-BA56-6115EC331FA5}"/>
              </a:ext>
            </a:extLst>
          </p:cNvPr>
          <p:cNvSpPr/>
          <p:nvPr/>
        </p:nvSpPr>
        <p:spPr>
          <a:xfrm>
            <a:off x="8010970" y="378244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73" name="표 10">
            <a:extLst>
              <a:ext uri="{FF2B5EF4-FFF2-40B4-BE49-F238E27FC236}">
                <a16:creationId xmlns:a16="http://schemas.microsoft.com/office/drawing/2014/main" id="{32DF86F9-C8D7-402A-AE6E-F5678C2724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7434729"/>
              </p:ext>
            </p:extLst>
          </p:nvPr>
        </p:nvGraphicFramePr>
        <p:xfrm>
          <a:off x="9267391" y="759198"/>
          <a:ext cx="2922885" cy="48739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8767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. S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G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F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분류 선택하면 해당 분류에 맞는 토픽 키워드 리스트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토픽 리스트는 실행 및 공시 화면 내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M011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해 관리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1602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 자유 입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602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조건에 맞게 컨텐츠 리스트 출력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115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지워지고 초기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2926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 조건에 따라 조회된 총 건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10528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에서 체크 된 컨텐츠 사용중지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컨텐츠 사용중지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체크 후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“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컨텐츠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중지하시겠습니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”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→ 확인 버튼 클릭 시 사용중지 처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중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으로 복구 불가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667085"/>
                  </a:ext>
                </a:extLst>
              </a:tr>
              <a:tr h="3484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에서 볼 수 있는 조회 건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2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00, 1,0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21602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1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당 조회건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따른 페이지 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21602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리스트 엑셀 다운로드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725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번호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07)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68565"/>
                  </a:ext>
                </a:extLst>
              </a:tr>
              <a:tr h="2115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 상세조회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0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21602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장 최신의 수정일자 및 수정인 출력 </a:t>
                      </a:r>
                      <a:endParaRPr lang="en-US" altLang="ko-KR" sz="800" b="0" i="0" u="none" strike="noStrike" kern="1200" cap="none" spc="-6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5659808"/>
                  </a:ext>
                </a:extLst>
              </a:tr>
            </a:tbl>
          </a:graphicData>
        </a:graphic>
      </p:graphicFrame>
      <p:grpSp>
        <p:nvGrpSpPr>
          <p:cNvPr id="133" name="그룹 132">
            <a:extLst>
              <a:ext uri="{FF2B5EF4-FFF2-40B4-BE49-F238E27FC236}">
                <a16:creationId xmlns:a16="http://schemas.microsoft.com/office/drawing/2014/main" id="{CB2BA544-B505-4D36-9D63-6ADB111A291F}"/>
              </a:ext>
            </a:extLst>
          </p:cNvPr>
          <p:cNvGrpSpPr/>
          <p:nvPr/>
        </p:nvGrpSpPr>
        <p:grpSpPr>
          <a:xfrm>
            <a:off x="2361053" y="1500348"/>
            <a:ext cx="1749536" cy="180527"/>
            <a:chOff x="1208287" y="1514945"/>
            <a:chExt cx="1749536" cy="180527"/>
          </a:xfrm>
        </p:grpSpPr>
        <p:grpSp>
          <p:nvGrpSpPr>
            <p:cNvPr id="134" name="그룹 133">
              <a:extLst>
                <a:ext uri="{FF2B5EF4-FFF2-40B4-BE49-F238E27FC236}">
                  <a16:creationId xmlns:a16="http://schemas.microsoft.com/office/drawing/2014/main" id="{A9B2DA8F-3B99-46CD-A719-60A40E6AF178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0" name="직사각형 159">
                <a:extLst>
                  <a:ext uri="{FF2B5EF4-FFF2-40B4-BE49-F238E27FC236}">
                    <a16:creationId xmlns:a16="http://schemas.microsoft.com/office/drawing/2014/main" id="{A3AB5528-C337-4ADE-9A00-9E7D6648247E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1" name="직사각형 160">
                <a:extLst>
                  <a:ext uri="{FF2B5EF4-FFF2-40B4-BE49-F238E27FC236}">
                    <a16:creationId xmlns:a16="http://schemas.microsoft.com/office/drawing/2014/main" id="{280B34A1-25CF-41F6-9AF2-3FEDAC18066C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162" name="그림 161">
                <a:extLst>
                  <a:ext uri="{FF2B5EF4-FFF2-40B4-BE49-F238E27FC236}">
                    <a16:creationId xmlns:a16="http://schemas.microsoft.com/office/drawing/2014/main" id="{3004DB60-FE9E-4D05-B16F-6CB1549B31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135" name="그룹 134">
              <a:extLst>
                <a:ext uri="{FF2B5EF4-FFF2-40B4-BE49-F238E27FC236}">
                  <a16:creationId xmlns:a16="http://schemas.microsoft.com/office/drawing/2014/main" id="{44260693-D8E5-43E4-A146-C661CE6C630B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139" name="직사각형 138">
                <a:extLst>
                  <a:ext uri="{FF2B5EF4-FFF2-40B4-BE49-F238E27FC236}">
                    <a16:creationId xmlns:a16="http://schemas.microsoft.com/office/drawing/2014/main" id="{F05F249C-D911-4F24-BF4B-DAFC256CED10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0" name="직사각형 139">
                <a:extLst>
                  <a:ext uri="{FF2B5EF4-FFF2-40B4-BE49-F238E27FC236}">
                    <a16:creationId xmlns:a16="http://schemas.microsoft.com/office/drawing/2014/main" id="{5366007E-E9BA-4E98-AAF4-96BC3025F1B2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159" name="그림 158">
                <a:extLst>
                  <a:ext uri="{FF2B5EF4-FFF2-40B4-BE49-F238E27FC236}">
                    <a16:creationId xmlns:a16="http://schemas.microsoft.com/office/drawing/2014/main" id="{14F276DA-A1F8-4E7F-B67E-EBBA638322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136" name="직사각형 135">
              <a:extLst>
                <a:ext uri="{FF2B5EF4-FFF2-40B4-BE49-F238E27FC236}">
                  <a16:creationId xmlns:a16="http://schemas.microsoft.com/office/drawing/2014/main" id="{07B6A069-9F92-42F4-A373-A12211CDAC3E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137" name="직사각형 136">
              <a:extLst>
                <a:ext uri="{FF2B5EF4-FFF2-40B4-BE49-F238E27FC236}">
                  <a16:creationId xmlns:a16="http://schemas.microsoft.com/office/drawing/2014/main" id="{50493CC2-8175-4C0D-A533-380A63701C20}"/>
                </a:ext>
              </a:extLst>
            </p:cNvPr>
            <p:cNvSpPr/>
            <p:nvPr/>
          </p:nvSpPr>
          <p:spPr>
            <a:xfrm>
              <a:off x="1208287" y="1522517"/>
              <a:ext cx="723126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38" name="직사각형 137">
              <a:extLst>
                <a:ext uri="{FF2B5EF4-FFF2-40B4-BE49-F238E27FC236}">
                  <a16:creationId xmlns:a16="http://schemas.microsoft.com/office/drawing/2014/main" id="{0578E46B-DB14-4196-A40B-702A704D9B62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63" name="직사각형 162">
            <a:extLst>
              <a:ext uri="{FF2B5EF4-FFF2-40B4-BE49-F238E27FC236}">
                <a16:creationId xmlns:a16="http://schemas.microsoft.com/office/drawing/2014/main" id="{81FFD7DD-0E43-4BFA-9311-E76B7A93896F}"/>
              </a:ext>
            </a:extLst>
          </p:cNvPr>
          <p:cNvSpPr/>
          <p:nvPr/>
        </p:nvSpPr>
        <p:spPr>
          <a:xfrm>
            <a:off x="1335005" y="1752634"/>
            <a:ext cx="81393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명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30A06E39-534B-4B36-8F23-83C3A466BF55}"/>
              </a:ext>
            </a:extLst>
          </p:cNvPr>
          <p:cNvSpPr/>
          <p:nvPr/>
        </p:nvSpPr>
        <p:spPr>
          <a:xfrm>
            <a:off x="2412800" y="1752634"/>
            <a:ext cx="1601921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65" name="그룹 164">
            <a:extLst>
              <a:ext uri="{FF2B5EF4-FFF2-40B4-BE49-F238E27FC236}">
                <a16:creationId xmlns:a16="http://schemas.microsoft.com/office/drawing/2014/main" id="{4F11D7D0-D238-47E0-A729-602E8A7ACCFB}"/>
              </a:ext>
            </a:extLst>
          </p:cNvPr>
          <p:cNvGrpSpPr/>
          <p:nvPr/>
        </p:nvGrpSpPr>
        <p:grpSpPr>
          <a:xfrm>
            <a:off x="1330960" y="2244959"/>
            <a:ext cx="2131045" cy="174858"/>
            <a:chOff x="1336543" y="2500154"/>
            <a:chExt cx="2131045" cy="174858"/>
          </a:xfrm>
        </p:grpSpPr>
        <p:grpSp>
          <p:nvGrpSpPr>
            <p:cNvPr id="166" name="그룹 165">
              <a:extLst>
                <a:ext uri="{FF2B5EF4-FFF2-40B4-BE49-F238E27FC236}">
                  <a16:creationId xmlns:a16="http://schemas.microsoft.com/office/drawing/2014/main" id="{54D574BE-2387-4911-9F80-AF77C49AC1C6}"/>
                </a:ext>
              </a:extLst>
            </p:cNvPr>
            <p:cNvGrpSpPr/>
            <p:nvPr/>
          </p:nvGrpSpPr>
          <p:grpSpPr>
            <a:xfrm>
              <a:off x="1336543" y="2500154"/>
              <a:ext cx="1036636" cy="173318"/>
              <a:chOff x="1265224" y="1777801"/>
              <a:chExt cx="1036636" cy="173318"/>
            </a:xfrm>
          </p:grpSpPr>
          <p:sp>
            <p:nvSpPr>
              <p:cNvPr id="170" name="직사각형 169">
                <a:extLst>
                  <a:ext uri="{FF2B5EF4-FFF2-40B4-BE49-F238E27FC236}">
                    <a16:creationId xmlns:a16="http://schemas.microsoft.com/office/drawing/2014/main" id="{7DFDB54E-8E48-4F3C-B200-961D1255416D}"/>
                  </a:ext>
                </a:extLst>
              </p:cNvPr>
              <p:cNvSpPr/>
              <p:nvPr/>
            </p:nvSpPr>
            <p:spPr>
              <a:xfrm>
                <a:off x="1265224" y="1778319"/>
                <a:ext cx="820612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71" name="직사각형 170">
                <a:extLst>
                  <a:ext uri="{FF2B5EF4-FFF2-40B4-BE49-F238E27FC236}">
                    <a16:creationId xmlns:a16="http://schemas.microsoft.com/office/drawing/2014/main" id="{CD1662AD-096A-494F-ADE2-56CB442F6F3D}"/>
                  </a:ext>
                </a:extLst>
              </p:cNvPr>
              <p:cNvSpPr/>
              <p:nvPr/>
            </p:nvSpPr>
            <p:spPr>
              <a:xfrm>
                <a:off x="2085836" y="1777801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67" name="그룹 166">
              <a:extLst>
                <a:ext uri="{FF2B5EF4-FFF2-40B4-BE49-F238E27FC236}">
                  <a16:creationId xmlns:a16="http://schemas.microsoft.com/office/drawing/2014/main" id="{D51334D9-BF11-405A-810D-9D9780B0A7B3}"/>
                </a:ext>
              </a:extLst>
            </p:cNvPr>
            <p:cNvGrpSpPr/>
            <p:nvPr/>
          </p:nvGrpSpPr>
          <p:grpSpPr>
            <a:xfrm>
              <a:off x="2428542" y="2501893"/>
              <a:ext cx="1039046" cy="173119"/>
              <a:chOff x="1227446" y="1778319"/>
              <a:chExt cx="1039046" cy="173119"/>
            </a:xfrm>
          </p:grpSpPr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BE776EFF-4FD6-4CA2-A3AF-F33A43107080}"/>
                  </a:ext>
                </a:extLst>
              </p:cNvPr>
              <p:cNvSpPr/>
              <p:nvPr/>
            </p:nvSpPr>
            <p:spPr>
              <a:xfrm>
                <a:off x="1227446" y="1778319"/>
                <a:ext cx="823021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69" name="직사각형 168">
                <a:extLst>
                  <a:ext uri="{FF2B5EF4-FFF2-40B4-BE49-F238E27FC236}">
                    <a16:creationId xmlns:a16="http://schemas.microsoft.com/office/drawing/2014/main" id="{845D154C-416E-4398-8B09-89459F7FBB18}"/>
                  </a:ext>
                </a:extLst>
              </p:cNvPr>
              <p:cNvSpPr/>
              <p:nvPr/>
            </p:nvSpPr>
            <p:spPr>
              <a:xfrm>
                <a:off x="205046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174" name="직사각형 173">
            <a:extLst>
              <a:ext uri="{FF2B5EF4-FFF2-40B4-BE49-F238E27FC236}">
                <a16:creationId xmlns:a16="http://schemas.microsoft.com/office/drawing/2014/main" id="{541B0227-0B6D-465B-B6C1-D02396EBCFD5}"/>
              </a:ext>
            </a:extLst>
          </p:cNvPr>
          <p:cNvSpPr/>
          <p:nvPr/>
        </p:nvSpPr>
        <p:spPr>
          <a:xfrm>
            <a:off x="2148940" y="1752435"/>
            <a:ext cx="216024" cy="17299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▼</a:t>
            </a:r>
          </a:p>
        </p:txBody>
      </p:sp>
      <p:grpSp>
        <p:nvGrpSpPr>
          <p:cNvPr id="175" name="그룹 174">
            <a:extLst>
              <a:ext uri="{FF2B5EF4-FFF2-40B4-BE49-F238E27FC236}">
                <a16:creationId xmlns:a16="http://schemas.microsoft.com/office/drawing/2014/main" id="{7AEF4E77-E9CA-4121-A65A-0689536F17A5}"/>
              </a:ext>
            </a:extLst>
          </p:cNvPr>
          <p:cNvGrpSpPr/>
          <p:nvPr/>
        </p:nvGrpSpPr>
        <p:grpSpPr>
          <a:xfrm>
            <a:off x="1333985" y="1503402"/>
            <a:ext cx="1033611" cy="172800"/>
            <a:chOff x="1260033" y="1778319"/>
            <a:chExt cx="1033611" cy="172800"/>
          </a:xfrm>
        </p:grpSpPr>
        <p:sp>
          <p:nvSpPr>
            <p:cNvPr id="176" name="직사각형 175">
              <a:extLst>
                <a:ext uri="{FF2B5EF4-FFF2-40B4-BE49-F238E27FC236}">
                  <a16:creationId xmlns:a16="http://schemas.microsoft.com/office/drawing/2014/main" id="{9B0B624D-6141-412A-A9ED-41E84C78BCCB}"/>
                </a:ext>
              </a:extLst>
            </p:cNvPr>
            <p:cNvSpPr/>
            <p:nvPr/>
          </p:nvSpPr>
          <p:spPr>
            <a:xfrm>
              <a:off x="1260033" y="1778319"/>
              <a:ext cx="81758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 안함</a:t>
              </a:r>
            </a:p>
          </p:txBody>
        </p:sp>
        <p:sp>
          <p:nvSpPr>
            <p:cNvPr id="177" name="직사각형 176">
              <a:extLst>
                <a:ext uri="{FF2B5EF4-FFF2-40B4-BE49-F238E27FC236}">
                  <a16:creationId xmlns:a16="http://schemas.microsoft.com/office/drawing/2014/main" id="{7E5483E2-47AA-4DA9-9E33-D0C90AD56125}"/>
                </a:ext>
              </a:extLst>
            </p:cNvPr>
            <p:cNvSpPr/>
            <p:nvPr/>
          </p:nvSpPr>
          <p:spPr>
            <a:xfrm>
              <a:off x="2077620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78" name="직사각형 177">
            <a:extLst>
              <a:ext uri="{FF2B5EF4-FFF2-40B4-BE49-F238E27FC236}">
                <a16:creationId xmlns:a16="http://schemas.microsoft.com/office/drawing/2014/main" id="{A42015F1-3951-4B03-8D98-59CF413DE160}"/>
              </a:ext>
            </a:extLst>
          </p:cNvPr>
          <p:cNvSpPr/>
          <p:nvPr/>
        </p:nvSpPr>
        <p:spPr>
          <a:xfrm>
            <a:off x="1335005" y="2006638"/>
            <a:ext cx="81393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명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9" name="직사각형 178">
            <a:extLst>
              <a:ext uri="{FF2B5EF4-FFF2-40B4-BE49-F238E27FC236}">
                <a16:creationId xmlns:a16="http://schemas.microsoft.com/office/drawing/2014/main" id="{5A84D2A2-988E-4459-8C42-A8011A19DBF9}"/>
              </a:ext>
            </a:extLst>
          </p:cNvPr>
          <p:cNvSpPr/>
          <p:nvPr/>
        </p:nvSpPr>
        <p:spPr>
          <a:xfrm>
            <a:off x="2412800" y="2006638"/>
            <a:ext cx="160557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0" name="직사각형 179">
            <a:extLst>
              <a:ext uri="{FF2B5EF4-FFF2-40B4-BE49-F238E27FC236}">
                <a16:creationId xmlns:a16="http://schemas.microsoft.com/office/drawing/2014/main" id="{7261BE02-51D7-4D13-A1CE-857DFFD7124F}"/>
              </a:ext>
            </a:extLst>
          </p:cNvPr>
          <p:cNvSpPr/>
          <p:nvPr/>
        </p:nvSpPr>
        <p:spPr>
          <a:xfrm>
            <a:off x="2148940" y="2006439"/>
            <a:ext cx="216024" cy="172481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▼</a:t>
            </a:r>
          </a:p>
        </p:txBody>
      </p:sp>
      <p:grpSp>
        <p:nvGrpSpPr>
          <p:cNvPr id="181" name="그룹 180">
            <a:extLst>
              <a:ext uri="{FF2B5EF4-FFF2-40B4-BE49-F238E27FC236}">
                <a16:creationId xmlns:a16="http://schemas.microsoft.com/office/drawing/2014/main" id="{9F8817B2-C2E0-44AC-9C1D-D71DD2A684F8}"/>
              </a:ext>
            </a:extLst>
          </p:cNvPr>
          <p:cNvGrpSpPr/>
          <p:nvPr/>
        </p:nvGrpSpPr>
        <p:grpSpPr>
          <a:xfrm>
            <a:off x="1335005" y="3011132"/>
            <a:ext cx="2131045" cy="174858"/>
            <a:chOff x="1336543" y="2500154"/>
            <a:chExt cx="2131045" cy="174858"/>
          </a:xfrm>
        </p:grpSpPr>
        <p:grpSp>
          <p:nvGrpSpPr>
            <p:cNvPr id="182" name="그룹 181">
              <a:extLst>
                <a:ext uri="{FF2B5EF4-FFF2-40B4-BE49-F238E27FC236}">
                  <a16:creationId xmlns:a16="http://schemas.microsoft.com/office/drawing/2014/main" id="{61CD98CB-5B37-4CAD-A7F5-4E087C3A160C}"/>
                </a:ext>
              </a:extLst>
            </p:cNvPr>
            <p:cNvGrpSpPr/>
            <p:nvPr/>
          </p:nvGrpSpPr>
          <p:grpSpPr>
            <a:xfrm>
              <a:off x="1336543" y="2500154"/>
              <a:ext cx="1036636" cy="173318"/>
              <a:chOff x="1265224" y="1777801"/>
              <a:chExt cx="1036636" cy="173318"/>
            </a:xfrm>
          </p:grpSpPr>
          <p:sp>
            <p:nvSpPr>
              <p:cNvPr id="186" name="직사각형 185">
                <a:extLst>
                  <a:ext uri="{FF2B5EF4-FFF2-40B4-BE49-F238E27FC236}">
                    <a16:creationId xmlns:a16="http://schemas.microsoft.com/office/drawing/2014/main" id="{E5E1B507-9981-4D87-B381-3F0BB44A1907}"/>
                  </a:ext>
                </a:extLst>
              </p:cNvPr>
              <p:cNvSpPr/>
              <p:nvPr/>
            </p:nvSpPr>
            <p:spPr>
              <a:xfrm>
                <a:off x="1265224" y="1778319"/>
                <a:ext cx="820612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87" name="직사각형 186">
                <a:extLst>
                  <a:ext uri="{FF2B5EF4-FFF2-40B4-BE49-F238E27FC236}">
                    <a16:creationId xmlns:a16="http://schemas.microsoft.com/office/drawing/2014/main" id="{F8F4C5BF-4EB0-45A0-843B-C22486D2E8A5}"/>
                  </a:ext>
                </a:extLst>
              </p:cNvPr>
              <p:cNvSpPr/>
              <p:nvPr/>
            </p:nvSpPr>
            <p:spPr>
              <a:xfrm>
                <a:off x="2085836" y="1777801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83" name="그룹 182">
              <a:extLst>
                <a:ext uri="{FF2B5EF4-FFF2-40B4-BE49-F238E27FC236}">
                  <a16:creationId xmlns:a16="http://schemas.microsoft.com/office/drawing/2014/main" id="{56FDB883-201E-435F-B58A-06EDB1599523}"/>
                </a:ext>
              </a:extLst>
            </p:cNvPr>
            <p:cNvGrpSpPr/>
            <p:nvPr/>
          </p:nvGrpSpPr>
          <p:grpSpPr>
            <a:xfrm>
              <a:off x="2428542" y="2501893"/>
              <a:ext cx="1039046" cy="173119"/>
              <a:chOff x="1227446" y="1778319"/>
              <a:chExt cx="1039046" cy="173119"/>
            </a:xfrm>
          </p:grpSpPr>
          <p:sp>
            <p:nvSpPr>
              <p:cNvPr id="184" name="직사각형 183">
                <a:extLst>
                  <a:ext uri="{FF2B5EF4-FFF2-40B4-BE49-F238E27FC236}">
                    <a16:creationId xmlns:a16="http://schemas.microsoft.com/office/drawing/2014/main" id="{9E2C5D9D-890D-43F8-9BCA-0DFDA472FE74}"/>
                  </a:ext>
                </a:extLst>
              </p:cNvPr>
              <p:cNvSpPr/>
              <p:nvPr/>
            </p:nvSpPr>
            <p:spPr>
              <a:xfrm>
                <a:off x="1227446" y="1778319"/>
                <a:ext cx="823021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85" name="직사각형 184">
                <a:extLst>
                  <a:ext uri="{FF2B5EF4-FFF2-40B4-BE49-F238E27FC236}">
                    <a16:creationId xmlns:a16="http://schemas.microsoft.com/office/drawing/2014/main" id="{4920E900-D361-45C1-A346-5096BA7708A2}"/>
                  </a:ext>
                </a:extLst>
              </p:cNvPr>
              <p:cNvSpPr/>
              <p:nvPr/>
            </p:nvSpPr>
            <p:spPr>
              <a:xfrm>
                <a:off x="205046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B6578EF7-A9AE-4AC7-827C-5AF65372A91A}"/>
              </a:ext>
            </a:extLst>
          </p:cNvPr>
          <p:cNvSpPr/>
          <p:nvPr/>
        </p:nvSpPr>
        <p:spPr>
          <a:xfrm>
            <a:off x="8106964" y="1180496"/>
            <a:ext cx="760056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</a:t>
            </a: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B290C5BB-2710-4FD5-A755-81E767C62027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영상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35329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1935960"/>
              </p:ext>
            </p:extLst>
          </p:nvPr>
        </p:nvGraphicFramePr>
        <p:xfrm>
          <a:off x="9275970" y="987800"/>
          <a:ext cx="2922885" cy="66833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585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984073"/>
                  </a:ext>
                </a:extLst>
              </a:tr>
              <a:tr h="2585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81332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1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등록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선택한 경우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파일선택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파일 찾기 팝업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파일 업로드하면 제공형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확장자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및 페이지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동 입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※ </a:t>
                      </a: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pub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로드 時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pub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폴더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Zip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파일로 묶어서 올리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에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로드 후에 자동으로 압축해제를 하여 사용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② </a:t>
                      </a: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pub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폴더를 올리고 나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색인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df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등록할 수 있는 팝업을 띄어서 파일 등록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25062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동입력 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정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  <a:tr h="2148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록 후 자동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채번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272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선택 값에 따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활성화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143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돋보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 검색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 : M028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팝업에서 선택된 값 입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 불가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148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6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선택된 값에 따라 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외 자동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2337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484292"/>
                  </a:ext>
                </a:extLst>
              </a:tr>
              <a:tr h="81332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선택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Level 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버튼 활성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사이트 리포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2355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로 구분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013468"/>
                  </a:ext>
                </a:extLst>
              </a:tr>
              <a:tr h="2337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96051"/>
                  </a:ext>
                </a:extLst>
              </a:tr>
              <a:tr h="4143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전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열람허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설정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2162590"/>
                  </a:ext>
                </a:extLst>
              </a:tr>
              <a:tr h="81332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2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를 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일 경우 활성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시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부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999-12-31 23:59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달력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지정 가능한 달력 출력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설정 사용 해제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 불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7826721"/>
                  </a:ext>
                </a:extLst>
              </a:tr>
              <a:tr h="2148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공개 선택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공개대상 복수 선택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59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운로드 가능여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불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불가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806038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영상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컨텐츠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5821" y="620253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6" name="표 12">
            <a:extLst>
              <a:ext uri="{FF2B5EF4-FFF2-40B4-BE49-F238E27FC236}">
                <a16:creationId xmlns:a16="http://schemas.microsoft.com/office/drawing/2014/main" id="{FAFA8B38-C9E2-4A9C-A01A-1739907674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933336"/>
              </p:ext>
            </p:extLst>
          </p:nvPr>
        </p:nvGraphicFramePr>
        <p:xfrm>
          <a:off x="443541" y="1476944"/>
          <a:ext cx="8455878" cy="26360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301212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88928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439283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902069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737979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  <a:gridCol w="658041">
                  <a:extLst>
                    <a:ext uri="{9D8B030D-6E8A-4147-A177-3AD203B41FA5}">
                      <a16:colId xmlns:a16="http://schemas.microsoft.com/office/drawing/2014/main" val="1801343721"/>
                    </a:ext>
                  </a:extLst>
                </a:gridCol>
                <a:gridCol w="658041">
                  <a:extLst>
                    <a:ext uri="{9D8B030D-6E8A-4147-A177-3AD203B41FA5}">
                      <a16:colId xmlns:a16="http://schemas.microsoft.com/office/drawing/2014/main" val="4291524393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문서  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영상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81298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컨텐츠 업로드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읏링크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형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 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6641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 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47607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전체열람허용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공개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 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전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가능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가능             ●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489024FD-7F80-49A3-887D-85867E4F1E55}"/>
              </a:ext>
            </a:extLst>
          </p:cNvPr>
          <p:cNvSpPr/>
          <p:nvPr/>
        </p:nvSpPr>
        <p:spPr>
          <a:xfrm>
            <a:off x="1357361" y="2338412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178179FD-B710-4467-864A-EA53B8423A60}"/>
              </a:ext>
            </a:extLst>
          </p:cNvPr>
          <p:cNvSpPr/>
          <p:nvPr/>
        </p:nvSpPr>
        <p:spPr>
          <a:xfrm>
            <a:off x="4561288" y="2333534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3151DEBD-C741-437F-9BD6-429D4690AEC0}"/>
              </a:ext>
            </a:extLst>
          </p:cNvPr>
          <p:cNvGrpSpPr/>
          <p:nvPr/>
        </p:nvGrpSpPr>
        <p:grpSpPr>
          <a:xfrm>
            <a:off x="4579332" y="3230758"/>
            <a:ext cx="3711546" cy="175761"/>
            <a:chOff x="4535523" y="2896789"/>
            <a:chExt cx="3711546" cy="175761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1CEB0E8F-3893-4D41-B9B8-5B2AB66E1493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4" name="그룹 173">
                <a:extLst>
                  <a:ext uri="{FF2B5EF4-FFF2-40B4-BE49-F238E27FC236}">
                    <a16:creationId xmlns:a16="http://schemas.microsoft.com/office/drawing/2014/main" id="{08CE6B5D-F6C7-4F24-9055-E92F20610776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96" name="직사각형 195">
                  <a:extLst>
                    <a:ext uri="{FF2B5EF4-FFF2-40B4-BE49-F238E27FC236}">
                      <a16:creationId xmlns:a16="http://schemas.microsoft.com/office/drawing/2014/main" id="{82C211D7-9D16-4A2B-94C9-F0FDEF298023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97" name="직사각형 196">
                  <a:extLst>
                    <a:ext uri="{FF2B5EF4-FFF2-40B4-BE49-F238E27FC236}">
                      <a16:creationId xmlns:a16="http://schemas.microsoft.com/office/drawing/2014/main" id="{02B3B37E-EC78-4898-8460-32193AB3DD9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98" name="그림 197">
                  <a:extLst>
                    <a:ext uri="{FF2B5EF4-FFF2-40B4-BE49-F238E27FC236}">
                      <a16:creationId xmlns:a16="http://schemas.microsoft.com/office/drawing/2014/main" id="{7EA89D27-E7B8-4A9B-A14C-EF5A958029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96306674-D4D1-4BCE-BA6E-044AF35CE08D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9" name="직사각형 178">
                <a:extLst>
                  <a:ext uri="{FF2B5EF4-FFF2-40B4-BE49-F238E27FC236}">
                    <a16:creationId xmlns:a16="http://schemas.microsoft.com/office/drawing/2014/main" id="{119CA91D-08CC-4597-8E7B-BC3A7CE843B6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2" name="직사각형 201">
                <a:extLst>
                  <a:ext uri="{FF2B5EF4-FFF2-40B4-BE49-F238E27FC236}">
                    <a16:creationId xmlns:a16="http://schemas.microsoft.com/office/drawing/2014/main" id="{B7993C22-B48C-497B-993B-B6AF34E471D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3" name="직사각형 202">
                <a:extLst>
                  <a:ext uri="{FF2B5EF4-FFF2-40B4-BE49-F238E27FC236}">
                    <a16:creationId xmlns:a16="http://schemas.microsoft.com/office/drawing/2014/main" id="{F5E185A2-B398-4C0B-B278-5D4B31A09B8E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4" name="직사각형 203">
                <a:extLst>
                  <a:ext uri="{FF2B5EF4-FFF2-40B4-BE49-F238E27FC236}">
                    <a16:creationId xmlns:a16="http://schemas.microsoft.com/office/drawing/2014/main" id="{8F6FAC83-FD4E-438E-8278-946FB419E8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205" name="그룹 204">
              <a:extLst>
                <a:ext uri="{FF2B5EF4-FFF2-40B4-BE49-F238E27FC236}">
                  <a16:creationId xmlns:a16="http://schemas.microsoft.com/office/drawing/2014/main" id="{B6A2D1A9-64D5-4DC8-9EFB-ED4F2C52E495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206" name="그룹 205">
                <a:extLst>
                  <a:ext uri="{FF2B5EF4-FFF2-40B4-BE49-F238E27FC236}">
                    <a16:creationId xmlns:a16="http://schemas.microsoft.com/office/drawing/2014/main" id="{A14F1E05-0861-4A3F-8CD7-FC066155038B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212" name="직사각형 211">
                  <a:extLst>
                    <a:ext uri="{FF2B5EF4-FFF2-40B4-BE49-F238E27FC236}">
                      <a16:creationId xmlns:a16="http://schemas.microsoft.com/office/drawing/2014/main" id="{F60D1063-6954-4473-8166-A197B67164B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213" name="직사각형 212">
                  <a:extLst>
                    <a:ext uri="{FF2B5EF4-FFF2-40B4-BE49-F238E27FC236}">
                      <a16:creationId xmlns:a16="http://schemas.microsoft.com/office/drawing/2014/main" id="{76AB009E-C053-4F2F-8C91-60ECDFF5DC4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214" name="그림 213">
                  <a:extLst>
                    <a:ext uri="{FF2B5EF4-FFF2-40B4-BE49-F238E27FC236}">
                      <a16:creationId xmlns:a16="http://schemas.microsoft.com/office/drawing/2014/main" id="{73936F88-5CE9-40BA-86D8-D0EC39D1A9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208" name="직사각형 207">
                <a:extLst>
                  <a:ext uri="{FF2B5EF4-FFF2-40B4-BE49-F238E27FC236}">
                    <a16:creationId xmlns:a16="http://schemas.microsoft.com/office/drawing/2014/main" id="{76BF78C6-6071-43B8-ABE6-473825E62152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12-31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9" name="직사각형 208">
                <a:extLst>
                  <a:ext uri="{FF2B5EF4-FFF2-40B4-BE49-F238E27FC236}">
                    <a16:creationId xmlns:a16="http://schemas.microsoft.com/office/drawing/2014/main" id="{44A1005F-22E7-475A-BFB6-61C93CB1240E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0" name="직사각형 209">
                <a:extLst>
                  <a:ext uri="{FF2B5EF4-FFF2-40B4-BE49-F238E27FC236}">
                    <a16:creationId xmlns:a16="http://schemas.microsoft.com/office/drawing/2014/main" id="{92747398-46BD-44B6-A478-23E7E782A23A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1" name="직사각형 210">
                <a:extLst>
                  <a:ext uri="{FF2B5EF4-FFF2-40B4-BE49-F238E27FC236}">
                    <a16:creationId xmlns:a16="http://schemas.microsoft.com/office/drawing/2014/main" id="{6654E2FE-3C1B-4A12-8DE8-D6D4405B04D0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228" name="직사각형 227">
              <a:extLst>
                <a:ext uri="{FF2B5EF4-FFF2-40B4-BE49-F238E27FC236}">
                  <a16:creationId xmlns:a16="http://schemas.microsoft.com/office/drawing/2014/main" id="{6529F0E2-0048-4CFC-A65F-E9928BEFF93B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229" name="사각형: 둥근 모서리 228">
              <a:extLst>
                <a:ext uri="{FF2B5EF4-FFF2-40B4-BE49-F238E27FC236}">
                  <a16:creationId xmlns:a16="http://schemas.microsoft.com/office/drawing/2014/main" id="{17F7A4B1-05DA-4EB4-8988-671337DA11CC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30" name="그림 229">
              <a:extLst>
                <a:ext uri="{FF2B5EF4-FFF2-40B4-BE49-F238E27FC236}">
                  <a16:creationId xmlns:a16="http://schemas.microsoft.com/office/drawing/2014/main" id="{C6A56D4E-0B59-4417-8E0C-0021C92DC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grpSp>
        <p:nvGrpSpPr>
          <p:cNvPr id="253" name="그룹 252">
            <a:extLst>
              <a:ext uri="{FF2B5EF4-FFF2-40B4-BE49-F238E27FC236}">
                <a16:creationId xmlns:a16="http://schemas.microsoft.com/office/drawing/2014/main" id="{60F5DCD9-5570-40F0-9995-D5572595432E}"/>
              </a:ext>
            </a:extLst>
          </p:cNvPr>
          <p:cNvGrpSpPr/>
          <p:nvPr/>
        </p:nvGrpSpPr>
        <p:grpSpPr>
          <a:xfrm>
            <a:off x="6880468" y="2603356"/>
            <a:ext cx="1065951" cy="172800"/>
            <a:chOff x="1260034" y="1778319"/>
            <a:chExt cx="1065951" cy="172800"/>
          </a:xfrm>
        </p:grpSpPr>
        <p:sp>
          <p:nvSpPr>
            <p:cNvPr id="256" name="직사각형 255">
              <a:extLst>
                <a:ext uri="{FF2B5EF4-FFF2-40B4-BE49-F238E27FC236}">
                  <a16:creationId xmlns:a16="http://schemas.microsoft.com/office/drawing/2014/main" id="{9AAA2FDF-45A4-4C51-80BD-11AA16F5BD7C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57" name="직사각형 256">
              <a:extLst>
                <a:ext uri="{FF2B5EF4-FFF2-40B4-BE49-F238E27FC236}">
                  <a16:creationId xmlns:a16="http://schemas.microsoft.com/office/drawing/2014/main" id="{6491BDD4-4782-4EB8-921F-CB00D9CF6468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5" name="그룹 274">
            <a:extLst>
              <a:ext uri="{FF2B5EF4-FFF2-40B4-BE49-F238E27FC236}">
                <a16:creationId xmlns:a16="http://schemas.microsoft.com/office/drawing/2014/main" id="{A9A191A0-4A36-408D-A2F1-D7951C26F968}"/>
              </a:ext>
            </a:extLst>
          </p:cNvPr>
          <p:cNvGrpSpPr/>
          <p:nvPr/>
        </p:nvGrpSpPr>
        <p:grpSpPr>
          <a:xfrm>
            <a:off x="6880468" y="2870933"/>
            <a:ext cx="1065951" cy="172800"/>
            <a:chOff x="1260034" y="1778319"/>
            <a:chExt cx="1065951" cy="172800"/>
          </a:xfrm>
        </p:grpSpPr>
        <p:sp>
          <p:nvSpPr>
            <p:cNvPr id="276" name="직사각형 275">
              <a:extLst>
                <a:ext uri="{FF2B5EF4-FFF2-40B4-BE49-F238E27FC236}">
                  <a16:creationId xmlns:a16="http://schemas.microsoft.com/office/drawing/2014/main" id="{C4737F8E-AC4C-41E5-A73A-5DA823BA68A7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C0FC404D-93E0-4EF0-8355-DA96AFD7A30E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8" name="그룹 277">
            <a:extLst>
              <a:ext uri="{FF2B5EF4-FFF2-40B4-BE49-F238E27FC236}">
                <a16:creationId xmlns:a16="http://schemas.microsoft.com/office/drawing/2014/main" id="{D2DFE4EA-566D-4198-8AB6-A38B360FC5A2}"/>
              </a:ext>
            </a:extLst>
          </p:cNvPr>
          <p:cNvGrpSpPr/>
          <p:nvPr/>
        </p:nvGrpSpPr>
        <p:grpSpPr>
          <a:xfrm>
            <a:off x="1360985" y="2867996"/>
            <a:ext cx="983380" cy="172800"/>
            <a:chOff x="1260034" y="1778319"/>
            <a:chExt cx="983380" cy="172800"/>
          </a:xfrm>
        </p:grpSpPr>
        <p:sp>
          <p:nvSpPr>
            <p:cNvPr id="279" name="직사각형 278">
              <a:extLst>
                <a:ext uri="{FF2B5EF4-FFF2-40B4-BE49-F238E27FC236}">
                  <a16:creationId xmlns:a16="http://schemas.microsoft.com/office/drawing/2014/main" id="{74E5A847-9C16-4BF5-84D2-D083F7C98E0C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80" name="직사각형 279">
              <a:extLst>
                <a:ext uri="{FF2B5EF4-FFF2-40B4-BE49-F238E27FC236}">
                  <a16:creationId xmlns:a16="http://schemas.microsoft.com/office/drawing/2014/main" id="{72DB68FC-9892-4EE6-8A6A-279788DB1F84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87" name="직사각형 286">
            <a:extLst>
              <a:ext uri="{FF2B5EF4-FFF2-40B4-BE49-F238E27FC236}">
                <a16:creationId xmlns:a16="http://schemas.microsoft.com/office/drawing/2014/main" id="{D77B06E9-8DF5-44D4-9A42-5FE931673FDB}"/>
              </a:ext>
            </a:extLst>
          </p:cNvPr>
          <p:cNvSpPr/>
          <p:nvPr/>
        </p:nvSpPr>
        <p:spPr>
          <a:xfrm>
            <a:off x="4581054" y="3860991"/>
            <a:ext cx="407200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우선순위에 따라 콤마로 구분하여 입력하세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9" name="직사각형 288">
            <a:extLst>
              <a:ext uri="{FF2B5EF4-FFF2-40B4-BE49-F238E27FC236}">
                <a16:creationId xmlns:a16="http://schemas.microsoft.com/office/drawing/2014/main" id="{E165B56A-FF30-429A-AB3B-9D56082FFE4B}"/>
              </a:ext>
            </a:extLst>
          </p:cNvPr>
          <p:cNvSpPr/>
          <p:nvPr/>
        </p:nvSpPr>
        <p:spPr>
          <a:xfrm>
            <a:off x="1342120" y="2065346"/>
            <a:ext cx="375378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1_Foundation 2021.pdf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0" name="직사각형 289">
            <a:extLst>
              <a:ext uri="{FF2B5EF4-FFF2-40B4-BE49-F238E27FC236}">
                <a16:creationId xmlns:a16="http://schemas.microsoft.com/office/drawing/2014/main" id="{06EA207C-D1DD-4471-8552-9015B270696B}"/>
              </a:ext>
            </a:extLst>
          </p:cNvPr>
          <p:cNvSpPr/>
          <p:nvPr/>
        </p:nvSpPr>
        <p:spPr>
          <a:xfrm>
            <a:off x="5130958" y="2064651"/>
            <a:ext cx="642450" cy="16621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선택</a:t>
            </a:r>
          </a:p>
        </p:txBody>
      </p:sp>
      <p:sp>
        <p:nvSpPr>
          <p:cNvPr id="291" name="직사각형 290">
            <a:extLst>
              <a:ext uri="{FF2B5EF4-FFF2-40B4-BE49-F238E27FC236}">
                <a16:creationId xmlns:a16="http://schemas.microsoft.com/office/drawing/2014/main" id="{B9D3526C-6DAE-4532-91B5-B3FAEB66DB87}"/>
              </a:ext>
            </a:extLst>
          </p:cNvPr>
          <p:cNvSpPr/>
          <p:nvPr/>
        </p:nvSpPr>
        <p:spPr>
          <a:xfrm>
            <a:off x="6880468" y="2070646"/>
            <a:ext cx="546202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DF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0EE9873B-10DB-4E80-9D64-AE9466A0DDFF}"/>
              </a:ext>
            </a:extLst>
          </p:cNvPr>
          <p:cNvGrpSpPr/>
          <p:nvPr/>
        </p:nvGrpSpPr>
        <p:grpSpPr>
          <a:xfrm>
            <a:off x="2394375" y="6002453"/>
            <a:ext cx="292384" cy="234859"/>
            <a:chOff x="2527622" y="5858437"/>
            <a:chExt cx="292384" cy="246968"/>
          </a:xfrm>
        </p:grpSpPr>
        <p:sp>
          <p:nvSpPr>
            <p:cNvPr id="38" name="사각형: 둥근 모서리 37">
              <a:extLst>
                <a:ext uri="{FF2B5EF4-FFF2-40B4-BE49-F238E27FC236}">
                  <a16:creationId xmlns:a16="http://schemas.microsoft.com/office/drawing/2014/main" id="{28D51E31-0B1B-4F1D-84DB-8CAEECE8D116}"/>
                </a:ext>
              </a:extLst>
            </p:cNvPr>
            <p:cNvSpPr/>
            <p:nvPr/>
          </p:nvSpPr>
          <p:spPr>
            <a:xfrm>
              <a:off x="2527622" y="5858437"/>
              <a:ext cx="292384" cy="246968"/>
            </a:xfrm>
            <a:prstGeom prst="roundRect">
              <a:avLst>
                <a:gd name="adj" fmla="val 10496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597EEE10-A76D-452E-BAD8-4E910FF65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61893" y="5875091"/>
              <a:ext cx="228288" cy="218205"/>
            </a:xfrm>
            <a:prstGeom prst="rect">
              <a:avLst/>
            </a:prstGeom>
          </p:spPr>
        </p:pic>
      </p:grpSp>
      <p:sp>
        <p:nvSpPr>
          <p:cNvPr id="293" name="직사각형 292">
            <a:extLst>
              <a:ext uri="{FF2B5EF4-FFF2-40B4-BE49-F238E27FC236}">
                <a16:creationId xmlns:a16="http://schemas.microsoft.com/office/drawing/2014/main" id="{5F8ABD10-9A4F-49A5-9807-BC38A6BF90E7}"/>
              </a:ext>
            </a:extLst>
          </p:cNvPr>
          <p:cNvSpPr/>
          <p:nvPr/>
        </p:nvSpPr>
        <p:spPr>
          <a:xfrm>
            <a:off x="2685600" y="6043272"/>
            <a:ext cx="851694" cy="18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미지업로드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4" name="그룹 293">
            <a:extLst>
              <a:ext uri="{FF2B5EF4-FFF2-40B4-BE49-F238E27FC236}">
                <a16:creationId xmlns:a16="http://schemas.microsoft.com/office/drawing/2014/main" id="{F0153F10-0BBB-4FA5-AE0F-E52D0D2417F1}"/>
              </a:ext>
            </a:extLst>
          </p:cNvPr>
          <p:cNvGrpSpPr/>
          <p:nvPr/>
        </p:nvGrpSpPr>
        <p:grpSpPr>
          <a:xfrm>
            <a:off x="4567502" y="2870614"/>
            <a:ext cx="1065951" cy="172800"/>
            <a:chOff x="1260034" y="1778319"/>
            <a:chExt cx="1065951" cy="172800"/>
          </a:xfrm>
        </p:grpSpPr>
        <p:sp>
          <p:nvSpPr>
            <p:cNvPr id="295" name="직사각형 294">
              <a:extLst>
                <a:ext uri="{FF2B5EF4-FFF2-40B4-BE49-F238E27FC236}">
                  <a16:creationId xmlns:a16="http://schemas.microsoft.com/office/drawing/2014/main" id="{3F6A89BD-D88F-49FD-B756-E9E6E3DD3719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96" name="직사각형 295">
              <a:extLst>
                <a:ext uri="{FF2B5EF4-FFF2-40B4-BE49-F238E27FC236}">
                  <a16:creationId xmlns:a16="http://schemas.microsoft.com/office/drawing/2014/main" id="{9A430EA1-04CA-4C4E-9A8B-8B7406D7E80E}"/>
                </a:ext>
              </a:extLst>
            </p:cNvPr>
            <p:cNvSpPr/>
            <p:nvPr/>
          </p:nvSpPr>
          <p:spPr>
            <a:xfrm>
              <a:off x="2109961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07D2312A-05CF-4DEB-B86F-22441FEC2714}"/>
              </a:ext>
            </a:extLst>
          </p:cNvPr>
          <p:cNvGrpSpPr/>
          <p:nvPr/>
        </p:nvGrpSpPr>
        <p:grpSpPr>
          <a:xfrm>
            <a:off x="4021982" y="6403982"/>
            <a:ext cx="1377078" cy="180000"/>
            <a:chOff x="3931297" y="6465659"/>
            <a:chExt cx="1377078" cy="180000"/>
          </a:xfrm>
        </p:grpSpPr>
        <p:sp>
          <p:nvSpPr>
            <p:cNvPr id="297" name="사각형: 둥근 모서리 296">
              <a:extLst>
                <a:ext uri="{FF2B5EF4-FFF2-40B4-BE49-F238E27FC236}">
                  <a16:creationId xmlns:a16="http://schemas.microsoft.com/office/drawing/2014/main" id="{211F0B85-7AE2-480B-97D8-6595011F91C4}"/>
                </a:ext>
              </a:extLst>
            </p:cNvPr>
            <p:cNvSpPr/>
            <p:nvPr/>
          </p:nvSpPr>
          <p:spPr>
            <a:xfrm>
              <a:off x="3931297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</a:t>
              </a:r>
            </a:p>
          </p:txBody>
        </p:sp>
        <p:sp>
          <p:nvSpPr>
            <p:cNvPr id="298" name="사각형: 둥근 모서리 297">
              <a:extLst>
                <a:ext uri="{FF2B5EF4-FFF2-40B4-BE49-F238E27FC236}">
                  <a16:creationId xmlns:a16="http://schemas.microsoft.com/office/drawing/2014/main" id="{AF2F0DA5-D12F-452C-BF53-3484BBBDAE8C}"/>
                </a:ext>
              </a:extLst>
            </p:cNvPr>
            <p:cNvSpPr/>
            <p:nvPr/>
          </p:nvSpPr>
          <p:spPr>
            <a:xfrm>
              <a:off x="4655840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초기화</a:t>
              </a:r>
            </a:p>
          </p:txBody>
        </p:sp>
      </p:grpSp>
      <p:sp>
        <p:nvSpPr>
          <p:cNvPr id="300" name="직사각형 299">
            <a:extLst>
              <a:ext uri="{FF2B5EF4-FFF2-40B4-BE49-F238E27FC236}">
                <a16:creationId xmlns:a16="http://schemas.microsoft.com/office/drawing/2014/main" id="{1D64D8FC-A849-4330-ADEE-E05CD44C6D57}"/>
              </a:ext>
            </a:extLst>
          </p:cNvPr>
          <p:cNvSpPr/>
          <p:nvPr/>
        </p:nvSpPr>
        <p:spPr>
          <a:xfrm>
            <a:off x="8321274" y="2070646"/>
            <a:ext cx="546202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4" name="직사각형 303">
            <a:extLst>
              <a:ext uri="{FF2B5EF4-FFF2-40B4-BE49-F238E27FC236}">
                <a16:creationId xmlns:a16="http://schemas.microsoft.com/office/drawing/2014/main" id="{56C72D9F-6945-4DCA-B045-42D7FFFA6125}"/>
              </a:ext>
            </a:extLst>
          </p:cNvPr>
          <p:cNvSpPr/>
          <p:nvPr/>
        </p:nvSpPr>
        <p:spPr>
          <a:xfrm>
            <a:off x="1357360" y="2593822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6FC6B508-A697-4F7A-B4E9-C94BFD3B2B53}"/>
              </a:ext>
            </a:extLst>
          </p:cNvPr>
          <p:cNvGrpSpPr/>
          <p:nvPr/>
        </p:nvGrpSpPr>
        <p:grpSpPr>
          <a:xfrm>
            <a:off x="3204183" y="2592832"/>
            <a:ext cx="169472" cy="169472"/>
            <a:chOff x="3180922" y="2352202"/>
            <a:chExt cx="169472" cy="169472"/>
          </a:xfrm>
        </p:grpSpPr>
        <p:sp>
          <p:nvSpPr>
            <p:cNvPr id="305" name="사각형: 둥근 모서리 304">
              <a:extLst>
                <a:ext uri="{FF2B5EF4-FFF2-40B4-BE49-F238E27FC236}">
                  <a16:creationId xmlns:a16="http://schemas.microsoft.com/office/drawing/2014/main" id="{1F350384-9B7F-461C-A440-D6CB828072FE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06" name="그림 305">
              <a:extLst>
                <a:ext uri="{FF2B5EF4-FFF2-40B4-BE49-F238E27FC236}">
                  <a16:creationId xmlns:a16="http://schemas.microsoft.com/office/drawing/2014/main" id="{37B752C4-9AC3-4471-BE71-E93F18D52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307" name="그룹 306">
            <a:extLst>
              <a:ext uri="{FF2B5EF4-FFF2-40B4-BE49-F238E27FC236}">
                <a16:creationId xmlns:a16="http://schemas.microsoft.com/office/drawing/2014/main" id="{42A05CBC-2B80-4BA9-931B-31EC003B135C}"/>
              </a:ext>
            </a:extLst>
          </p:cNvPr>
          <p:cNvGrpSpPr/>
          <p:nvPr/>
        </p:nvGrpSpPr>
        <p:grpSpPr>
          <a:xfrm>
            <a:off x="2401267" y="2865898"/>
            <a:ext cx="1067418" cy="172800"/>
            <a:chOff x="1260034" y="1778319"/>
            <a:chExt cx="1067418" cy="172800"/>
          </a:xfrm>
        </p:grpSpPr>
        <p:sp>
          <p:nvSpPr>
            <p:cNvPr id="308" name="직사각형 307">
              <a:extLst>
                <a:ext uri="{FF2B5EF4-FFF2-40B4-BE49-F238E27FC236}">
                  <a16:creationId xmlns:a16="http://schemas.microsoft.com/office/drawing/2014/main" id="{C83E80D5-F795-404C-B8A5-0EC5FD869898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309" name="직사각형 308">
              <a:extLst>
                <a:ext uri="{FF2B5EF4-FFF2-40B4-BE49-F238E27FC236}">
                  <a16:creationId xmlns:a16="http://schemas.microsoft.com/office/drawing/2014/main" id="{05B9EC14-43BC-46F8-8496-0782DA4E981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323" name="그룹 322">
            <a:extLst>
              <a:ext uri="{FF2B5EF4-FFF2-40B4-BE49-F238E27FC236}">
                <a16:creationId xmlns:a16="http://schemas.microsoft.com/office/drawing/2014/main" id="{824313F4-B630-4DA2-B9FA-2CC85C41B592}"/>
              </a:ext>
            </a:extLst>
          </p:cNvPr>
          <p:cNvGrpSpPr/>
          <p:nvPr/>
        </p:nvGrpSpPr>
        <p:grpSpPr>
          <a:xfrm>
            <a:off x="6880468" y="2333534"/>
            <a:ext cx="589035" cy="172800"/>
            <a:chOff x="1260034" y="1778319"/>
            <a:chExt cx="589035" cy="172800"/>
          </a:xfrm>
        </p:grpSpPr>
        <p:sp>
          <p:nvSpPr>
            <p:cNvPr id="324" name="직사각형 323">
              <a:extLst>
                <a:ext uri="{FF2B5EF4-FFF2-40B4-BE49-F238E27FC236}">
                  <a16:creationId xmlns:a16="http://schemas.microsoft.com/office/drawing/2014/main" id="{DB980864-2E0F-4C1D-829D-281274C4283F}"/>
                </a:ext>
              </a:extLst>
            </p:cNvPr>
            <p:cNvSpPr/>
            <p:nvPr/>
          </p:nvSpPr>
          <p:spPr>
            <a:xfrm>
              <a:off x="1260034" y="1778319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도</a:t>
              </a:r>
            </a:p>
          </p:txBody>
        </p:sp>
        <p:sp>
          <p:nvSpPr>
            <p:cNvPr id="325" name="직사각형 324">
              <a:extLst>
                <a:ext uri="{FF2B5EF4-FFF2-40B4-BE49-F238E27FC236}">
                  <a16:creationId xmlns:a16="http://schemas.microsoft.com/office/drawing/2014/main" id="{261C56E6-E71F-49D6-A5AF-37FB9BFD2B4E}"/>
                </a:ext>
              </a:extLst>
            </p:cNvPr>
            <p:cNvSpPr/>
            <p:nvPr/>
          </p:nvSpPr>
          <p:spPr>
            <a:xfrm>
              <a:off x="1633045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30" name="직사각형 329">
            <a:extLst>
              <a:ext uri="{FF2B5EF4-FFF2-40B4-BE49-F238E27FC236}">
                <a16:creationId xmlns:a16="http://schemas.microsoft.com/office/drawing/2014/main" id="{D1D71848-E3B5-4132-8ABF-5DB7A93CA324}"/>
              </a:ext>
            </a:extLst>
          </p:cNvPr>
          <p:cNvSpPr/>
          <p:nvPr/>
        </p:nvSpPr>
        <p:spPr>
          <a:xfrm>
            <a:off x="7543889" y="2335852"/>
            <a:ext cx="373011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1" name="직사각형 330">
            <a:extLst>
              <a:ext uri="{FF2B5EF4-FFF2-40B4-BE49-F238E27FC236}">
                <a16:creationId xmlns:a16="http://schemas.microsoft.com/office/drawing/2014/main" id="{A0F20997-C6B2-4601-A1B2-50BA5524AC08}"/>
              </a:ext>
            </a:extLst>
          </p:cNvPr>
          <p:cNvSpPr/>
          <p:nvPr/>
        </p:nvSpPr>
        <p:spPr>
          <a:xfrm>
            <a:off x="7946420" y="2335852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9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2" name="직사각형 331">
            <a:extLst>
              <a:ext uri="{FF2B5EF4-FFF2-40B4-BE49-F238E27FC236}">
                <a16:creationId xmlns:a16="http://schemas.microsoft.com/office/drawing/2014/main" id="{E79D5ECD-6FAE-4EAF-BFB3-5F88B003466E}"/>
              </a:ext>
            </a:extLst>
          </p:cNvPr>
          <p:cNvSpPr/>
          <p:nvPr/>
        </p:nvSpPr>
        <p:spPr>
          <a:xfrm>
            <a:off x="8265035" y="2335852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0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4A56EA8E-FD65-4B2C-B0A2-20B0FF0E69E3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형</a:t>
            </a: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5F4E090F-CE54-4F48-8CD4-F57A5974965B}"/>
              </a:ext>
            </a:extLst>
          </p:cNvPr>
          <p:cNvSpPr/>
          <p:nvPr/>
        </p:nvSpPr>
        <p:spPr>
          <a:xfrm>
            <a:off x="4559984" y="2607293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E9C2B137-E646-4AD9-96F1-3DAFB862A834}"/>
              </a:ext>
            </a:extLst>
          </p:cNvPr>
          <p:cNvSpPr/>
          <p:nvPr/>
        </p:nvSpPr>
        <p:spPr>
          <a:xfrm>
            <a:off x="3515151" y="23554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F1386F93-FEEB-4C5B-8F72-01DA32D5C60A}"/>
              </a:ext>
            </a:extLst>
          </p:cNvPr>
          <p:cNvSpPr/>
          <p:nvPr/>
        </p:nvSpPr>
        <p:spPr>
          <a:xfrm>
            <a:off x="5807968" y="236307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8936C348-91FB-4A06-B54A-A09C715DDD06}"/>
              </a:ext>
            </a:extLst>
          </p:cNvPr>
          <p:cNvSpPr/>
          <p:nvPr/>
        </p:nvSpPr>
        <p:spPr>
          <a:xfrm>
            <a:off x="3511733" y="262759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C90A22C8-BF2C-4B3A-BE2B-B91BBD3D0BE4}"/>
              </a:ext>
            </a:extLst>
          </p:cNvPr>
          <p:cNvSpPr/>
          <p:nvPr/>
        </p:nvSpPr>
        <p:spPr>
          <a:xfrm>
            <a:off x="5813788" y="262759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ECDF4002-06F1-4659-88A1-53BB48831246}"/>
              </a:ext>
            </a:extLst>
          </p:cNvPr>
          <p:cNvSpPr/>
          <p:nvPr/>
        </p:nvSpPr>
        <p:spPr>
          <a:xfrm>
            <a:off x="3515151" y="289338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82B87014-51D7-48D6-B4F3-34295FAC35D4}"/>
              </a:ext>
            </a:extLst>
          </p:cNvPr>
          <p:cNvSpPr/>
          <p:nvPr/>
        </p:nvSpPr>
        <p:spPr>
          <a:xfrm>
            <a:off x="5807968" y="289338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2A4CDDE6-3F06-4E1D-A2AD-C68A3BDFAA4B}"/>
              </a:ext>
            </a:extLst>
          </p:cNvPr>
          <p:cNvSpPr/>
          <p:nvPr/>
        </p:nvSpPr>
        <p:spPr>
          <a:xfrm>
            <a:off x="3515151" y="315841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E1AAF3F3-3735-4196-8652-0E0AAFC1754B}"/>
              </a:ext>
            </a:extLst>
          </p:cNvPr>
          <p:cNvSpPr/>
          <p:nvPr/>
        </p:nvSpPr>
        <p:spPr>
          <a:xfrm>
            <a:off x="3511733" y="34302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41A1DC4D-1043-4D58-91A4-21F9426941F9}"/>
              </a:ext>
            </a:extLst>
          </p:cNvPr>
          <p:cNvSpPr/>
          <p:nvPr/>
        </p:nvSpPr>
        <p:spPr>
          <a:xfrm>
            <a:off x="443541" y="1476944"/>
            <a:ext cx="8423935" cy="799945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C0E505CD-EC08-4DD7-AC16-1FCA20209D20}"/>
              </a:ext>
            </a:extLst>
          </p:cNvPr>
          <p:cNvSpPr/>
          <p:nvPr/>
        </p:nvSpPr>
        <p:spPr>
          <a:xfrm>
            <a:off x="399025" y="1154051"/>
            <a:ext cx="8518304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                     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54271ABE-9B85-4BF8-8DC9-09AE1D9CC13D}"/>
              </a:ext>
            </a:extLst>
          </p:cNvPr>
          <p:cNvSpPr/>
          <p:nvPr/>
        </p:nvSpPr>
        <p:spPr>
          <a:xfrm>
            <a:off x="399025" y="1421811"/>
            <a:ext cx="8518304" cy="5223848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1E206ED1-DB3A-4CBF-B79D-DB5BB2E0DE5B}"/>
              </a:ext>
            </a:extLst>
          </p:cNvPr>
          <p:cNvGrpSpPr/>
          <p:nvPr/>
        </p:nvGrpSpPr>
        <p:grpSpPr>
          <a:xfrm>
            <a:off x="6321648" y="5398588"/>
            <a:ext cx="2852827" cy="1193813"/>
            <a:chOff x="6176162" y="5445224"/>
            <a:chExt cx="2852827" cy="1193813"/>
          </a:xfrm>
        </p:grpSpPr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12A37C79-0CF5-482F-9EB8-E5F196A4ED28}"/>
                </a:ext>
              </a:extLst>
            </p:cNvPr>
            <p:cNvGrpSpPr/>
            <p:nvPr/>
          </p:nvGrpSpPr>
          <p:grpSpPr>
            <a:xfrm>
              <a:off x="6176162" y="5445224"/>
              <a:ext cx="2852827" cy="1193813"/>
              <a:chOff x="6275700" y="5531114"/>
              <a:chExt cx="2852827" cy="1193813"/>
            </a:xfrm>
          </p:grpSpPr>
          <p:grpSp>
            <p:nvGrpSpPr>
              <p:cNvPr id="3" name="그룹 2">
                <a:extLst>
                  <a:ext uri="{FF2B5EF4-FFF2-40B4-BE49-F238E27FC236}">
                    <a16:creationId xmlns:a16="http://schemas.microsoft.com/office/drawing/2014/main" id="{7AD12105-8A4E-4549-BF74-0FE7EAF78207}"/>
                  </a:ext>
                </a:extLst>
              </p:cNvPr>
              <p:cNvGrpSpPr/>
              <p:nvPr/>
            </p:nvGrpSpPr>
            <p:grpSpPr>
              <a:xfrm>
                <a:off x="6275700" y="5531114"/>
                <a:ext cx="2852827" cy="1193813"/>
                <a:chOff x="6297958" y="5276483"/>
                <a:chExt cx="2852827" cy="1193813"/>
              </a:xfrm>
            </p:grpSpPr>
            <p:sp>
              <p:nvSpPr>
                <p:cNvPr id="87" name="직사각형 86">
                  <a:extLst>
                    <a:ext uri="{FF2B5EF4-FFF2-40B4-BE49-F238E27FC236}">
                      <a16:creationId xmlns:a16="http://schemas.microsoft.com/office/drawing/2014/main" id="{6C26E342-43B9-4F72-BCDD-3E9FC6841BCB}"/>
                    </a:ext>
                  </a:extLst>
                </p:cNvPr>
                <p:cNvSpPr/>
                <p:nvPr/>
              </p:nvSpPr>
              <p:spPr>
                <a:xfrm>
                  <a:off x="6342474" y="5276483"/>
                  <a:ext cx="2808311" cy="1193812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rgbClr val="C046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endParaRPr lang="en-US" altLang="ko-KR" sz="3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algn="ctr"/>
                  <a:r>
                    <a:rPr lang="en-US" altLang="ko-KR" sz="12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</a:t>
                  </a:r>
                  <a:endParaRPr lang="en-US" altLang="ko-KR" sz="1200" dirty="0"/>
                </a:p>
                <a:p>
                  <a:pPr algn="ctr"/>
                  <a:r>
                    <a:rPr lang="en-US" altLang="ko-KR" dirty="0"/>
                    <a:t> </a:t>
                  </a:r>
                </a:p>
              </p:txBody>
            </p:sp>
            <p:grpSp>
              <p:nvGrpSpPr>
                <p:cNvPr id="76" name="그룹 75">
                  <a:extLst>
                    <a:ext uri="{FF2B5EF4-FFF2-40B4-BE49-F238E27FC236}">
                      <a16:creationId xmlns:a16="http://schemas.microsoft.com/office/drawing/2014/main" id="{5A8679C9-2C20-4A1B-99B2-00A50BAE06DA}"/>
                    </a:ext>
                  </a:extLst>
                </p:cNvPr>
                <p:cNvGrpSpPr/>
                <p:nvPr/>
              </p:nvGrpSpPr>
              <p:grpSpPr>
                <a:xfrm>
                  <a:off x="6297958" y="5504464"/>
                  <a:ext cx="2827253" cy="965832"/>
                  <a:chOff x="9336360" y="5376059"/>
                  <a:chExt cx="2827253" cy="965832"/>
                </a:xfrm>
              </p:grpSpPr>
              <p:grpSp>
                <p:nvGrpSpPr>
                  <p:cNvPr id="77" name="그룹 76">
                    <a:extLst>
                      <a:ext uri="{FF2B5EF4-FFF2-40B4-BE49-F238E27FC236}">
                        <a16:creationId xmlns:a16="http://schemas.microsoft.com/office/drawing/2014/main" id="{2734CA54-F426-407C-987A-6DB467B08603}"/>
                      </a:ext>
                    </a:extLst>
                  </p:cNvPr>
                  <p:cNvGrpSpPr/>
                  <p:nvPr/>
                </p:nvGrpSpPr>
                <p:grpSpPr>
                  <a:xfrm>
                    <a:off x="9336360" y="5376059"/>
                    <a:ext cx="2827253" cy="965832"/>
                    <a:chOff x="4996063" y="4002032"/>
                    <a:chExt cx="2827253" cy="965832"/>
                  </a:xfrm>
                </p:grpSpPr>
                <p:sp>
                  <p:nvSpPr>
                    <p:cNvPr id="80" name="직사각형 79">
                      <a:extLst>
                        <a:ext uri="{FF2B5EF4-FFF2-40B4-BE49-F238E27FC236}">
                          <a16:creationId xmlns:a16="http://schemas.microsoft.com/office/drawing/2014/main" id="{9F514FD9-CA20-4E90-B3B2-EC5746E466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96063" y="4002032"/>
                      <a:ext cx="2808311" cy="96583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/>
                      <a:endParaRPr lang="en-US" altLang="ko-KR" sz="3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altLang="ko-KR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 C  D               I                    P            0 0 0 0 1</a:t>
                      </a:r>
                    </a:p>
                    <a:p>
                      <a:pPr algn="ctr"/>
                      <a:endParaRPr lang="en-US" altLang="ko-KR" sz="1200" dirty="0"/>
                    </a:p>
                    <a:p>
                      <a:pPr algn="ctr"/>
                      <a:r>
                        <a:rPr lang="en-US" altLang="ko-KR" dirty="0"/>
                        <a:t> </a:t>
                      </a:r>
                    </a:p>
                  </p:txBody>
                </p:sp>
                <p:cxnSp>
                  <p:nvCxnSpPr>
                    <p:cNvPr id="81" name="직선 연결선 80">
                      <a:extLst>
                        <a:ext uri="{FF2B5EF4-FFF2-40B4-BE49-F238E27FC236}">
                          <a16:creationId xmlns:a16="http://schemas.microsoft.com/office/drawing/2014/main" id="{8C983773-E7BD-49EA-86D5-83D461C39AD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5154497" y="4292975"/>
                      <a:ext cx="307469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2" name="직사각형 81">
                      <a:extLst>
                        <a:ext uri="{FF2B5EF4-FFF2-40B4-BE49-F238E27FC236}">
                          <a16:creationId xmlns:a16="http://schemas.microsoft.com/office/drawing/2014/main" id="{20FFED8C-434E-4FA2-AA45-2DAAA3C724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45887" y="4319711"/>
                      <a:ext cx="654396" cy="47560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D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M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N</a:t>
                      </a:r>
                    </a:p>
                  </p:txBody>
                </p:sp>
                <p:cxnSp>
                  <p:nvCxnSpPr>
                    <p:cNvPr id="83" name="직선 연결선 82">
                      <a:extLst>
                        <a:ext uri="{FF2B5EF4-FFF2-40B4-BE49-F238E27FC236}">
                          <a16:creationId xmlns:a16="http://schemas.microsoft.com/office/drawing/2014/main" id="{DBA89356-F7C9-47CA-9290-AEF5A022C76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6580239" y="4301769"/>
                      <a:ext cx="216024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4" name="직사각형 83">
                      <a:extLst>
                        <a:ext uri="{FF2B5EF4-FFF2-40B4-BE49-F238E27FC236}">
                          <a16:creationId xmlns:a16="http://schemas.microsoft.com/office/drawing/2014/main" id="{2D3FCB77-AEEB-45E1-BB64-E68EF87541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7604" y="4316161"/>
                      <a:ext cx="580846" cy="46476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P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외부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A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endParaRPr lang="en-US" altLang="ko-KR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p:txBody>
                </p:sp>
                <p:cxnSp>
                  <p:nvCxnSpPr>
                    <p:cNvPr id="85" name="직선 연결선 84">
                      <a:extLst>
                        <a:ext uri="{FF2B5EF4-FFF2-40B4-BE49-F238E27FC236}">
                          <a16:creationId xmlns:a16="http://schemas.microsoft.com/office/drawing/2014/main" id="{B0124A2D-DCC8-4D9F-8905-23F8A4953DF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7134196" y="4301769"/>
                      <a:ext cx="670178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6" name="직사각형 85">
                      <a:extLst>
                        <a:ext uri="{FF2B5EF4-FFF2-40B4-BE49-F238E27FC236}">
                          <a16:creationId xmlns:a16="http://schemas.microsoft.com/office/drawing/2014/main" id="{FF6A2EC2-650A-4289-B054-A1F1B5EF78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9520" y="4319711"/>
                      <a:ext cx="693796" cy="43216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련번호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～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9,999</a:t>
                      </a:r>
                    </a:p>
                  </p:txBody>
                </p:sp>
              </p:grpSp>
              <p:sp>
                <p:nvSpPr>
                  <p:cNvPr id="78" name="직사각형 77">
                    <a:extLst>
                      <a:ext uri="{FF2B5EF4-FFF2-40B4-BE49-F238E27FC236}">
                        <a16:creationId xmlns:a16="http://schemas.microsoft.com/office/drawing/2014/main" id="{6D8E09F5-E284-4702-BE26-0F7E536618D2}"/>
                      </a:ext>
                    </a:extLst>
                  </p:cNvPr>
                  <p:cNvSpPr/>
                  <p:nvPr/>
                </p:nvSpPr>
                <p:spPr>
                  <a:xfrm>
                    <a:off x="9910640" y="5690188"/>
                    <a:ext cx="1034721" cy="46476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 err="1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컨텐츠업로드</a:t>
                    </a: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I</a:t>
                    </a:r>
                  </a:p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아웃링크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O</a:t>
                    </a:r>
                  </a:p>
                </p:txBody>
              </p:sp>
              <p:cxnSp>
                <p:nvCxnSpPr>
                  <p:cNvPr id="79" name="직선 연결선 78">
                    <a:extLst>
                      <a:ext uri="{FF2B5EF4-FFF2-40B4-BE49-F238E27FC236}">
                        <a16:creationId xmlns:a16="http://schemas.microsoft.com/office/drawing/2014/main" id="{A5FAD771-1B5E-40D1-8AEE-456F9F78F35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00456" y="5667002"/>
                    <a:ext cx="225509" cy="0"/>
                  </a:xfrm>
                  <a:prstGeom prst="line">
                    <a:avLst/>
                  </a:prstGeom>
                  <a:ln w="12700">
                    <a:noFill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5" name="직선 연결선 4">
                <a:extLst>
                  <a:ext uri="{FF2B5EF4-FFF2-40B4-BE49-F238E27FC236}">
                    <a16:creationId xmlns:a16="http://schemas.microsoft.com/office/drawing/2014/main" id="{BBC45121-52CA-40E9-862A-7DD69CF692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34134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직선 연결선 89">
                <a:extLst>
                  <a:ext uri="{FF2B5EF4-FFF2-40B4-BE49-F238E27FC236}">
                    <a16:creationId xmlns:a16="http://schemas.microsoft.com/office/drawing/2014/main" id="{F6EF204D-B5A1-448F-9143-BC79378180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8936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직선 연결선 90">
                <a:extLst>
                  <a:ext uri="{FF2B5EF4-FFF2-40B4-BE49-F238E27FC236}">
                    <a16:creationId xmlns:a16="http://schemas.microsoft.com/office/drawing/2014/main" id="{E8EFEB8F-D9FD-4322-9DBA-B79D097CF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39912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직선 연결선 91">
                <a:extLst>
                  <a:ext uri="{FF2B5EF4-FFF2-40B4-BE49-F238E27FC236}">
                    <a16:creationId xmlns:a16="http://schemas.microsoft.com/office/drawing/2014/main" id="{C562B512-999D-4F11-BC4C-AE60ECD111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09157" y="6045865"/>
                <a:ext cx="57767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EC15439-B9F6-443B-BFD9-C5F17329ECCD}"/>
                </a:ext>
              </a:extLst>
            </p:cNvPr>
            <p:cNvSpPr/>
            <p:nvPr/>
          </p:nvSpPr>
          <p:spPr>
            <a:xfrm>
              <a:off x="6278887" y="5502126"/>
              <a:ext cx="1547689" cy="17608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텐츠 번호 생성 규칙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78160E85-5E00-4556-B85E-02F020CCAC71}"/>
              </a:ext>
            </a:extLst>
          </p:cNvPr>
          <p:cNvSpPr/>
          <p:nvPr/>
        </p:nvSpPr>
        <p:spPr>
          <a:xfrm>
            <a:off x="383562" y="235791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4B4ACEEA-4808-4D7D-86EA-A1529296AF08}"/>
              </a:ext>
            </a:extLst>
          </p:cNvPr>
          <p:cNvSpPr/>
          <p:nvPr/>
        </p:nvSpPr>
        <p:spPr>
          <a:xfrm>
            <a:off x="383562" y="262759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77A26480-D338-4666-94E2-8E7AF49B442A}"/>
              </a:ext>
            </a:extLst>
          </p:cNvPr>
          <p:cNvSpPr/>
          <p:nvPr/>
        </p:nvSpPr>
        <p:spPr>
          <a:xfrm>
            <a:off x="383562" y="289338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77DF8E22-68A1-4038-9970-CD7E3C028DB0}"/>
              </a:ext>
            </a:extLst>
          </p:cNvPr>
          <p:cNvSpPr/>
          <p:nvPr/>
        </p:nvSpPr>
        <p:spPr>
          <a:xfrm>
            <a:off x="383562" y="31542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9" name="사각형: 둥근 모서리 108">
            <a:extLst>
              <a:ext uri="{FF2B5EF4-FFF2-40B4-BE49-F238E27FC236}">
                <a16:creationId xmlns:a16="http://schemas.microsoft.com/office/drawing/2014/main" id="{5312E0E1-9577-42F6-B179-5206FE260344}"/>
              </a:ext>
            </a:extLst>
          </p:cNvPr>
          <p:cNvSpPr/>
          <p:nvPr/>
        </p:nvSpPr>
        <p:spPr>
          <a:xfrm>
            <a:off x="383562" y="344824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611BE7E0-EA4F-4D4B-A463-1FF66A9C4570}"/>
              </a:ext>
            </a:extLst>
          </p:cNvPr>
          <p:cNvSpPr/>
          <p:nvPr/>
        </p:nvSpPr>
        <p:spPr>
          <a:xfrm>
            <a:off x="383562" y="18235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6" name="사각형: 둥근 모서리 95">
            <a:extLst>
              <a:ext uri="{FF2B5EF4-FFF2-40B4-BE49-F238E27FC236}">
                <a16:creationId xmlns:a16="http://schemas.microsoft.com/office/drawing/2014/main" id="{A2A1A923-BB1C-4EF5-A040-26F1DEB9051D}"/>
              </a:ext>
            </a:extLst>
          </p:cNvPr>
          <p:cNvSpPr/>
          <p:nvPr/>
        </p:nvSpPr>
        <p:spPr>
          <a:xfrm>
            <a:off x="383562" y="20947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A5358F55-7F42-4E61-92F7-743605AADD29}"/>
              </a:ext>
            </a:extLst>
          </p:cNvPr>
          <p:cNvSpPr/>
          <p:nvPr/>
        </p:nvSpPr>
        <p:spPr>
          <a:xfrm>
            <a:off x="383562" y="15346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C485D737-4A12-4023-96C7-B6EF85B1BEBE}"/>
              </a:ext>
            </a:extLst>
          </p:cNvPr>
          <p:cNvSpPr/>
          <p:nvPr/>
        </p:nvSpPr>
        <p:spPr>
          <a:xfrm>
            <a:off x="8969457" y="0"/>
            <a:ext cx="3218221" cy="1789874"/>
          </a:xfrm>
          <a:prstGeom prst="rect">
            <a:avLst/>
          </a:prstGeom>
          <a:solidFill>
            <a:schemeClr val="accent2"/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17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12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전시여부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: 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전체열람허용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”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값 추가전체 반영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9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유형분류 중 보고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연구 → 보고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연구로 워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                        (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컨텐츠 등록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조회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수정 화면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딩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    (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컨텐츠 등록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조회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수정 화면 전체 반영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10.20&gt;</a:t>
            </a: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Epub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파일 업로드 관련 사항 정의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3BEA6586-2432-4C03-B483-8B0AAF5BEA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366840"/>
              </p:ext>
            </p:extLst>
          </p:nvPr>
        </p:nvGraphicFramePr>
        <p:xfrm>
          <a:off x="443541" y="5949280"/>
          <a:ext cx="8455878" cy="33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935875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456032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3194002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19234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D2CBE73C-D362-44CB-BA67-45A06C46D2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190754"/>
              </p:ext>
            </p:extLst>
          </p:nvPr>
        </p:nvGraphicFramePr>
        <p:xfrm>
          <a:off x="443541" y="4173615"/>
          <a:ext cx="8455876" cy="16348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38592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" name="그룹 121">
            <a:extLst>
              <a:ext uri="{FF2B5EF4-FFF2-40B4-BE49-F238E27FC236}">
                <a16:creationId xmlns:a16="http://schemas.microsoft.com/office/drawing/2014/main" id="{20C99B7B-B0AF-4060-8590-8B524D7263FC}"/>
              </a:ext>
            </a:extLst>
          </p:cNvPr>
          <p:cNvGrpSpPr/>
          <p:nvPr/>
        </p:nvGrpSpPr>
        <p:grpSpPr>
          <a:xfrm>
            <a:off x="4021982" y="6403982"/>
            <a:ext cx="1377078" cy="180000"/>
            <a:chOff x="3931297" y="6465659"/>
            <a:chExt cx="1377078" cy="180000"/>
          </a:xfrm>
        </p:grpSpPr>
        <p:sp>
          <p:nvSpPr>
            <p:cNvPr id="123" name="사각형: 둥근 모서리 122">
              <a:extLst>
                <a:ext uri="{FF2B5EF4-FFF2-40B4-BE49-F238E27FC236}">
                  <a16:creationId xmlns:a16="http://schemas.microsoft.com/office/drawing/2014/main" id="{A51EFF36-19DB-4A24-9677-5D72EA3CF6EC}"/>
                </a:ext>
              </a:extLst>
            </p:cNvPr>
            <p:cNvSpPr/>
            <p:nvPr/>
          </p:nvSpPr>
          <p:spPr>
            <a:xfrm>
              <a:off x="3931297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</a:t>
              </a:r>
            </a:p>
          </p:txBody>
        </p:sp>
        <p:sp>
          <p:nvSpPr>
            <p:cNvPr id="124" name="사각형: 둥근 모서리 123">
              <a:extLst>
                <a:ext uri="{FF2B5EF4-FFF2-40B4-BE49-F238E27FC236}">
                  <a16:creationId xmlns:a16="http://schemas.microsoft.com/office/drawing/2014/main" id="{54DA019C-8113-4748-B1FE-FEDB45CAF493}"/>
                </a:ext>
              </a:extLst>
            </p:cNvPr>
            <p:cNvSpPr/>
            <p:nvPr/>
          </p:nvSpPr>
          <p:spPr>
            <a:xfrm>
              <a:off x="4655840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초기화</a:t>
              </a:r>
            </a:p>
          </p:txBody>
        </p:sp>
      </p:grpSp>
      <p:graphicFrame>
        <p:nvGraphicFramePr>
          <p:cNvPr id="107" name="표 106">
            <a:extLst>
              <a:ext uri="{FF2B5EF4-FFF2-40B4-BE49-F238E27FC236}">
                <a16:creationId xmlns:a16="http://schemas.microsoft.com/office/drawing/2014/main" id="{47E2C702-4CEC-4477-9504-89A1006C70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399694"/>
              </p:ext>
            </p:extLst>
          </p:nvPr>
        </p:nvGraphicFramePr>
        <p:xfrm>
          <a:off x="443541" y="5949280"/>
          <a:ext cx="8455878" cy="33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935875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456032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3194002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19234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108" name="표 107">
            <a:extLst>
              <a:ext uri="{FF2B5EF4-FFF2-40B4-BE49-F238E27FC236}">
                <a16:creationId xmlns:a16="http://schemas.microsoft.com/office/drawing/2014/main" id="{F789E231-7906-40A0-BEEB-0175A3D30B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5508114"/>
              </p:ext>
            </p:extLst>
          </p:nvPr>
        </p:nvGraphicFramePr>
        <p:xfrm>
          <a:off x="443541" y="4173615"/>
          <a:ext cx="8455876" cy="16348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2478275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영상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컨텐츠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5821" y="620253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6" name="표 12">
            <a:extLst>
              <a:ext uri="{FF2B5EF4-FFF2-40B4-BE49-F238E27FC236}">
                <a16:creationId xmlns:a16="http://schemas.microsoft.com/office/drawing/2014/main" id="{FAFA8B38-C9E2-4A9C-A01A-1739907674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1659915"/>
              </p:ext>
            </p:extLst>
          </p:nvPr>
        </p:nvGraphicFramePr>
        <p:xfrm>
          <a:off x="443541" y="1476944"/>
          <a:ext cx="8423935" cy="26360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0439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302453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889763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403558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902555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738376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  <a:gridCol w="658395">
                  <a:extLst>
                    <a:ext uri="{9D8B030D-6E8A-4147-A177-3AD203B41FA5}">
                      <a16:colId xmlns:a16="http://schemas.microsoft.com/office/drawing/2014/main" val="1801343721"/>
                    </a:ext>
                  </a:extLst>
                </a:gridCol>
                <a:gridCol w="658396">
                  <a:extLst>
                    <a:ext uri="{9D8B030D-6E8A-4147-A177-3AD203B41FA5}">
                      <a16:colId xmlns:a16="http://schemas.microsoft.com/office/drawing/2014/main" val="4291524393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문서  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영상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81298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컨텐츠 업로드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읏링크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형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 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6641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 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47607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열람허용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 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가능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가능             ●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489024FD-7F80-49A3-887D-85867E4F1E55}"/>
              </a:ext>
            </a:extLst>
          </p:cNvPr>
          <p:cNvSpPr/>
          <p:nvPr/>
        </p:nvSpPr>
        <p:spPr>
          <a:xfrm>
            <a:off x="1384768" y="2338412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178179FD-B710-4467-864A-EA53B8423A60}"/>
              </a:ext>
            </a:extLst>
          </p:cNvPr>
          <p:cNvSpPr/>
          <p:nvPr/>
        </p:nvSpPr>
        <p:spPr>
          <a:xfrm>
            <a:off x="4553668" y="2333534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3151DEBD-C741-437F-9BD6-429D4690AEC0}"/>
              </a:ext>
            </a:extLst>
          </p:cNvPr>
          <p:cNvGrpSpPr/>
          <p:nvPr/>
        </p:nvGrpSpPr>
        <p:grpSpPr>
          <a:xfrm>
            <a:off x="4507299" y="3257353"/>
            <a:ext cx="3711546" cy="175761"/>
            <a:chOff x="4535523" y="2896789"/>
            <a:chExt cx="3711546" cy="175761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1CEB0E8F-3893-4D41-B9B8-5B2AB66E1493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4" name="그룹 173">
                <a:extLst>
                  <a:ext uri="{FF2B5EF4-FFF2-40B4-BE49-F238E27FC236}">
                    <a16:creationId xmlns:a16="http://schemas.microsoft.com/office/drawing/2014/main" id="{08CE6B5D-F6C7-4F24-9055-E92F20610776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96" name="직사각형 195">
                  <a:extLst>
                    <a:ext uri="{FF2B5EF4-FFF2-40B4-BE49-F238E27FC236}">
                      <a16:creationId xmlns:a16="http://schemas.microsoft.com/office/drawing/2014/main" id="{82C211D7-9D16-4A2B-94C9-F0FDEF298023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97" name="직사각형 196">
                  <a:extLst>
                    <a:ext uri="{FF2B5EF4-FFF2-40B4-BE49-F238E27FC236}">
                      <a16:creationId xmlns:a16="http://schemas.microsoft.com/office/drawing/2014/main" id="{02B3B37E-EC78-4898-8460-32193AB3DD9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98" name="그림 197">
                  <a:extLst>
                    <a:ext uri="{FF2B5EF4-FFF2-40B4-BE49-F238E27FC236}">
                      <a16:creationId xmlns:a16="http://schemas.microsoft.com/office/drawing/2014/main" id="{7EA89D27-E7B8-4A9B-A14C-EF5A958029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96306674-D4D1-4BCE-BA6E-044AF35CE08D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9" name="직사각형 178">
                <a:extLst>
                  <a:ext uri="{FF2B5EF4-FFF2-40B4-BE49-F238E27FC236}">
                    <a16:creationId xmlns:a16="http://schemas.microsoft.com/office/drawing/2014/main" id="{119CA91D-08CC-4597-8E7B-BC3A7CE843B6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2" name="직사각형 201">
                <a:extLst>
                  <a:ext uri="{FF2B5EF4-FFF2-40B4-BE49-F238E27FC236}">
                    <a16:creationId xmlns:a16="http://schemas.microsoft.com/office/drawing/2014/main" id="{B7993C22-B48C-497B-993B-B6AF34E471D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3" name="직사각형 202">
                <a:extLst>
                  <a:ext uri="{FF2B5EF4-FFF2-40B4-BE49-F238E27FC236}">
                    <a16:creationId xmlns:a16="http://schemas.microsoft.com/office/drawing/2014/main" id="{F5E185A2-B398-4C0B-B278-5D4B31A09B8E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4" name="직사각형 203">
                <a:extLst>
                  <a:ext uri="{FF2B5EF4-FFF2-40B4-BE49-F238E27FC236}">
                    <a16:creationId xmlns:a16="http://schemas.microsoft.com/office/drawing/2014/main" id="{8F6FAC83-FD4E-438E-8278-946FB419E8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205" name="그룹 204">
              <a:extLst>
                <a:ext uri="{FF2B5EF4-FFF2-40B4-BE49-F238E27FC236}">
                  <a16:creationId xmlns:a16="http://schemas.microsoft.com/office/drawing/2014/main" id="{B6A2D1A9-64D5-4DC8-9EFB-ED4F2C52E495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206" name="그룹 205">
                <a:extLst>
                  <a:ext uri="{FF2B5EF4-FFF2-40B4-BE49-F238E27FC236}">
                    <a16:creationId xmlns:a16="http://schemas.microsoft.com/office/drawing/2014/main" id="{A14F1E05-0861-4A3F-8CD7-FC066155038B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212" name="직사각형 211">
                  <a:extLst>
                    <a:ext uri="{FF2B5EF4-FFF2-40B4-BE49-F238E27FC236}">
                      <a16:creationId xmlns:a16="http://schemas.microsoft.com/office/drawing/2014/main" id="{F60D1063-6954-4473-8166-A197B67164B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213" name="직사각형 212">
                  <a:extLst>
                    <a:ext uri="{FF2B5EF4-FFF2-40B4-BE49-F238E27FC236}">
                      <a16:creationId xmlns:a16="http://schemas.microsoft.com/office/drawing/2014/main" id="{76AB009E-C053-4F2F-8C91-60ECDFF5DC4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214" name="그림 213">
                  <a:extLst>
                    <a:ext uri="{FF2B5EF4-FFF2-40B4-BE49-F238E27FC236}">
                      <a16:creationId xmlns:a16="http://schemas.microsoft.com/office/drawing/2014/main" id="{73936F88-5CE9-40BA-86D8-D0EC39D1A9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208" name="직사각형 207">
                <a:extLst>
                  <a:ext uri="{FF2B5EF4-FFF2-40B4-BE49-F238E27FC236}">
                    <a16:creationId xmlns:a16="http://schemas.microsoft.com/office/drawing/2014/main" id="{76BF78C6-6071-43B8-ABE6-473825E62152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12-31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9" name="직사각형 208">
                <a:extLst>
                  <a:ext uri="{FF2B5EF4-FFF2-40B4-BE49-F238E27FC236}">
                    <a16:creationId xmlns:a16="http://schemas.microsoft.com/office/drawing/2014/main" id="{44A1005F-22E7-475A-BFB6-61C93CB1240E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0" name="직사각형 209">
                <a:extLst>
                  <a:ext uri="{FF2B5EF4-FFF2-40B4-BE49-F238E27FC236}">
                    <a16:creationId xmlns:a16="http://schemas.microsoft.com/office/drawing/2014/main" id="{92747398-46BD-44B6-A478-23E7E782A23A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1" name="직사각형 210">
                <a:extLst>
                  <a:ext uri="{FF2B5EF4-FFF2-40B4-BE49-F238E27FC236}">
                    <a16:creationId xmlns:a16="http://schemas.microsoft.com/office/drawing/2014/main" id="{6654E2FE-3C1B-4A12-8DE8-D6D4405B04D0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228" name="직사각형 227">
              <a:extLst>
                <a:ext uri="{FF2B5EF4-FFF2-40B4-BE49-F238E27FC236}">
                  <a16:creationId xmlns:a16="http://schemas.microsoft.com/office/drawing/2014/main" id="{6529F0E2-0048-4CFC-A65F-E9928BEFF93B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229" name="사각형: 둥근 모서리 228">
              <a:extLst>
                <a:ext uri="{FF2B5EF4-FFF2-40B4-BE49-F238E27FC236}">
                  <a16:creationId xmlns:a16="http://schemas.microsoft.com/office/drawing/2014/main" id="{17F7A4B1-05DA-4EB4-8988-671337DA11CC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30" name="그림 229">
              <a:extLst>
                <a:ext uri="{FF2B5EF4-FFF2-40B4-BE49-F238E27FC236}">
                  <a16:creationId xmlns:a16="http://schemas.microsoft.com/office/drawing/2014/main" id="{C6A56D4E-0B59-4417-8E0C-0021C92DC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grpSp>
        <p:nvGrpSpPr>
          <p:cNvPr id="253" name="그룹 252">
            <a:extLst>
              <a:ext uri="{FF2B5EF4-FFF2-40B4-BE49-F238E27FC236}">
                <a16:creationId xmlns:a16="http://schemas.microsoft.com/office/drawing/2014/main" id="{60F5DCD9-5570-40F0-9995-D5572595432E}"/>
              </a:ext>
            </a:extLst>
          </p:cNvPr>
          <p:cNvGrpSpPr/>
          <p:nvPr/>
        </p:nvGrpSpPr>
        <p:grpSpPr>
          <a:xfrm>
            <a:off x="6880468" y="2603356"/>
            <a:ext cx="1065951" cy="172800"/>
            <a:chOff x="1260034" y="1778319"/>
            <a:chExt cx="1065951" cy="172800"/>
          </a:xfrm>
        </p:grpSpPr>
        <p:sp>
          <p:nvSpPr>
            <p:cNvPr id="256" name="직사각형 255">
              <a:extLst>
                <a:ext uri="{FF2B5EF4-FFF2-40B4-BE49-F238E27FC236}">
                  <a16:creationId xmlns:a16="http://schemas.microsoft.com/office/drawing/2014/main" id="{9AAA2FDF-45A4-4C51-80BD-11AA16F5BD7C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57" name="직사각형 256">
              <a:extLst>
                <a:ext uri="{FF2B5EF4-FFF2-40B4-BE49-F238E27FC236}">
                  <a16:creationId xmlns:a16="http://schemas.microsoft.com/office/drawing/2014/main" id="{6491BDD4-4782-4EB8-921F-CB00D9CF6468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5" name="그룹 274">
            <a:extLst>
              <a:ext uri="{FF2B5EF4-FFF2-40B4-BE49-F238E27FC236}">
                <a16:creationId xmlns:a16="http://schemas.microsoft.com/office/drawing/2014/main" id="{A9A191A0-4A36-408D-A2F1-D7951C26F968}"/>
              </a:ext>
            </a:extLst>
          </p:cNvPr>
          <p:cNvGrpSpPr/>
          <p:nvPr/>
        </p:nvGrpSpPr>
        <p:grpSpPr>
          <a:xfrm>
            <a:off x="6880468" y="2870933"/>
            <a:ext cx="1065951" cy="172800"/>
            <a:chOff x="1260034" y="1778319"/>
            <a:chExt cx="1065951" cy="172800"/>
          </a:xfrm>
        </p:grpSpPr>
        <p:sp>
          <p:nvSpPr>
            <p:cNvPr id="276" name="직사각형 275">
              <a:extLst>
                <a:ext uri="{FF2B5EF4-FFF2-40B4-BE49-F238E27FC236}">
                  <a16:creationId xmlns:a16="http://schemas.microsoft.com/office/drawing/2014/main" id="{C4737F8E-AC4C-41E5-A73A-5DA823BA68A7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C0FC404D-93E0-4EF0-8355-DA96AFD7A30E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8" name="그룹 277">
            <a:extLst>
              <a:ext uri="{FF2B5EF4-FFF2-40B4-BE49-F238E27FC236}">
                <a16:creationId xmlns:a16="http://schemas.microsoft.com/office/drawing/2014/main" id="{D2DFE4EA-566D-4198-8AB6-A38B360FC5A2}"/>
              </a:ext>
            </a:extLst>
          </p:cNvPr>
          <p:cNvGrpSpPr/>
          <p:nvPr/>
        </p:nvGrpSpPr>
        <p:grpSpPr>
          <a:xfrm>
            <a:off x="1388392" y="2867996"/>
            <a:ext cx="983380" cy="172800"/>
            <a:chOff x="1260034" y="1778319"/>
            <a:chExt cx="983380" cy="172800"/>
          </a:xfrm>
        </p:grpSpPr>
        <p:sp>
          <p:nvSpPr>
            <p:cNvPr id="279" name="직사각형 278">
              <a:extLst>
                <a:ext uri="{FF2B5EF4-FFF2-40B4-BE49-F238E27FC236}">
                  <a16:creationId xmlns:a16="http://schemas.microsoft.com/office/drawing/2014/main" id="{74E5A847-9C16-4BF5-84D2-D083F7C98E0C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80" name="직사각형 279">
              <a:extLst>
                <a:ext uri="{FF2B5EF4-FFF2-40B4-BE49-F238E27FC236}">
                  <a16:creationId xmlns:a16="http://schemas.microsoft.com/office/drawing/2014/main" id="{72DB68FC-9892-4EE6-8A6A-279788DB1F84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87" name="직사각형 286">
            <a:extLst>
              <a:ext uri="{FF2B5EF4-FFF2-40B4-BE49-F238E27FC236}">
                <a16:creationId xmlns:a16="http://schemas.microsoft.com/office/drawing/2014/main" id="{D77B06E9-8DF5-44D4-9A42-5FE931673FDB}"/>
              </a:ext>
            </a:extLst>
          </p:cNvPr>
          <p:cNvSpPr/>
          <p:nvPr/>
        </p:nvSpPr>
        <p:spPr>
          <a:xfrm>
            <a:off x="4559882" y="3870355"/>
            <a:ext cx="407200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우선순위에 따라 콤마로 구분하여 입력하세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9" name="직사각형 288">
            <a:extLst>
              <a:ext uri="{FF2B5EF4-FFF2-40B4-BE49-F238E27FC236}">
                <a16:creationId xmlns:a16="http://schemas.microsoft.com/office/drawing/2014/main" id="{E165B56A-FF30-429A-AB3B-9D56082FFE4B}"/>
              </a:ext>
            </a:extLst>
          </p:cNvPr>
          <p:cNvSpPr/>
          <p:nvPr/>
        </p:nvSpPr>
        <p:spPr>
          <a:xfrm>
            <a:off x="1342120" y="2065346"/>
            <a:ext cx="375378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1_Foundation 2021.pdf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0" name="직사각형 289">
            <a:extLst>
              <a:ext uri="{FF2B5EF4-FFF2-40B4-BE49-F238E27FC236}">
                <a16:creationId xmlns:a16="http://schemas.microsoft.com/office/drawing/2014/main" id="{06EA207C-D1DD-4471-8552-9015B270696B}"/>
              </a:ext>
            </a:extLst>
          </p:cNvPr>
          <p:cNvSpPr/>
          <p:nvPr/>
        </p:nvSpPr>
        <p:spPr>
          <a:xfrm>
            <a:off x="5130958" y="2064651"/>
            <a:ext cx="642450" cy="16621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선택</a:t>
            </a:r>
          </a:p>
        </p:txBody>
      </p:sp>
      <p:sp>
        <p:nvSpPr>
          <p:cNvPr id="291" name="직사각형 290">
            <a:extLst>
              <a:ext uri="{FF2B5EF4-FFF2-40B4-BE49-F238E27FC236}">
                <a16:creationId xmlns:a16="http://schemas.microsoft.com/office/drawing/2014/main" id="{B9D3526C-6DAE-4532-91B5-B3FAEB66DB87}"/>
              </a:ext>
            </a:extLst>
          </p:cNvPr>
          <p:cNvSpPr/>
          <p:nvPr/>
        </p:nvSpPr>
        <p:spPr>
          <a:xfrm>
            <a:off x="6880468" y="2070646"/>
            <a:ext cx="546202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DF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4" name="그룹 293">
            <a:extLst>
              <a:ext uri="{FF2B5EF4-FFF2-40B4-BE49-F238E27FC236}">
                <a16:creationId xmlns:a16="http://schemas.microsoft.com/office/drawing/2014/main" id="{F0153F10-0BBB-4FA5-AE0F-E52D0D2417F1}"/>
              </a:ext>
            </a:extLst>
          </p:cNvPr>
          <p:cNvGrpSpPr/>
          <p:nvPr/>
        </p:nvGrpSpPr>
        <p:grpSpPr>
          <a:xfrm>
            <a:off x="4559882" y="2870614"/>
            <a:ext cx="1065951" cy="172800"/>
            <a:chOff x="1260034" y="1778319"/>
            <a:chExt cx="1065951" cy="172800"/>
          </a:xfrm>
        </p:grpSpPr>
        <p:sp>
          <p:nvSpPr>
            <p:cNvPr id="295" name="직사각형 294">
              <a:extLst>
                <a:ext uri="{FF2B5EF4-FFF2-40B4-BE49-F238E27FC236}">
                  <a16:creationId xmlns:a16="http://schemas.microsoft.com/office/drawing/2014/main" id="{3F6A89BD-D88F-49FD-B756-E9E6E3DD3719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96" name="직사각형 295">
              <a:extLst>
                <a:ext uri="{FF2B5EF4-FFF2-40B4-BE49-F238E27FC236}">
                  <a16:creationId xmlns:a16="http://schemas.microsoft.com/office/drawing/2014/main" id="{9A430EA1-04CA-4C4E-9A8B-8B7406D7E80E}"/>
                </a:ext>
              </a:extLst>
            </p:cNvPr>
            <p:cNvSpPr/>
            <p:nvPr/>
          </p:nvSpPr>
          <p:spPr>
            <a:xfrm>
              <a:off x="2109961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00" name="직사각형 299">
            <a:extLst>
              <a:ext uri="{FF2B5EF4-FFF2-40B4-BE49-F238E27FC236}">
                <a16:creationId xmlns:a16="http://schemas.microsoft.com/office/drawing/2014/main" id="{1D64D8FC-A849-4330-ADEE-E05CD44C6D57}"/>
              </a:ext>
            </a:extLst>
          </p:cNvPr>
          <p:cNvSpPr/>
          <p:nvPr/>
        </p:nvSpPr>
        <p:spPr>
          <a:xfrm>
            <a:off x="8321274" y="2070646"/>
            <a:ext cx="546202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4" name="직사각형 303">
            <a:extLst>
              <a:ext uri="{FF2B5EF4-FFF2-40B4-BE49-F238E27FC236}">
                <a16:creationId xmlns:a16="http://schemas.microsoft.com/office/drawing/2014/main" id="{56C72D9F-6945-4DCA-B045-42D7FFFA6125}"/>
              </a:ext>
            </a:extLst>
          </p:cNvPr>
          <p:cNvSpPr/>
          <p:nvPr/>
        </p:nvSpPr>
        <p:spPr>
          <a:xfrm>
            <a:off x="1384767" y="2593822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6FC6B508-A697-4F7A-B4E9-C94BFD3B2B53}"/>
              </a:ext>
            </a:extLst>
          </p:cNvPr>
          <p:cNvGrpSpPr/>
          <p:nvPr/>
        </p:nvGrpSpPr>
        <p:grpSpPr>
          <a:xfrm>
            <a:off x="3231590" y="2592832"/>
            <a:ext cx="169472" cy="169472"/>
            <a:chOff x="3180922" y="2352202"/>
            <a:chExt cx="169472" cy="169472"/>
          </a:xfrm>
        </p:grpSpPr>
        <p:sp>
          <p:nvSpPr>
            <p:cNvPr id="305" name="사각형: 둥근 모서리 304">
              <a:extLst>
                <a:ext uri="{FF2B5EF4-FFF2-40B4-BE49-F238E27FC236}">
                  <a16:creationId xmlns:a16="http://schemas.microsoft.com/office/drawing/2014/main" id="{1F350384-9B7F-461C-A440-D6CB828072FE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06" name="그림 305">
              <a:extLst>
                <a:ext uri="{FF2B5EF4-FFF2-40B4-BE49-F238E27FC236}">
                  <a16:creationId xmlns:a16="http://schemas.microsoft.com/office/drawing/2014/main" id="{37B752C4-9AC3-4471-BE71-E93F18D52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307" name="그룹 306">
            <a:extLst>
              <a:ext uri="{FF2B5EF4-FFF2-40B4-BE49-F238E27FC236}">
                <a16:creationId xmlns:a16="http://schemas.microsoft.com/office/drawing/2014/main" id="{42A05CBC-2B80-4BA9-931B-31EC003B135C}"/>
              </a:ext>
            </a:extLst>
          </p:cNvPr>
          <p:cNvGrpSpPr/>
          <p:nvPr/>
        </p:nvGrpSpPr>
        <p:grpSpPr>
          <a:xfrm>
            <a:off x="2428674" y="2865898"/>
            <a:ext cx="1067418" cy="172800"/>
            <a:chOff x="1260034" y="1778319"/>
            <a:chExt cx="1067418" cy="172800"/>
          </a:xfrm>
        </p:grpSpPr>
        <p:sp>
          <p:nvSpPr>
            <p:cNvPr id="308" name="직사각형 307">
              <a:extLst>
                <a:ext uri="{FF2B5EF4-FFF2-40B4-BE49-F238E27FC236}">
                  <a16:creationId xmlns:a16="http://schemas.microsoft.com/office/drawing/2014/main" id="{C83E80D5-F795-404C-B8A5-0EC5FD869898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309" name="직사각형 308">
              <a:extLst>
                <a:ext uri="{FF2B5EF4-FFF2-40B4-BE49-F238E27FC236}">
                  <a16:creationId xmlns:a16="http://schemas.microsoft.com/office/drawing/2014/main" id="{05B9EC14-43BC-46F8-8496-0782DA4E981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323" name="그룹 322">
            <a:extLst>
              <a:ext uri="{FF2B5EF4-FFF2-40B4-BE49-F238E27FC236}">
                <a16:creationId xmlns:a16="http://schemas.microsoft.com/office/drawing/2014/main" id="{824313F4-B630-4DA2-B9FA-2CC85C41B592}"/>
              </a:ext>
            </a:extLst>
          </p:cNvPr>
          <p:cNvGrpSpPr/>
          <p:nvPr/>
        </p:nvGrpSpPr>
        <p:grpSpPr>
          <a:xfrm>
            <a:off x="6880468" y="2333534"/>
            <a:ext cx="589035" cy="172800"/>
            <a:chOff x="1260034" y="1778319"/>
            <a:chExt cx="589035" cy="172800"/>
          </a:xfrm>
        </p:grpSpPr>
        <p:sp>
          <p:nvSpPr>
            <p:cNvPr id="324" name="직사각형 323">
              <a:extLst>
                <a:ext uri="{FF2B5EF4-FFF2-40B4-BE49-F238E27FC236}">
                  <a16:creationId xmlns:a16="http://schemas.microsoft.com/office/drawing/2014/main" id="{DB980864-2E0F-4C1D-829D-281274C4283F}"/>
                </a:ext>
              </a:extLst>
            </p:cNvPr>
            <p:cNvSpPr/>
            <p:nvPr/>
          </p:nvSpPr>
          <p:spPr>
            <a:xfrm>
              <a:off x="1260034" y="1778319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도</a:t>
              </a:r>
            </a:p>
          </p:txBody>
        </p:sp>
        <p:sp>
          <p:nvSpPr>
            <p:cNvPr id="325" name="직사각형 324">
              <a:extLst>
                <a:ext uri="{FF2B5EF4-FFF2-40B4-BE49-F238E27FC236}">
                  <a16:creationId xmlns:a16="http://schemas.microsoft.com/office/drawing/2014/main" id="{261C56E6-E71F-49D6-A5AF-37FB9BFD2B4E}"/>
                </a:ext>
              </a:extLst>
            </p:cNvPr>
            <p:cNvSpPr/>
            <p:nvPr/>
          </p:nvSpPr>
          <p:spPr>
            <a:xfrm>
              <a:off x="1633045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30" name="직사각형 329">
            <a:extLst>
              <a:ext uri="{FF2B5EF4-FFF2-40B4-BE49-F238E27FC236}">
                <a16:creationId xmlns:a16="http://schemas.microsoft.com/office/drawing/2014/main" id="{D1D71848-E3B5-4132-8ABF-5DB7A93CA324}"/>
              </a:ext>
            </a:extLst>
          </p:cNvPr>
          <p:cNvSpPr/>
          <p:nvPr/>
        </p:nvSpPr>
        <p:spPr>
          <a:xfrm>
            <a:off x="7543889" y="2335852"/>
            <a:ext cx="373011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1" name="직사각형 330">
            <a:extLst>
              <a:ext uri="{FF2B5EF4-FFF2-40B4-BE49-F238E27FC236}">
                <a16:creationId xmlns:a16="http://schemas.microsoft.com/office/drawing/2014/main" id="{A0F20997-C6B2-4601-A1B2-50BA5524AC08}"/>
              </a:ext>
            </a:extLst>
          </p:cNvPr>
          <p:cNvSpPr/>
          <p:nvPr/>
        </p:nvSpPr>
        <p:spPr>
          <a:xfrm>
            <a:off x="7946420" y="2335852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9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2" name="직사각형 331">
            <a:extLst>
              <a:ext uri="{FF2B5EF4-FFF2-40B4-BE49-F238E27FC236}">
                <a16:creationId xmlns:a16="http://schemas.microsoft.com/office/drawing/2014/main" id="{E79D5ECD-6FAE-4EAF-BFB3-5F88B003466E}"/>
              </a:ext>
            </a:extLst>
          </p:cNvPr>
          <p:cNvSpPr/>
          <p:nvPr/>
        </p:nvSpPr>
        <p:spPr>
          <a:xfrm>
            <a:off x="8265035" y="2335852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0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4A56EA8E-FD65-4B2C-B0A2-20B0FF0E69E3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형</a:t>
            </a: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5F4E090F-CE54-4F48-8CD4-F57A5974965B}"/>
              </a:ext>
            </a:extLst>
          </p:cNvPr>
          <p:cNvSpPr/>
          <p:nvPr/>
        </p:nvSpPr>
        <p:spPr>
          <a:xfrm>
            <a:off x="4552364" y="2607293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41A1DC4D-1043-4D58-91A4-21F9426941F9}"/>
              </a:ext>
            </a:extLst>
          </p:cNvPr>
          <p:cNvSpPr/>
          <p:nvPr/>
        </p:nvSpPr>
        <p:spPr>
          <a:xfrm>
            <a:off x="443541" y="1476944"/>
            <a:ext cx="8423935" cy="804207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C0E505CD-EC08-4DD7-AC16-1FCA20209D20}"/>
              </a:ext>
            </a:extLst>
          </p:cNvPr>
          <p:cNvSpPr/>
          <p:nvPr/>
        </p:nvSpPr>
        <p:spPr>
          <a:xfrm>
            <a:off x="399025" y="1154051"/>
            <a:ext cx="8518304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                     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54271ABE-9B85-4BF8-8DC9-09AE1D9CC13D}"/>
              </a:ext>
            </a:extLst>
          </p:cNvPr>
          <p:cNvSpPr/>
          <p:nvPr/>
        </p:nvSpPr>
        <p:spPr>
          <a:xfrm>
            <a:off x="399025" y="1421811"/>
            <a:ext cx="8518304" cy="5223848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1E206ED1-DB3A-4CBF-B79D-DB5BB2E0DE5B}"/>
              </a:ext>
            </a:extLst>
          </p:cNvPr>
          <p:cNvGrpSpPr/>
          <p:nvPr/>
        </p:nvGrpSpPr>
        <p:grpSpPr>
          <a:xfrm>
            <a:off x="6318556" y="5391228"/>
            <a:ext cx="2852827" cy="1193813"/>
            <a:chOff x="6176162" y="5445224"/>
            <a:chExt cx="2852827" cy="1193813"/>
          </a:xfrm>
        </p:grpSpPr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12A37C79-0CF5-482F-9EB8-E5F196A4ED28}"/>
                </a:ext>
              </a:extLst>
            </p:cNvPr>
            <p:cNvGrpSpPr/>
            <p:nvPr/>
          </p:nvGrpSpPr>
          <p:grpSpPr>
            <a:xfrm>
              <a:off x="6176162" y="5445224"/>
              <a:ext cx="2852827" cy="1193813"/>
              <a:chOff x="6275700" y="5531114"/>
              <a:chExt cx="2852827" cy="1193813"/>
            </a:xfrm>
          </p:grpSpPr>
          <p:grpSp>
            <p:nvGrpSpPr>
              <p:cNvPr id="3" name="그룹 2">
                <a:extLst>
                  <a:ext uri="{FF2B5EF4-FFF2-40B4-BE49-F238E27FC236}">
                    <a16:creationId xmlns:a16="http://schemas.microsoft.com/office/drawing/2014/main" id="{7AD12105-8A4E-4549-BF74-0FE7EAF78207}"/>
                  </a:ext>
                </a:extLst>
              </p:cNvPr>
              <p:cNvGrpSpPr/>
              <p:nvPr/>
            </p:nvGrpSpPr>
            <p:grpSpPr>
              <a:xfrm>
                <a:off x="6275700" y="5531114"/>
                <a:ext cx="2852827" cy="1193813"/>
                <a:chOff x="6297958" y="5276483"/>
                <a:chExt cx="2852827" cy="1193813"/>
              </a:xfrm>
            </p:grpSpPr>
            <p:sp>
              <p:nvSpPr>
                <p:cNvPr id="87" name="직사각형 86">
                  <a:extLst>
                    <a:ext uri="{FF2B5EF4-FFF2-40B4-BE49-F238E27FC236}">
                      <a16:creationId xmlns:a16="http://schemas.microsoft.com/office/drawing/2014/main" id="{6C26E342-43B9-4F72-BCDD-3E9FC6841BCB}"/>
                    </a:ext>
                  </a:extLst>
                </p:cNvPr>
                <p:cNvSpPr/>
                <p:nvPr/>
              </p:nvSpPr>
              <p:spPr>
                <a:xfrm>
                  <a:off x="6342474" y="5276483"/>
                  <a:ext cx="2808311" cy="1193812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rgbClr val="C046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endParaRPr lang="en-US" altLang="ko-KR" sz="3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algn="ctr"/>
                  <a:r>
                    <a:rPr lang="en-US" altLang="ko-KR" sz="12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</a:t>
                  </a:r>
                  <a:endParaRPr lang="en-US" altLang="ko-KR" sz="1200" dirty="0"/>
                </a:p>
                <a:p>
                  <a:pPr algn="ctr"/>
                  <a:r>
                    <a:rPr lang="en-US" altLang="ko-KR" dirty="0"/>
                    <a:t> </a:t>
                  </a:r>
                </a:p>
              </p:txBody>
            </p:sp>
            <p:grpSp>
              <p:nvGrpSpPr>
                <p:cNvPr id="76" name="그룹 75">
                  <a:extLst>
                    <a:ext uri="{FF2B5EF4-FFF2-40B4-BE49-F238E27FC236}">
                      <a16:creationId xmlns:a16="http://schemas.microsoft.com/office/drawing/2014/main" id="{5A8679C9-2C20-4A1B-99B2-00A50BAE06DA}"/>
                    </a:ext>
                  </a:extLst>
                </p:cNvPr>
                <p:cNvGrpSpPr/>
                <p:nvPr/>
              </p:nvGrpSpPr>
              <p:grpSpPr>
                <a:xfrm>
                  <a:off x="6297958" y="5504464"/>
                  <a:ext cx="2827253" cy="965832"/>
                  <a:chOff x="9336360" y="5376059"/>
                  <a:chExt cx="2827253" cy="965832"/>
                </a:xfrm>
              </p:grpSpPr>
              <p:grpSp>
                <p:nvGrpSpPr>
                  <p:cNvPr id="77" name="그룹 76">
                    <a:extLst>
                      <a:ext uri="{FF2B5EF4-FFF2-40B4-BE49-F238E27FC236}">
                        <a16:creationId xmlns:a16="http://schemas.microsoft.com/office/drawing/2014/main" id="{2734CA54-F426-407C-987A-6DB467B08603}"/>
                      </a:ext>
                    </a:extLst>
                  </p:cNvPr>
                  <p:cNvGrpSpPr/>
                  <p:nvPr/>
                </p:nvGrpSpPr>
                <p:grpSpPr>
                  <a:xfrm>
                    <a:off x="9336360" y="5376059"/>
                    <a:ext cx="2827253" cy="965832"/>
                    <a:chOff x="4996063" y="4002032"/>
                    <a:chExt cx="2827253" cy="965832"/>
                  </a:xfrm>
                </p:grpSpPr>
                <p:sp>
                  <p:nvSpPr>
                    <p:cNvPr id="80" name="직사각형 79">
                      <a:extLst>
                        <a:ext uri="{FF2B5EF4-FFF2-40B4-BE49-F238E27FC236}">
                          <a16:creationId xmlns:a16="http://schemas.microsoft.com/office/drawing/2014/main" id="{9F514FD9-CA20-4E90-B3B2-EC5746E466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96063" y="4002032"/>
                      <a:ext cx="2808311" cy="96583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/>
                      <a:endParaRPr lang="en-US" altLang="ko-KR" sz="3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altLang="ko-KR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 C  D               I                    P            0 0 0 0 1</a:t>
                      </a:r>
                    </a:p>
                    <a:p>
                      <a:pPr algn="ctr"/>
                      <a:endParaRPr lang="en-US" altLang="ko-KR" sz="1200" dirty="0"/>
                    </a:p>
                    <a:p>
                      <a:pPr algn="ctr"/>
                      <a:r>
                        <a:rPr lang="en-US" altLang="ko-KR" dirty="0"/>
                        <a:t> </a:t>
                      </a:r>
                    </a:p>
                  </p:txBody>
                </p:sp>
                <p:cxnSp>
                  <p:nvCxnSpPr>
                    <p:cNvPr id="81" name="직선 연결선 80">
                      <a:extLst>
                        <a:ext uri="{FF2B5EF4-FFF2-40B4-BE49-F238E27FC236}">
                          <a16:creationId xmlns:a16="http://schemas.microsoft.com/office/drawing/2014/main" id="{8C983773-E7BD-49EA-86D5-83D461C39AD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5154497" y="4292975"/>
                      <a:ext cx="307469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2" name="직사각형 81">
                      <a:extLst>
                        <a:ext uri="{FF2B5EF4-FFF2-40B4-BE49-F238E27FC236}">
                          <a16:creationId xmlns:a16="http://schemas.microsoft.com/office/drawing/2014/main" id="{20FFED8C-434E-4FA2-AA45-2DAAA3C724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45887" y="4319711"/>
                      <a:ext cx="654396" cy="47560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D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M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N</a:t>
                      </a:r>
                    </a:p>
                  </p:txBody>
                </p:sp>
                <p:cxnSp>
                  <p:nvCxnSpPr>
                    <p:cNvPr id="83" name="직선 연결선 82">
                      <a:extLst>
                        <a:ext uri="{FF2B5EF4-FFF2-40B4-BE49-F238E27FC236}">
                          <a16:creationId xmlns:a16="http://schemas.microsoft.com/office/drawing/2014/main" id="{DBA89356-F7C9-47CA-9290-AEF5A022C76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6580239" y="4301769"/>
                      <a:ext cx="216024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4" name="직사각형 83">
                      <a:extLst>
                        <a:ext uri="{FF2B5EF4-FFF2-40B4-BE49-F238E27FC236}">
                          <a16:creationId xmlns:a16="http://schemas.microsoft.com/office/drawing/2014/main" id="{2D3FCB77-AEEB-45E1-BB64-E68EF87541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7604" y="4316161"/>
                      <a:ext cx="580846" cy="46476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P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외부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A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endParaRPr lang="en-US" altLang="ko-KR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p:txBody>
                </p:sp>
                <p:cxnSp>
                  <p:nvCxnSpPr>
                    <p:cNvPr id="85" name="직선 연결선 84">
                      <a:extLst>
                        <a:ext uri="{FF2B5EF4-FFF2-40B4-BE49-F238E27FC236}">
                          <a16:creationId xmlns:a16="http://schemas.microsoft.com/office/drawing/2014/main" id="{B0124A2D-DCC8-4D9F-8905-23F8A4953DF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7134196" y="4301769"/>
                      <a:ext cx="670178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6" name="직사각형 85">
                      <a:extLst>
                        <a:ext uri="{FF2B5EF4-FFF2-40B4-BE49-F238E27FC236}">
                          <a16:creationId xmlns:a16="http://schemas.microsoft.com/office/drawing/2014/main" id="{FF6A2EC2-650A-4289-B054-A1F1B5EF78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9520" y="4319711"/>
                      <a:ext cx="693796" cy="43216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련번호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～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9,999</a:t>
                      </a:r>
                    </a:p>
                  </p:txBody>
                </p:sp>
              </p:grpSp>
              <p:sp>
                <p:nvSpPr>
                  <p:cNvPr id="78" name="직사각형 77">
                    <a:extLst>
                      <a:ext uri="{FF2B5EF4-FFF2-40B4-BE49-F238E27FC236}">
                        <a16:creationId xmlns:a16="http://schemas.microsoft.com/office/drawing/2014/main" id="{6D8E09F5-E284-4702-BE26-0F7E536618D2}"/>
                      </a:ext>
                    </a:extLst>
                  </p:cNvPr>
                  <p:cNvSpPr/>
                  <p:nvPr/>
                </p:nvSpPr>
                <p:spPr>
                  <a:xfrm>
                    <a:off x="9910640" y="5690188"/>
                    <a:ext cx="1034721" cy="46476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 err="1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컨텐츠업로드</a:t>
                    </a: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I</a:t>
                    </a:r>
                  </a:p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아웃링크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O</a:t>
                    </a:r>
                  </a:p>
                </p:txBody>
              </p:sp>
              <p:cxnSp>
                <p:nvCxnSpPr>
                  <p:cNvPr id="79" name="직선 연결선 78">
                    <a:extLst>
                      <a:ext uri="{FF2B5EF4-FFF2-40B4-BE49-F238E27FC236}">
                        <a16:creationId xmlns:a16="http://schemas.microsoft.com/office/drawing/2014/main" id="{A5FAD771-1B5E-40D1-8AEE-456F9F78F35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00456" y="5667002"/>
                    <a:ext cx="225509" cy="0"/>
                  </a:xfrm>
                  <a:prstGeom prst="line">
                    <a:avLst/>
                  </a:prstGeom>
                  <a:ln w="12700">
                    <a:noFill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5" name="직선 연결선 4">
                <a:extLst>
                  <a:ext uri="{FF2B5EF4-FFF2-40B4-BE49-F238E27FC236}">
                    <a16:creationId xmlns:a16="http://schemas.microsoft.com/office/drawing/2014/main" id="{BBC45121-52CA-40E9-862A-7DD69CF692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34134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직선 연결선 89">
                <a:extLst>
                  <a:ext uri="{FF2B5EF4-FFF2-40B4-BE49-F238E27FC236}">
                    <a16:creationId xmlns:a16="http://schemas.microsoft.com/office/drawing/2014/main" id="{F6EF204D-B5A1-448F-9143-BC79378180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8936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직선 연결선 90">
                <a:extLst>
                  <a:ext uri="{FF2B5EF4-FFF2-40B4-BE49-F238E27FC236}">
                    <a16:creationId xmlns:a16="http://schemas.microsoft.com/office/drawing/2014/main" id="{E8EFEB8F-D9FD-4322-9DBA-B79D097CF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39912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직선 연결선 91">
                <a:extLst>
                  <a:ext uri="{FF2B5EF4-FFF2-40B4-BE49-F238E27FC236}">
                    <a16:creationId xmlns:a16="http://schemas.microsoft.com/office/drawing/2014/main" id="{C562B512-999D-4F11-BC4C-AE60ECD111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09157" y="6045865"/>
                <a:ext cx="57767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EC15439-B9F6-443B-BFD9-C5F17329ECCD}"/>
                </a:ext>
              </a:extLst>
            </p:cNvPr>
            <p:cNvSpPr/>
            <p:nvPr/>
          </p:nvSpPr>
          <p:spPr>
            <a:xfrm>
              <a:off x="6278887" y="5502126"/>
              <a:ext cx="1547689" cy="17608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텐츠 번호 생성 규칙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117" name="사각형: 둥근 모서리 116">
            <a:extLst>
              <a:ext uri="{FF2B5EF4-FFF2-40B4-BE49-F238E27FC236}">
                <a16:creationId xmlns:a16="http://schemas.microsoft.com/office/drawing/2014/main" id="{B7C8BD6B-7988-4216-AC5D-A11AB4763685}"/>
              </a:ext>
            </a:extLst>
          </p:cNvPr>
          <p:cNvSpPr/>
          <p:nvPr/>
        </p:nvSpPr>
        <p:spPr>
          <a:xfrm>
            <a:off x="376888" y="291272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사각형: 둥근 모서리 117">
            <a:extLst>
              <a:ext uri="{FF2B5EF4-FFF2-40B4-BE49-F238E27FC236}">
                <a16:creationId xmlns:a16="http://schemas.microsoft.com/office/drawing/2014/main" id="{60DE7521-711D-40B1-9804-55F90AD04E96}"/>
              </a:ext>
            </a:extLst>
          </p:cNvPr>
          <p:cNvSpPr/>
          <p:nvPr/>
        </p:nvSpPr>
        <p:spPr>
          <a:xfrm>
            <a:off x="3562077" y="365973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5C442E26-5278-4D41-BE75-0B2F320AE8C0}"/>
              </a:ext>
            </a:extLst>
          </p:cNvPr>
          <p:cNvSpPr/>
          <p:nvPr/>
        </p:nvSpPr>
        <p:spPr>
          <a:xfrm>
            <a:off x="376888" y="40487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B2D97CF7-87C1-40BF-BEC4-9E7A5FE85308}"/>
              </a:ext>
            </a:extLst>
          </p:cNvPr>
          <p:cNvSpPr/>
          <p:nvPr/>
        </p:nvSpPr>
        <p:spPr>
          <a:xfrm>
            <a:off x="376888" y="59377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0BCEDD67-B3BD-4D50-96FF-69340EC8EFEF}"/>
              </a:ext>
            </a:extLst>
          </p:cNvPr>
          <p:cNvSpPr/>
          <p:nvPr/>
        </p:nvSpPr>
        <p:spPr>
          <a:xfrm>
            <a:off x="4175425" y="593333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367FAA34-7496-4A09-B263-7B92969460D8}"/>
              </a:ext>
            </a:extLst>
          </p:cNvPr>
          <p:cNvSpPr/>
          <p:nvPr/>
        </p:nvSpPr>
        <p:spPr>
          <a:xfrm>
            <a:off x="376096" y="366818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28" name="표 10">
            <a:extLst>
              <a:ext uri="{FF2B5EF4-FFF2-40B4-BE49-F238E27FC236}">
                <a16:creationId xmlns:a16="http://schemas.microsoft.com/office/drawing/2014/main" id="{02649A67-872C-4923-B4CD-BBE5B4F429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672095"/>
              </p:ext>
            </p:extLst>
          </p:nvPr>
        </p:nvGraphicFramePr>
        <p:xfrm>
          <a:off x="9275970" y="987799"/>
          <a:ext cx="2922885" cy="27444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786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가능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903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키워드는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까지 콤마로 구분하여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  <a:tr h="2701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복수 선택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당 토픽 리스트는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M011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해 관리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6183992"/>
                  </a:ext>
                </a:extLst>
              </a:tr>
              <a:tr h="2142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실 화면에 출력될 대표 이미지 업로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9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유형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페이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 경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이미지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록은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수값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724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운영자 자유입력 가능한 메모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724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 완료 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체크된 필수항목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입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6516396"/>
                  </a:ext>
                </a:extLst>
              </a:tr>
              <a:tr h="2724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지워지고 초기화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8158133"/>
                  </a:ext>
                </a:extLst>
              </a:tr>
            </a:tbl>
          </a:graphicData>
        </a:graphic>
      </p:graphicFrame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A46D02DD-13F2-41BE-A5B8-BFE30A3F93BA}"/>
              </a:ext>
            </a:extLst>
          </p:cNvPr>
          <p:cNvSpPr/>
          <p:nvPr/>
        </p:nvSpPr>
        <p:spPr>
          <a:xfrm>
            <a:off x="9043995" y="5723843"/>
            <a:ext cx="3098119" cy="105052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altLang="ko-KR" sz="1000" dirty="0">
                <a:solidFill>
                  <a:schemeClr val="tx1"/>
                </a:solidFill>
                <a:ea typeface="AppleSDGothicNeoM00" panose="02000503000000000000" pitchFamily="2" charset="-127"/>
              </a:rPr>
              <a:t>19. </a:t>
            </a:r>
            <a:r>
              <a:rPr lang="ko-KR" altLang="en-US" sz="1000" dirty="0" err="1">
                <a:solidFill>
                  <a:schemeClr val="tx1"/>
                </a:solidFill>
                <a:ea typeface="AppleSDGothicNeoM00" panose="02000503000000000000" pitchFamily="2" charset="-127"/>
              </a:rPr>
              <a:t>삼일발간물</a:t>
            </a:r>
            <a:r>
              <a:rPr lang="ko-KR" altLang="en-US" sz="1000" dirty="0">
                <a:solidFill>
                  <a:schemeClr val="tx1"/>
                </a:solidFill>
                <a:ea typeface="AppleSDGothicNeoM00" panose="02000503000000000000" pitchFamily="2" charset="-127"/>
              </a:rPr>
              <a:t> 하위에는 뉴스레터</a:t>
            </a:r>
            <a:r>
              <a:rPr lang="en-US" altLang="ko-KR" sz="1000" dirty="0">
                <a:solidFill>
                  <a:schemeClr val="tx1"/>
                </a:solidFill>
                <a:ea typeface="AppleSDGothicNeoM00" panose="02000503000000000000" pitchFamily="2" charset="-127"/>
              </a:rPr>
              <a:t>, </a:t>
            </a:r>
            <a:r>
              <a:rPr lang="ko-KR" altLang="en-US" sz="1000" dirty="0">
                <a:solidFill>
                  <a:schemeClr val="tx1"/>
                </a:solidFill>
                <a:ea typeface="AppleSDGothicNeoM00" panose="02000503000000000000" pitchFamily="2" charset="-127"/>
              </a:rPr>
              <a:t>레포트로  </a:t>
            </a:r>
            <a:endParaRPr lang="en-US" altLang="ko-KR" sz="1000" dirty="0">
              <a:solidFill>
                <a:schemeClr val="tx1"/>
              </a:solidFill>
              <a:ea typeface="AppleSDGothicNeoM00" panose="02000503000000000000" pitchFamily="2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000" dirty="0">
                <a:solidFill>
                  <a:schemeClr val="tx1"/>
                </a:solidFill>
                <a:ea typeface="AppleSDGothicNeoM00" panose="02000503000000000000" pitchFamily="2" charset="-127"/>
              </a:rPr>
              <a:t>     </a:t>
            </a:r>
            <a:r>
              <a:rPr lang="ko-KR" altLang="en-US" sz="1000" dirty="0" err="1">
                <a:solidFill>
                  <a:schemeClr val="tx1"/>
                </a:solidFill>
                <a:ea typeface="AppleSDGothicNeoM00" panose="02000503000000000000" pitchFamily="2" charset="-127"/>
              </a:rPr>
              <a:t>정의되어있음</a:t>
            </a:r>
            <a:r>
              <a:rPr lang="en-US" altLang="ko-KR" sz="1000" dirty="0">
                <a:solidFill>
                  <a:schemeClr val="tx1"/>
                </a:solidFill>
                <a:ea typeface="AppleSDGothicNeoM00" panose="02000503000000000000" pitchFamily="2" charset="-127"/>
              </a:rPr>
              <a:t>. </a:t>
            </a:r>
            <a:r>
              <a:rPr lang="ko-KR" altLang="en-US" sz="1000" dirty="0">
                <a:solidFill>
                  <a:schemeClr val="tx1"/>
                </a:solidFill>
                <a:ea typeface="AppleSDGothicNeoM00" panose="02000503000000000000" pitchFamily="2" charset="-127"/>
              </a:rPr>
              <a:t>인사이트페이퍼 분류도 추가해야 </a:t>
            </a:r>
            <a:endParaRPr lang="en-US" altLang="ko-KR" sz="1000" dirty="0">
              <a:solidFill>
                <a:schemeClr val="tx1"/>
              </a:solidFill>
              <a:ea typeface="AppleSDGothicNeoM00" panose="02000503000000000000" pitchFamily="2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000" dirty="0">
                <a:solidFill>
                  <a:schemeClr val="tx1"/>
                </a:solidFill>
                <a:ea typeface="AppleSDGothicNeoM00" panose="02000503000000000000" pitchFamily="2" charset="-127"/>
              </a:rPr>
              <a:t>     </a:t>
            </a:r>
            <a:r>
              <a:rPr lang="ko-KR" altLang="en-US" sz="1000" dirty="0">
                <a:solidFill>
                  <a:schemeClr val="tx1"/>
                </a:solidFill>
                <a:ea typeface="AppleSDGothicNeoM00" panose="02000503000000000000" pitchFamily="2" charset="-127"/>
              </a:rPr>
              <a:t>하는지</a:t>
            </a:r>
            <a:endParaRPr lang="en-US" altLang="ko-KR" sz="1000" dirty="0">
              <a:solidFill>
                <a:schemeClr val="tx1"/>
              </a:solidFill>
              <a:ea typeface="AppleSDGothicNeoM00" panose="02000503000000000000" pitchFamily="2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000" dirty="0">
                <a:solidFill>
                  <a:schemeClr val="tx1"/>
                </a:solidFill>
                <a:ea typeface="AppleSDGothicNeoM00" panose="02000503000000000000" pitchFamily="2" charset="-127"/>
              </a:rPr>
              <a:t>    </a:t>
            </a:r>
            <a:r>
              <a: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- </a:t>
            </a:r>
            <a:r>
              <a:rPr lang="ko-KR" altLang="en-US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 삼일 </a:t>
            </a:r>
            <a:r>
              <a:rPr lang="ko-KR" altLang="en-US" sz="1000" dirty="0" err="1">
                <a:solidFill>
                  <a:srgbClr val="0070C0"/>
                </a:solidFill>
                <a:ea typeface="AppleSDGothicNeoM00" panose="02000503000000000000" pitchFamily="2" charset="-127"/>
              </a:rPr>
              <a:t>발간물인</a:t>
            </a:r>
            <a:r>
              <a:rPr lang="ko-KR" altLang="en-US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 경우 뉴스레터</a:t>
            </a:r>
            <a:r>
              <a: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, </a:t>
            </a:r>
            <a:r>
              <a:rPr lang="ko-KR" altLang="en-US" sz="1000" dirty="0">
                <a:solidFill>
                  <a:srgbClr val="0070C0"/>
                </a:solidFill>
                <a:highlight>
                  <a:srgbClr val="FFFF00"/>
                </a:highlight>
                <a:ea typeface="AppleSDGothicNeoM00" panose="02000503000000000000" pitchFamily="2" charset="-127"/>
              </a:rPr>
              <a:t>인사이트</a:t>
            </a:r>
            <a:br>
              <a:rPr lang="en-US" altLang="ko-KR" sz="1000" dirty="0">
                <a:solidFill>
                  <a:srgbClr val="0070C0"/>
                </a:solidFill>
                <a:highlight>
                  <a:srgbClr val="FFFF00"/>
                </a:highlight>
                <a:ea typeface="AppleSDGothicNeoM00" panose="02000503000000000000" pitchFamily="2" charset="-127"/>
              </a:rPr>
            </a:br>
            <a:r>
              <a:rPr lang="en-US" altLang="ko-KR" sz="1000" dirty="0">
                <a:solidFill>
                  <a:srgbClr val="0070C0"/>
                </a:solidFill>
                <a:highlight>
                  <a:srgbClr val="FFFF00"/>
                </a:highlight>
                <a:ea typeface="AppleSDGothicNeoM00" panose="02000503000000000000" pitchFamily="2" charset="-127"/>
              </a:rPr>
              <a:t>       </a:t>
            </a:r>
            <a:r>
              <a:rPr lang="ko-KR" altLang="en-US" sz="1000" dirty="0">
                <a:solidFill>
                  <a:srgbClr val="0070C0"/>
                </a:solidFill>
                <a:highlight>
                  <a:srgbClr val="FFFF00"/>
                </a:highlight>
                <a:ea typeface="AppleSDGothicNeoM00" panose="02000503000000000000" pitchFamily="2" charset="-127"/>
              </a:rPr>
              <a:t>리포트</a:t>
            </a:r>
            <a:r>
              <a:rPr lang="ko-KR" altLang="en-US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로 </a:t>
            </a:r>
            <a:r>
              <a:rPr lang="ko-KR" altLang="en-US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하위 구분 필요함 </a:t>
            </a:r>
            <a:r>
              <a:rPr lang="en-US" altLang="ko-KR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(</a:t>
            </a:r>
            <a:r>
              <a:rPr lang="ko-KR" altLang="en-US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명칭 수정했음</a:t>
            </a:r>
            <a:r>
              <a:rPr lang="en-US" altLang="ko-KR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)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   </a:t>
            </a:r>
          </a:p>
          <a:p>
            <a:pPr>
              <a:lnSpc>
                <a:spcPct val="120000"/>
              </a:lnSpc>
            </a:pPr>
            <a:endParaRPr lang="en-US" altLang="ko-KR" sz="1000" dirty="0">
              <a:solidFill>
                <a:schemeClr val="tx1"/>
              </a:solidFill>
              <a:ea typeface="AppleSDGothicNeoM00" panose="02000503000000000000" pitchFamily="2" charset="-127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CFE3B07B-904A-4BB1-949F-D54FCA449CC4}"/>
              </a:ext>
            </a:extLst>
          </p:cNvPr>
          <p:cNvSpPr/>
          <p:nvPr/>
        </p:nvSpPr>
        <p:spPr>
          <a:xfrm>
            <a:off x="3887358" y="638402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00E21EA4-646F-4A7D-A90C-E49CE36A5FB0}"/>
              </a:ext>
            </a:extLst>
          </p:cNvPr>
          <p:cNvSpPr/>
          <p:nvPr/>
        </p:nvSpPr>
        <p:spPr>
          <a:xfrm>
            <a:off x="4666483" y="63908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2465D442-90AB-410B-B1F2-F84913A0318D}"/>
              </a:ext>
            </a:extLst>
          </p:cNvPr>
          <p:cNvGrpSpPr/>
          <p:nvPr/>
        </p:nvGrpSpPr>
        <p:grpSpPr>
          <a:xfrm>
            <a:off x="2394375" y="6002453"/>
            <a:ext cx="292384" cy="234859"/>
            <a:chOff x="2527622" y="5858437"/>
            <a:chExt cx="292384" cy="246968"/>
          </a:xfrm>
        </p:grpSpPr>
        <p:sp>
          <p:nvSpPr>
            <p:cNvPr id="111" name="사각형: 둥근 모서리 110">
              <a:extLst>
                <a:ext uri="{FF2B5EF4-FFF2-40B4-BE49-F238E27FC236}">
                  <a16:creationId xmlns:a16="http://schemas.microsoft.com/office/drawing/2014/main" id="{E0E6B900-2F53-432D-8157-E28C3E87B87D}"/>
                </a:ext>
              </a:extLst>
            </p:cNvPr>
            <p:cNvSpPr/>
            <p:nvPr/>
          </p:nvSpPr>
          <p:spPr>
            <a:xfrm>
              <a:off x="2527622" y="5858437"/>
              <a:ext cx="292384" cy="246968"/>
            </a:xfrm>
            <a:prstGeom prst="roundRect">
              <a:avLst>
                <a:gd name="adj" fmla="val 10496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12" name="그림 111">
              <a:extLst>
                <a:ext uri="{FF2B5EF4-FFF2-40B4-BE49-F238E27FC236}">
                  <a16:creationId xmlns:a16="http://schemas.microsoft.com/office/drawing/2014/main" id="{7C72651C-44FE-4580-B365-5CAF1F520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561893" y="5875091"/>
              <a:ext cx="228288" cy="218205"/>
            </a:xfrm>
            <a:prstGeom prst="rect">
              <a:avLst/>
            </a:prstGeom>
          </p:spPr>
        </p:pic>
      </p:grp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135C4958-48F3-404A-95E7-D568315FAA77}"/>
              </a:ext>
            </a:extLst>
          </p:cNvPr>
          <p:cNvSpPr/>
          <p:nvPr/>
        </p:nvSpPr>
        <p:spPr>
          <a:xfrm>
            <a:off x="2685600" y="6043272"/>
            <a:ext cx="851694" cy="18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미지업로드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87505693-B5B0-46DC-9A41-D3F6DCE98641}"/>
              </a:ext>
            </a:extLst>
          </p:cNvPr>
          <p:cNvSpPr/>
          <p:nvPr/>
        </p:nvSpPr>
        <p:spPr>
          <a:xfrm>
            <a:off x="8973779" y="16195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92337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" name="표 99">
            <a:extLst>
              <a:ext uri="{FF2B5EF4-FFF2-40B4-BE49-F238E27FC236}">
                <a16:creationId xmlns:a16="http://schemas.microsoft.com/office/drawing/2014/main" id="{EE95718A-9650-4E80-AC51-1C2646177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9171201"/>
              </p:ext>
            </p:extLst>
          </p:nvPr>
        </p:nvGraphicFramePr>
        <p:xfrm>
          <a:off x="443541" y="5949280"/>
          <a:ext cx="8455878" cy="33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935875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456032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3194002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19234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408784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영상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컨텐츠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5821" y="620253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6" name="표 12">
            <a:extLst>
              <a:ext uri="{FF2B5EF4-FFF2-40B4-BE49-F238E27FC236}">
                <a16:creationId xmlns:a16="http://schemas.microsoft.com/office/drawing/2014/main" id="{FAFA8B38-C9E2-4A9C-A01A-1739907674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600206"/>
              </p:ext>
            </p:extLst>
          </p:nvPr>
        </p:nvGraphicFramePr>
        <p:xfrm>
          <a:off x="443541" y="1476944"/>
          <a:ext cx="8423935" cy="26360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0439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302453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889763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403558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902555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2055167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문서  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영상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81298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컨텐츠 업로드          ● 아웃링크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링크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URL)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6641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 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47607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열람허용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 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가능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가능             ●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489024FD-7F80-49A3-887D-85867E4F1E55}"/>
              </a:ext>
            </a:extLst>
          </p:cNvPr>
          <p:cNvSpPr/>
          <p:nvPr/>
        </p:nvSpPr>
        <p:spPr>
          <a:xfrm>
            <a:off x="1342121" y="2338412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178179FD-B710-4467-864A-EA53B8423A60}"/>
              </a:ext>
            </a:extLst>
          </p:cNvPr>
          <p:cNvSpPr/>
          <p:nvPr/>
        </p:nvSpPr>
        <p:spPr>
          <a:xfrm>
            <a:off x="4568908" y="2333534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3151DEBD-C741-437F-9BD6-429D4690AEC0}"/>
              </a:ext>
            </a:extLst>
          </p:cNvPr>
          <p:cNvGrpSpPr/>
          <p:nvPr/>
        </p:nvGrpSpPr>
        <p:grpSpPr>
          <a:xfrm>
            <a:off x="4512607" y="3248104"/>
            <a:ext cx="3711546" cy="175761"/>
            <a:chOff x="4535523" y="2896789"/>
            <a:chExt cx="3711546" cy="175761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1CEB0E8F-3893-4D41-B9B8-5B2AB66E1493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4" name="그룹 173">
                <a:extLst>
                  <a:ext uri="{FF2B5EF4-FFF2-40B4-BE49-F238E27FC236}">
                    <a16:creationId xmlns:a16="http://schemas.microsoft.com/office/drawing/2014/main" id="{08CE6B5D-F6C7-4F24-9055-E92F20610776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96" name="직사각형 195">
                  <a:extLst>
                    <a:ext uri="{FF2B5EF4-FFF2-40B4-BE49-F238E27FC236}">
                      <a16:creationId xmlns:a16="http://schemas.microsoft.com/office/drawing/2014/main" id="{82C211D7-9D16-4A2B-94C9-F0FDEF298023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97" name="직사각형 196">
                  <a:extLst>
                    <a:ext uri="{FF2B5EF4-FFF2-40B4-BE49-F238E27FC236}">
                      <a16:creationId xmlns:a16="http://schemas.microsoft.com/office/drawing/2014/main" id="{02B3B37E-EC78-4898-8460-32193AB3DD9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98" name="그림 197">
                  <a:extLst>
                    <a:ext uri="{FF2B5EF4-FFF2-40B4-BE49-F238E27FC236}">
                      <a16:creationId xmlns:a16="http://schemas.microsoft.com/office/drawing/2014/main" id="{7EA89D27-E7B8-4A9B-A14C-EF5A958029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96306674-D4D1-4BCE-BA6E-044AF35CE08D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9" name="직사각형 178">
                <a:extLst>
                  <a:ext uri="{FF2B5EF4-FFF2-40B4-BE49-F238E27FC236}">
                    <a16:creationId xmlns:a16="http://schemas.microsoft.com/office/drawing/2014/main" id="{119CA91D-08CC-4597-8E7B-BC3A7CE843B6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2" name="직사각형 201">
                <a:extLst>
                  <a:ext uri="{FF2B5EF4-FFF2-40B4-BE49-F238E27FC236}">
                    <a16:creationId xmlns:a16="http://schemas.microsoft.com/office/drawing/2014/main" id="{B7993C22-B48C-497B-993B-B6AF34E471D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3" name="직사각형 202">
                <a:extLst>
                  <a:ext uri="{FF2B5EF4-FFF2-40B4-BE49-F238E27FC236}">
                    <a16:creationId xmlns:a16="http://schemas.microsoft.com/office/drawing/2014/main" id="{F5E185A2-B398-4C0B-B278-5D4B31A09B8E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4" name="직사각형 203">
                <a:extLst>
                  <a:ext uri="{FF2B5EF4-FFF2-40B4-BE49-F238E27FC236}">
                    <a16:creationId xmlns:a16="http://schemas.microsoft.com/office/drawing/2014/main" id="{8F6FAC83-FD4E-438E-8278-946FB419E8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205" name="그룹 204">
              <a:extLst>
                <a:ext uri="{FF2B5EF4-FFF2-40B4-BE49-F238E27FC236}">
                  <a16:creationId xmlns:a16="http://schemas.microsoft.com/office/drawing/2014/main" id="{B6A2D1A9-64D5-4DC8-9EFB-ED4F2C52E495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206" name="그룹 205">
                <a:extLst>
                  <a:ext uri="{FF2B5EF4-FFF2-40B4-BE49-F238E27FC236}">
                    <a16:creationId xmlns:a16="http://schemas.microsoft.com/office/drawing/2014/main" id="{A14F1E05-0861-4A3F-8CD7-FC066155038B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212" name="직사각형 211">
                  <a:extLst>
                    <a:ext uri="{FF2B5EF4-FFF2-40B4-BE49-F238E27FC236}">
                      <a16:creationId xmlns:a16="http://schemas.microsoft.com/office/drawing/2014/main" id="{F60D1063-6954-4473-8166-A197B67164B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213" name="직사각형 212">
                  <a:extLst>
                    <a:ext uri="{FF2B5EF4-FFF2-40B4-BE49-F238E27FC236}">
                      <a16:creationId xmlns:a16="http://schemas.microsoft.com/office/drawing/2014/main" id="{76AB009E-C053-4F2F-8C91-60ECDFF5DC4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214" name="그림 213">
                  <a:extLst>
                    <a:ext uri="{FF2B5EF4-FFF2-40B4-BE49-F238E27FC236}">
                      <a16:creationId xmlns:a16="http://schemas.microsoft.com/office/drawing/2014/main" id="{73936F88-5CE9-40BA-86D8-D0EC39D1A9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208" name="직사각형 207">
                <a:extLst>
                  <a:ext uri="{FF2B5EF4-FFF2-40B4-BE49-F238E27FC236}">
                    <a16:creationId xmlns:a16="http://schemas.microsoft.com/office/drawing/2014/main" id="{76BF78C6-6071-43B8-ABE6-473825E62152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12-31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9" name="직사각형 208">
                <a:extLst>
                  <a:ext uri="{FF2B5EF4-FFF2-40B4-BE49-F238E27FC236}">
                    <a16:creationId xmlns:a16="http://schemas.microsoft.com/office/drawing/2014/main" id="{44A1005F-22E7-475A-BFB6-61C93CB1240E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0" name="직사각형 209">
                <a:extLst>
                  <a:ext uri="{FF2B5EF4-FFF2-40B4-BE49-F238E27FC236}">
                    <a16:creationId xmlns:a16="http://schemas.microsoft.com/office/drawing/2014/main" id="{92747398-46BD-44B6-A478-23E7E782A23A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1" name="직사각형 210">
                <a:extLst>
                  <a:ext uri="{FF2B5EF4-FFF2-40B4-BE49-F238E27FC236}">
                    <a16:creationId xmlns:a16="http://schemas.microsoft.com/office/drawing/2014/main" id="{6654E2FE-3C1B-4A12-8DE8-D6D4405B04D0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228" name="직사각형 227">
              <a:extLst>
                <a:ext uri="{FF2B5EF4-FFF2-40B4-BE49-F238E27FC236}">
                  <a16:creationId xmlns:a16="http://schemas.microsoft.com/office/drawing/2014/main" id="{6529F0E2-0048-4CFC-A65F-E9928BEFF93B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229" name="사각형: 둥근 모서리 228">
              <a:extLst>
                <a:ext uri="{FF2B5EF4-FFF2-40B4-BE49-F238E27FC236}">
                  <a16:creationId xmlns:a16="http://schemas.microsoft.com/office/drawing/2014/main" id="{17F7A4B1-05DA-4EB4-8988-671337DA11CC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30" name="그림 229">
              <a:extLst>
                <a:ext uri="{FF2B5EF4-FFF2-40B4-BE49-F238E27FC236}">
                  <a16:creationId xmlns:a16="http://schemas.microsoft.com/office/drawing/2014/main" id="{C6A56D4E-0B59-4417-8E0C-0021C92DC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grpSp>
        <p:nvGrpSpPr>
          <p:cNvPr id="253" name="그룹 252">
            <a:extLst>
              <a:ext uri="{FF2B5EF4-FFF2-40B4-BE49-F238E27FC236}">
                <a16:creationId xmlns:a16="http://schemas.microsoft.com/office/drawing/2014/main" id="{60F5DCD9-5570-40F0-9995-D5572595432E}"/>
              </a:ext>
            </a:extLst>
          </p:cNvPr>
          <p:cNvGrpSpPr/>
          <p:nvPr/>
        </p:nvGrpSpPr>
        <p:grpSpPr>
          <a:xfrm>
            <a:off x="6935716" y="2603356"/>
            <a:ext cx="1065951" cy="172800"/>
            <a:chOff x="1260034" y="1778319"/>
            <a:chExt cx="1065951" cy="172800"/>
          </a:xfrm>
        </p:grpSpPr>
        <p:sp>
          <p:nvSpPr>
            <p:cNvPr id="256" name="직사각형 255">
              <a:extLst>
                <a:ext uri="{FF2B5EF4-FFF2-40B4-BE49-F238E27FC236}">
                  <a16:creationId xmlns:a16="http://schemas.microsoft.com/office/drawing/2014/main" id="{9AAA2FDF-45A4-4C51-80BD-11AA16F5BD7C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57" name="직사각형 256">
              <a:extLst>
                <a:ext uri="{FF2B5EF4-FFF2-40B4-BE49-F238E27FC236}">
                  <a16:creationId xmlns:a16="http://schemas.microsoft.com/office/drawing/2014/main" id="{6491BDD4-4782-4EB8-921F-CB00D9CF6468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5" name="그룹 274">
            <a:extLst>
              <a:ext uri="{FF2B5EF4-FFF2-40B4-BE49-F238E27FC236}">
                <a16:creationId xmlns:a16="http://schemas.microsoft.com/office/drawing/2014/main" id="{A9A191A0-4A36-408D-A2F1-D7951C26F968}"/>
              </a:ext>
            </a:extLst>
          </p:cNvPr>
          <p:cNvGrpSpPr/>
          <p:nvPr/>
        </p:nvGrpSpPr>
        <p:grpSpPr>
          <a:xfrm>
            <a:off x="6935716" y="2870933"/>
            <a:ext cx="1065951" cy="172800"/>
            <a:chOff x="1260034" y="1778319"/>
            <a:chExt cx="1065951" cy="172800"/>
          </a:xfrm>
        </p:grpSpPr>
        <p:sp>
          <p:nvSpPr>
            <p:cNvPr id="276" name="직사각형 275">
              <a:extLst>
                <a:ext uri="{FF2B5EF4-FFF2-40B4-BE49-F238E27FC236}">
                  <a16:creationId xmlns:a16="http://schemas.microsoft.com/office/drawing/2014/main" id="{C4737F8E-AC4C-41E5-A73A-5DA823BA68A7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C0FC404D-93E0-4EF0-8355-DA96AFD7A30E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8" name="그룹 277">
            <a:extLst>
              <a:ext uri="{FF2B5EF4-FFF2-40B4-BE49-F238E27FC236}">
                <a16:creationId xmlns:a16="http://schemas.microsoft.com/office/drawing/2014/main" id="{D2DFE4EA-566D-4198-8AB6-A38B360FC5A2}"/>
              </a:ext>
            </a:extLst>
          </p:cNvPr>
          <p:cNvGrpSpPr/>
          <p:nvPr/>
        </p:nvGrpSpPr>
        <p:grpSpPr>
          <a:xfrm>
            <a:off x="1345745" y="2867996"/>
            <a:ext cx="983380" cy="172800"/>
            <a:chOff x="1260034" y="1778319"/>
            <a:chExt cx="983380" cy="172800"/>
          </a:xfrm>
        </p:grpSpPr>
        <p:sp>
          <p:nvSpPr>
            <p:cNvPr id="279" name="직사각형 278">
              <a:extLst>
                <a:ext uri="{FF2B5EF4-FFF2-40B4-BE49-F238E27FC236}">
                  <a16:creationId xmlns:a16="http://schemas.microsoft.com/office/drawing/2014/main" id="{74E5A847-9C16-4BF5-84D2-D083F7C98E0C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80" name="직사각형 279">
              <a:extLst>
                <a:ext uri="{FF2B5EF4-FFF2-40B4-BE49-F238E27FC236}">
                  <a16:creationId xmlns:a16="http://schemas.microsoft.com/office/drawing/2014/main" id="{72DB68FC-9892-4EE6-8A6A-279788DB1F84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87" name="직사각형 286">
            <a:extLst>
              <a:ext uri="{FF2B5EF4-FFF2-40B4-BE49-F238E27FC236}">
                <a16:creationId xmlns:a16="http://schemas.microsoft.com/office/drawing/2014/main" id="{D77B06E9-8DF5-44D4-9A42-5FE931673FDB}"/>
              </a:ext>
            </a:extLst>
          </p:cNvPr>
          <p:cNvSpPr/>
          <p:nvPr/>
        </p:nvSpPr>
        <p:spPr>
          <a:xfrm>
            <a:off x="4585296" y="3879121"/>
            <a:ext cx="407200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우선순위에 따라 콤마로 구분하여 입력하세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9" name="직사각형 288">
            <a:extLst>
              <a:ext uri="{FF2B5EF4-FFF2-40B4-BE49-F238E27FC236}">
                <a16:creationId xmlns:a16="http://schemas.microsoft.com/office/drawing/2014/main" id="{E165B56A-FF30-429A-AB3B-9D56082FFE4B}"/>
              </a:ext>
            </a:extLst>
          </p:cNvPr>
          <p:cNvSpPr/>
          <p:nvPr/>
        </p:nvSpPr>
        <p:spPr>
          <a:xfrm>
            <a:off x="1342120" y="2065346"/>
            <a:ext cx="375378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4" name="그룹 293">
            <a:extLst>
              <a:ext uri="{FF2B5EF4-FFF2-40B4-BE49-F238E27FC236}">
                <a16:creationId xmlns:a16="http://schemas.microsoft.com/office/drawing/2014/main" id="{F0153F10-0BBB-4FA5-AE0F-E52D0D2417F1}"/>
              </a:ext>
            </a:extLst>
          </p:cNvPr>
          <p:cNvGrpSpPr/>
          <p:nvPr/>
        </p:nvGrpSpPr>
        <p:grpSpPr>
          <a:xfrm>
            <a:off x="4575122" y="2870614"/>
            <a:ext cx="1065951" cy="172800"/>
            <a:chOff x="1260034" y="1778319"/>
            <a:chExt cx="1065951" cy="172800"/>
          </a:xfrm>
        </p:grpSpPr>
        <p:sp>
          <p:nvSpPr>
            <p:cNvPr id="295" name="직사각형 294">
              <a:extLst>
                <a:ext uri="{FF2B5EF4-FFF2-40B4-BE49-F238E27FC236}">
                  <a16:creationId xmlns:a16="http://schemas.microsoft.com/office/drawing/2014/main" id="{3F6A89BD-D88F-49FD-B756-E9E6E3DD3719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96" name="직사각형 295">
              <a:extLst>
                <a:ext uri="{FF2B5EF4-FFF2-40B4-BE49-F238E27FC236}">
                  <a16:creationId xmlns:a16="http://schemas.microsoft.com/office/drawing/2014/main" id="{9A430EA1-04CA-4C4E-9A8B-8B7406D7E80E}"/>
                </a:ext>
              </a:extLst>
            </p:cNvPr>
            <p:cNvSpPr/>
            <p:nvPr/>
          </p:nvSpPr>
          <p:spPr>
            <a:xfrm>
              <a:off x="2109961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04" name="직사각형 303">
            <a:extLst>
              <a:ext uri="{FF2B5EF4-FFF2-40B4-BE49-F238E27FC236}">
                <a16:creationId xmlns:a16="http://schemas.microsoft.com/office/drawing/2014/main" id="{56C72D9F-6945-4DCA-B045-42D7FFFA6125}"/>
              </a:ext>
            </a:extLst>
          </p:cNvPr>
          <p:cNvSpPr/>
          <p:nvPr/>
        </p:nvSpPr>
        <p:spPr>
          <a:xfrm>
            <a:off x="1342120" y="2593822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6FC6B508-A697-4F7A-B4E9-C94BFD3B2B53}"/>
              </a:ext>
            </a:extLst>
          </p:cNvPr>
          <p:cNvGrpSpPr/>
          <p:nvPr/>
        </p:nvGrpSpPr>
        <p:grpSpPr>
          <a:xfrm>
            <a:off x="3188943" y="2592832"/>
            <a:ext cx="169472" cy="169472"/>
            <a:chOff x="3180922" y="2352202"/>
            <a:chExt cx="169472" cy="169472"/>
          </a:xfrm>
        </p:grpSpPr>
        <p:sp>
          <p:nvSpPr>
            <p:cNvPr id="305" name="사각형: 둥근 모서리 304">
              <a:extLst>
                <a:ext uri="{FF2B5EF4-FFF2-40B4-BE49-F238E27FC236}">
                  <a16:creationId xmlns:a16="http://schemas.microsoft.com/office/drawing/2014/main" id="{1F350384-9B7F-461C-A440-D6CB828072FE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06" name="그림 305">
              <a:extLst>
                <a:ext uri="{FF2B5EF4-FFF2-40B4-BE49-F238E27FC236}">
                  <a16:creationId xmlns:a16="http://schemas.microsoft.com/office/drawing/2014/main" id="{37B752C4-9AC3-4471-BE71-E93F18D52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307" name="그룹 306">
            <a:extLst>
              <a:ext uri="{FF2B5EF4-FFF2-40B4-BE49-F238E27FC236}">
                <a16:creationId xmlns:a16="http://schemas.microsoft.com/office/drawing/2014/main" id="{42A05CBC-2B80-4BA9-931B-31EC003B135C}"/>
              </a:ext>
            </a:extLst>
          </p:cNvPr>
          <p:cNvGrpSpPr/>
          <p:nvPr/>
        </p:nvGrpSpPr>
        <p:grpSpPr>
          <a:xfrm>
            <a:off x="2386027" y="2865898"/>
            <a:ext cx="1067418" cy="172800"/>
            <a:chOff x="1260034" y="1778319"/>
            <a:chExt cx="1067418" cy="172800"/>
          </a:xfrm>
        </p:grpSpPr>
        <p:sp>
          <p:nvSpPr>
            <p:cNvPr id="308" name="직사각형 307">
              <a:extLst>
                <a:ext uri="{FF2B5EF4-FFF2-40B4-BE49-F238E27FC236}">
                  <a16:creationId xmlns:a16="http://schemas.microsoft.com/office/drawing/2014/main" id="{C83E80D5-F795-404C-B8A5-0EC5FD869898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309" name="직사각형 308">
              <a:extLst>
                <a:ext uri="{FF2B5EF4-FFF2-40B4-BE49-F238E27FC236}">
                  <a16:creationId xmlns:a16="http://schemas.microsoft.com/office/drawing/2014/main" id="{05B9EC14-43BC-46F8-8496-0782DA4E981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323" name="그룹 322">
            <a:extLst>
              <a:ext uri="{FF2B5EF4-FFF2-40B4-BE49-F238E27FC236}">
                <a16:creationId xmlns:a16="http://schemas.microsoft.com/office/drawing/2014/main" id="{824313F4-B630-4DA2-B9FA-2CC85C41B592}"/>
              </a:ext>
            </a:extLst>
          </p:cNvPr>
          <p:cNvGrpSpPr/>
          <p:nvPr/>
        </p:nvGrpSpPr>
        <p:grpSpPr>
          <a:xfrm>
            <a:off x="6935716" y="2333534"/>
            <a:ext cx="589035" cy="172800"/>
            <a:chOff x="1260034" y="1778319"/>
            <a:chExt cx="589035" cy="172800"/>
          </a:xfrm>
        </p:grpSpPr>
        <p:sp>
          <p:nvSpPr>
            <p:cNvPr id="324" name="직사각형 323">
              <a:extLst>
                <a:ext uri="{FF2B5EF4-FFF2-40B4-BE49-F238E27FC236}">
                  <a16:creationId xmlns:a16="http://schemas.microsoft.com/office/drawing/2014/main" id="{DB980864-2E0F-4C1D-829D-281274C4283F}"/>
                </a:ext>
              </a:extLst>
            </p:cNvPr>
            <p:cNvSpPr/>
            <p:nvPr/>
          </p:nvSpPr>
          <p:spPr>
            <a:xfrm>
              <a:off x="1260034" y="1778319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도</a:t>
              </a:r>
            </a:p>
          </p:txBody>
        </p:sp>
        <p:sp>
          <p:nvSpPr>
            <p:cNvPr id="325" name="직사각형 324">
              <a:extLst>
                <a:ext uri="{FF2B5EF4-FFF2-40B4-BE49-F238E27FC236}">
                  <a16:creationId xmlns:a16="http://schemas.microsoft.com/office/drawing/2014/main" id="{261C56E6-E71F-49D6-A5AF-37FB9BFD2B4E}"/>
                </a:ext>
              </a:extLst>
            </p:cNvPr>
            <p:cNvSpPr/>
            <p:nvPr/>
          </p:nvSpPr>
          <p:spPr>
            <a:xfrm>
              <a:off x="1633045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30" name="직사각형 329">
            <a:extLst>
              <a:ext uri="{FF2B5EF4-FFF2-40B4-BE49-F238E27FC236}">
                <a16:creationId xmlns:a16="http://schemas.microsoft.com/office/drawing/2014/main" id="{D1D71848-E3B5-4132-8ABF-5DB7A93CA324}"/>
              </a:ext>
            </a:extLst>
          </p:cNvPr>
          <p:cNvSpPr/>
          <p:nvPr/>
        </p:nvSpPr>
        <p:spPr>
          <a:xfrm>
            <a:off x="7599137" y="2335852"/>
            <a:ext cx="373011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1" name="직사각형 330">
            <a:extLst>
              <a:ext uri="{FF2B5EF4-FFF2-40B4-BE49-F238E27FC236}">
                <a16:creationId xmlns:a16="http://schemas.microsoft.com/office/drawing/2014/main" id="{A0F20997-C6B2-4601-A1B2-50BA5524AC08}"/>
              </a:ext>
            </a:extLst>
          </p:cNvPr>
          <p:cNvSpPr/>
          <p:nvPr/>
        </p:nvSpPr>
        <p:spPr>
          <a:xfrm>
            <a:off x="8001668" y="2335852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9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2" name="직사각형 331">
            <a:extLst>
              <a:ext uri="{FF2B5EF4-FFF2-40B4-BE49-F238E27FC236}">
                <a16:creationId xmlns:a16="http://schemas.microsoft.com/office/drawing/2014/main" id="{E79D5ECD-6FAE-4EAF-BFB3-5F88B003466E}"/>
              </a:ext>
            </a:extLst>
          </p:cNvPr>
          <p:cNvSpPr/>
          <p:nvPr/>
        </p:nvSpPr>
        <p:spPr>
          <a:xfrm>
            <a:off x="8320283" y="2335852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0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5F4E090F-CE54-4F48-8CD4-F57A5974965B}"/>
              </a:ext>
            </a:extLst>
          </p:cNvPr>
          <p:cNvSpPr/>
          <p:nvPr/>
        </p:nvSpPr>
        <p:spPr>
          <a:xfrm>
            <a:off x="4567604" y="2607293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41A1DC4D-1043-4D58-91A4-21F9426941F9}"/>
              </a:ext>
            </a:extLst>
          </p:cNvPr>
          <p:cNvSpPr/>
          <p:nvPr/>
        </p:nvSpPr>
        <p:spPr>
          <a:xfrm>
            <a:off x="443541" y="1476944"/>
            <a:ext cx="8423935" cy="817610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C0E505CD-EC08-4DD7-AC16-1FCA20209D20}"/>
              </a:ext>
            </a:extLst>
          </p:cNvPr>
          <p:cNvSpPr/>
          <p:nvPr/>
        </p:nvSpPr>
        <p:spPr>
          <a:xfrm>
            <a:off x="399025" y="1154051"/>
            <a:ext cx="8518304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                     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54271ABE-9B85-4BF8-8DC9-09AE1D9CC13D}"/>
              </a:ext>
            </a:extLst>
          </p:cNvPr>
          <p:cNvSpPr/>
          <p:nvPr/>
        </p:nvSpPr>
        <p:spPr>
          <a:xfrm>
            <a:off x="399025" y="1421811"/>
            <a:ext cx="8518304" cy="5223848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1E206ED1-DB3A-4CBF-B79D-DB5BB2E0DE5B}"/>
              </a:ext>
            </a:extLst>
          </p:cNvPr>
          <p:cNvGrpSpPr/>
          <p:nvPr/>
        </p:nvGrpSpPr>
        <p:grpSpPr>
          <a:xfrm>
            <a:off x="6318556" y="5391228"/>
            <a:ext cx="2852827" cy="1193813"/>
            <a:chOff x="6176162" y="5445224"/>
            <a:chExt cx="2852827" cy="1193813"/>
          </a:xfrm>
        </p:grpSpPr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12A37C79-0CF5-482F-9EB8-E5F196A4ED28}"/>
                </a:ext>
              </a:extLst>
            </p:cNvPr>
            <p:cNvGrpSpPr/>
            <p:nvPr/>
          </p:nvGrpSpPr>
          <p:grpSpPr>
            <a:xfrm>
              <a:off x="6176162" y="5445224"/>
              <a:ext cx="2852827" cy="1193813"/>
              <a:chOff x="6275700" y="5531114"/>
              <a:chExt cx="2852827" cy="1193813"/>
            </a:xfrm>
          </p:grpSpPr>
          <p:grpSp>
            <p:nvGrpSpPr>
              <p:cNvPr id="3" name="그룹 2">
                <a:extLst>
                  <a:ext uri="{FF2B5EF4-FFF2-40B4-BE49-F238E27FC236}">
                    <a16:creationId xmlns:a16="http://schemas.microsoft.com/office/drawing/2014/main" id="{7AD12105-8A4E-4549-BF74-0FE7EAF78207}"/>
                  </a:ext>
                </a:extLst>
              </p:cNvPr>
              <p:cNvGrpSpPr/>
              <p:nvPr/>
            </p:nvGrpSpPr>
            <p:grpSpPr>
              <a:xfrm>
                <a:off x="6275700" y="5531114"/>
                <a:ext cx="2852827" cy="1193813"/>
                <a:chOff x="6297958" y="5276483"/>
                <a:chExt cx="2852827" cy="1193813"/>
              </a:xfrm>
            </p:grpSpPr>
            <p:sp>
              <p:nvSpPr>
                <p:cNvPr id="87" name="직사각형 86">
                  <a:extLst>
                    <a:ext uri="{FF2B5EF4-FFF2-40B4-BE49-F238E27FC236}">
                      <a16:creationId xmlns:a16="http://schemas.microsoft.com/office/drawing/2014/main" id="{6C26E342-43B9-4F72-BCDD-3E9FC6841BCB}"/>
                    </a:ext>
                  </a:extLst>
                </p:cNvPr>
                <p:cNvSpPr/>
                <p:nvPr/>
              </p:nvSpPr>
              <p:spPr>
                <a:xfrm>
                  <a:off x="6342474" y="5276483"/>
                  <a:ext cx="2808311" cy="1193812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rgbClr val="C046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endParaRPr lang="en-US" altLang="ko-KR" sz="3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algn="ctr"/>
                  <a:r>
                    <a:rPr lang="en-US" altLang="ko-KR" sz="12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</a:t>
                  </a:r>
                  <a:endParaRPr lang="en-US" altLang="ko-KR" sz="1200" dirty="0"/>
                </a:p>
                <a:p>
                  <a:pPr algn="ctr"/>
                  <a:r>
                    <a:rPr lang="en-US" altLang="ko-KR" dirty="0"/>
                    <a:t> </a:t>
                  </a:r>
                </a:p>
              </p:txBody>
            </p:sp>
            <p:grpSp>
              <p:nvGrpSpPr>
                <p:cNvPr id="76" name="그룹 75">
                  <a:extLst>
                    <a:ext uri="{FF2B5EF4-FFF2-40B4-BE49-F238E27FC236}">
                      <a16:creationId xmlns:a16="http://schemas.microsoft.com/office/drawing/2014/main" id="{5A8679C9-2C20-4A1B-99B2-00A50BAE06DA}"/>
                    </a:ext>
                  </a:extLst>
                </p:cNvPr>
                <p:cNvGrpSpPr/>
                <p:nvPr/>
              </p:nvGrpSpPr>
              <p:grpSpPr>
                <a:xfrm>
                  <a:off x="6297958" y="5504464"/>
                  <a:ext cx="2827253" cy="965832"/>
                  <a:chOff x="9336360" y="5376059"/>
                  <a:chExt cx="2827253" cy="965832"/>
                </a:xfrm>
              </p:grpSpPr>
              <p:grpSp>
                <p:nvGrpSpPr>
                  <p:cNvPr id="77" name="그룹 76">
                    <a:extLst>
                      <a:ext uri="{FF2B5EF4-FFF2-40B4-BE49-F238E27FC236}">
                        <a16:creationId xmlns:a16="http://schemas.microsoft.com/office/drawing/2014/main" id="{2734CA54-F426-407C-987A-6DB467B08603}"/>
                      </a:ext>
                    </a:extLst>
                  </p:cNvPr>
                  <p:cNvGrpSpPr/>
                  <p:nvPr/>
                </p:nvGrpSpPr>
                <p:grpSpPr>
                  <a:xfrm>
                    <a:off x="9336360" y="5376059"/>
                    <a:ext cx="2827253" cy="965832"/>
                    <a:chOff x="4996063" y="4002032"/>
                    <a:chExt cx="2827253" cy="965832"/>
                  </a:xfrm>
                </p:grpSpPr>
                <p:sp>
                  <p:nvSpPr>
                    <p:cNvPr id="80" name="직사각형 79">
                      <a:extLst>
                        <a:ext uri="{FF2B5EF4-FFF2-40B4-BE49-F238E27FC236}">
                          <a16:creationId xmlns:a16="http://schemas.microsoft.com/office/drawing/2014/main" id="{9F514FD9-CA20-4E90-B3B2-EC5746E466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96063" y="4002032"/>
                      <a:ext cx="2808311" cy="96583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/>
                      <a:endParaRPr lang="en-US" altLang="ko-KR" sz="3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altLang="ko-KR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 C  D               I                    P            0 0 0 0 1</a:t>
                      </a:r>
                    </a:p>
                    <a:p>
                      <a:pPr algn="ctr"/>
                      <a:endParaRPr lang="en-US" altLang="ko-KR" sz="1200" dirty="0"/>
                    </a:p>
                    <a:p>
                      <a:pPr algn="ctr"/>
                      <a:r>
                        <a:rPr lang="en-US" altLang="ko-KR" dirty="0"/>
                        <a:t> </a:t>
                      </a:r>
                    </a:p>
                  </p:txBody>
                </p:sp>
                <p:cxnSp>
                  <p:nvCxnSpPr>
                    <p:cNvPr id="81" name="직선 연결선 80">
                      <a:extLst>
                        <a:ext uri="{FF2B5EF4-FFF2-40B4-BE49-F238E27FC236}">
                          <a16:creationId xmlns:a16="http://schemas.microsoft.com/office/drawing/2014/main" id="{8C983773-E7BD-49EA-86D5-83D461C39AD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5154497" y="4292975"/>
                      <a:ext cx="307469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2" name="직사각형 81">
                      <a:extLst>
                        <a:ext uri="{FF2B5EF4-FFF2-40B4-BE49-F238E27FC236}">
                          <a16:creationId xmlns:a16="http://schemas.microsoft.com/office/drawing/2014/main" id="{20FFED8C-434E-4FA2-AA45-2DAAA3C724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45887" y="4319711"/>
                      <a:ext cx="654396" cy="47560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D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M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N</a:t>
                      </a:r>
                    </a:p>
                  </p:txBody>
                </p:sp>
                <p:cxnSp>
                  <p:nvCxnSpPr>
                    <p:cNvPr id="83" name="직선 연결선 82">
                      <a:extLst>
                        <a:ext uri="{FF2B5EF4-FFF2-40B4-BE49-F238E27FC236}">
                          <a16:creationId xmlns:a16="http://schemas.microsoft.com/office/drawing/2014/main" id="{DBA89356-F7C9-47CA-9290-AEF5A022C76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6580239" y="4301769"/>
                      <a:ext cx="216024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4" name="직사각형 83">
                      <a:extLst>
                        <a:ext uri="{FF2B5EF4-FFF2-40B4-BE49-F238E27FC236}">
                          <a16:creationId xmlns:a16="http://schemas.microsoft.com/office/drawing/2014/main" id="{2D3FCB77-AEEB-45E1-BB64-E68EF87541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7604" y="4316161"/>
                      <a:ext cx="580846" cy="46476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P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외부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A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endParaRPr lang="en-US" altLang="ko-KR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p:txBody>
                </p:sp>
                <p:cxnSp>
                  <p:nvCxnSpPr>
                    <p:cNvPr id="85" name="직선 연결선 84">
                      <a:extLst>
                        <a:ext uri="{FF2B5EF4-FFF2-40B4-BE49-F238E27FC236}">
                          <a16:creationId xmlns:a16="http://schemas.microsoft.com/office/drawing/2014/main" id="{B0124A2D-DCC8-4D9F-8905-23F8A4953DF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7134196" y="4301769"/>
                      <a:ext cx="670178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6" name="직사각형 85">
                      <a:extLst>
                        <a:ext uri="{FF2B5EF4-FFF2-40B4-BE49-F238E27FC236}">
                          <a16:creationId xmlns:a16="http://schemas.microsoft.com/office/drawing/2014/main" id="{FF6A2EC2-650A-4289-B054-A1F1B5EF78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9520" y="4319711"/>
                      <a:ext cx="693796" cy="43216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련번호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～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9,999</a:t>
                      </a:r>
                    </a:p>
                  </p:txBody>
                </p:sp>
              </p:grpSp>
              <p:sp>
                <p:nvSpPr>
                  <p:cNvPr id="78" name="직사각형 77">
                    <a:extLst>
                      <a:ext uri="{FF2B5EF4-FFF2-40B4-BE49-F238E27FC236}">
                        <a16:creationId xmlns:a16="http://schemas.microsoft.com/office/drawing/2014/main" id="{6D8E09F5-E284-4702-BE26-0F7E536618D2}"/>
                      </a:ext>
                    </a:extLst>
                  </p:cNvPr>
                  <p:cNvSpPr/>
                  <p:nvPr/>
                </p:nvSpPr>
                <p:spPr>
                  <a:xfrm>
                    <a:off x="9910640" y="5690188"/>
                    <a:ext cx="1034721" cy="46476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 err="1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컨텐츠업로드</a:t>
                    </a: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I</a:t>
                    </a:r>
                  </a:p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아웃링크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O</a:t>
                    </a:r>
                  </a:p>
                </p:txBody>
              </p:sp>
              <p:cxnSp>
                <p:nvCxnSpPr>
                  <p:cNvPr id="79" name="직선 연결선 78">
                    <a:extLst>
                      <a:ext uri="{FF2B5EF4-FFF2-40B4-BE49-F238E27FC236}">
                        <a16:creationId xmlns:a16="http://schemas.microsoft.com/office/drawing/2014/main" id="{A5FAD771-1B5E-40D1-8AEE-456F9F78F35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00456" y="5667002"/>
                    <a:ext cx="225509" cy="0"/>
                  </a:xfrm>
                  <a:prstGeom prst="line">
                    <a:avLst/>
                  </a:prstGeom>
                  <a:ln w="12700">
                    <a:noFill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5" name="직선 연결선 4">
                <a:extLst>
                  <a:ext uri="{FF2B5EF4-FFF2-40B4-BE49-F238E27FC236}">
                    <a16:creationId xmlns:a16="http://schemas.microsoft.com/office/drawing/2014/main" id="{BBC45121-52CA-40E9-862A-7DD69CF692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34134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직선 연결선 89">
                <a:extLst>
                  <a:ext uri="{FF2B5EF4-FFF2-40B4-BE49-F238E27FC236}">
                    <a16:creationId xmlns:a16="http://schemas.microsoft.com/office/drawing/2014/main" id="{F6EF204D-B5A1-448F-9143-BC79378180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8936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직선 연결선 90">
                <a:extLst>
                  <a:ext uri="{FF2B5EF4-FFF2-40B4-BE49-F238E27FC236}">
                    <a16:creationId xmlns:a16="http://schemas.microsoft.com/office/drawing/2014/main" id="{E8EFEB8F-D9FD-4322-9DBA-B79D097CF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39912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직선 연결선 91">
                <a:extLst>
                  <a:ext uri="{FF2B5EF4-FFF2-40B4-BE49-F238E27FC236}">
                    <a16:creationId xmlns:a16="http://schemas.microsoft.com/office/drawing/2014/main" id="{C562B512-999D-4F11-BC4C-AE60ECD111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09157" y="6045865"/>
                <a:ext cx="57767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EC15439-B9F6-443B-BFD9-C5F17329ECCD}"/>
                </a:ext>
              </a:extLst>
            </p:cNvPr>
            <p:cNvSpPr/>
            <p:nvPr/>
          </p:nvSpPr>
          <p:spPr>
            <a:xfrm>
              <a:off x="6278887" y="5502126"/>
              <a:ext cx="1547689" cy="17608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텐츠 번호 생성 규칙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05EFB41F-09D0-4402-A9EF-9EF62A8A8E0E}"/>
              </a:ext>
            </a:extLst>
          </p:cNvPr>
          <p:cNvSpPr/>
          <p:nvPr/>
        </p:nvSpPr>
        <p:spPr>
          <a:xfrm>
            <a:off x="9307296" y="958984"/>
            <a:ext cx="2862495" cy="41292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>
              <a:lnSpc>
                <a:spcPct val="130000"/>
              </a:lnSpc>
            </a:pP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빨간색 박스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및 아래 기술한 사항 외 기능은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A: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와 동일</a:t>
            </a:r>
          </a:p>
        </p:txBody>
      </p:sp>
      <p:graphicFrame>
        <p:nvGraphicFramePr>
          <p:cNvPr id="122" name="표 10">
            <a:extLst>
              <a:ext uri="{FF2B5EF4-FFF2-40B4-BE49-F238E27FC236}">
                <a16:creationId xmlns:a16="http://schemas.microsoft.com/office/drawing/2014/main" id="{B5AAC919-EB00-49A0-A4D1-355070E1F92A}"/>
              </a:ext>
            </a:extLst>
          </p:cNvPr>
          <p:cNvGraphicFramePr>
            <a:graphicFrameLocks noGrp="1"/>
          </p:cNvGraphicFramePr>
          <p:nvPr/>
        </p:nvGraphicFramePr>
        <p:xfrm>
          <a:off x="9276816" y="1379176"/>
          <a:ext cx="2922885" cy="7891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809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540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1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웃링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UR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4083726"/>
                  </a:ext>
                </a:extLst>
              </a:tr>
              <a:tr h="2540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 경우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수동 입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</a:tbl>
          </a:graphicData>
        </a:graphic>
      </p:graphicFrame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670A051A-B6CD-4736-9405-F717153FB942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B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웃링크</a:t>
            </a:r>
          </a:p>
        </p:txBody>
      </p: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C919EC08-63BC-4E9B-AEF2-B700C110B192}"/>
              </a:ext>
            </a:extLst>
          </p:cNvPr>
          <p:cNvSpPr/>
          <p:nvPr/>
        </p:nvSpPr>
        <p:spPr>
          <a:xfrm>
            <a:off x="369856" y="235585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0B00F0F5-F47E-45C0-B848-51CA32CCF95C}"/>
              </a:ext>
            </a:extLst>
          </p:cNvPr>
          <p:cNvSpPr/>
          <p:nvPr/>
        </p:nvSpPr>
        <p:spPr>
          <a:xfrm>
            <a:off x="375895" y="18104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D8436695-355E-49D1-83F3-D3FA78EE9458}"/>
              </a:ext>
            </a:extLst>
          </p:cNvPr>
          <p:cNvSpPr/>
          <p:nvPr/>
        </p:nvSpPr>
        <p:spPr>
          <a:xfrm>
            <a:off x="375895" y="208851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8BA75BC5-651D-4EC2-8FFF-1A8D0B2BBCA1}"/>
              </a:ext>
            </a:extLst>
          </p:cNvPr>
          <p:cNvSpPr/>
          <p:nvPr/>
        </p:nvSpPr>
        <p:spPr>
          <a:xfrm>
            <a:off x="8991155" y="5789111"/>
            <a:ext cx="3098119" cy="8972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2. 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링크일 경우 새창으로 열기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?</a:t>
            </a:r>
          </a:p>
          <a:p>
            <a:pPr>
              <a:lnSpc>
                <a:spcPct val="12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</a:t>
            </a:r>
            <a:r>
              <a: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- </a:t>
            </a:r>
            <a:r>
              <a:rPr lang="ko-KR" altLang="en-US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 </a:t>
            </a:r>
            <a:r>
              <a: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FO</a:t>
            </a:r>
            <a:r>
              <a:rPr lang="ko-KR" altLang="en-US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에서 해당 컨텐츠 조회 시</a:t>
            </a:r>
            <a:r>
              <a: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, </a:t>
            </a:r>
            <a:r>
              <a:rPr lang="ko-KR" altLang="en-US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입력 링크 </a:t>
            </a:r>
            <a:r>
              <a:rPr lang="ko-KR" altLang="en-US" sz="1000" dirty="0" err="1">
                <a:solidFill>
                  <a:srgbClr val="0070C0"/>
                </a:solidFill>
                <a:ea typeface="AppleSDGothicNeoM00" panose="02000503000000000000" pitchFamily="2" charset="-127"/>
              </a:rPr>
              <a:t>새창</a:t>
            </a:r>
            <a:r>
              <a:rPr lang="ko-KR" altLang="en-US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 출력</a:t>
            </a:r>
            <a:endParaRPr lang="en-US" altLang="ko-KR" sz="10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70A8771D-A564-4A12-AD08-DB2E363C57D1}"/>
              </a:ext>
            </a:extLst>
          </p:cNvPr>
          <p:cNvSpPr/>
          <p:nvPr/>
        </p:nvSpPr>
        <p:spPr>
          <a:xfrm>
            <a:off x="8973779" y="3682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aphicFrame>
        <p:nvGraphicFramePr>
          <p:cNvPr id="101" name="표 100">
            <a:extLst>
              <a:ext uri="{FF2B5EF4-FFF2-40B4-BE49-F238E27FC236}">
                <a16:creationId xmlns:a16="http://schemas.microsoft.com/office/drawing/2014/main" id="{218D45D6-FD60-4AC2-8407-8A1E794B77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158400"/>
              </p:ext>
            </p:extLst>
          </p:nvPr>
        </p:nvGraphicFramePr>
        <p:xfrm>
          <a:off x="443541" y="4173615"/>
          <a:ext cx="8455876" cy="16348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E8ACD89F-8DD6-4532-8F50-646A7B631778}"/>
              </a:ext>
            </a:extLst>
          </p:cNvPr>
          <p:cNvGrpSpPr/>
          <p:nvPr/>
        </p:nvGrpSpPr>
        <p:grpSpPr>
          <a:xfrm>
            <a:off x="2394375" y="6002453"/>
            <a:ext cx="292384" cy="234859"/>
            <a:chOff x="2527622" y="5858437"/>
            <a:chExt cx="292384" cy="246968"/>
          </a:xfrm>
        </p:grpSpPr>
        <p:sp>
          <p:nvSpPr>
            <p:cNvPr id="103" name="사각형: 둥근 모서리 102">
              <a:extLst>
                <a:ext uri="{FF2B5EF4-FFF2-40B4-BE49-F238E27FC236}">
                  <a16:creationId xmlns:a16="http://schemas.microsoft.com/office/drawing/2014/main" id="{2581EEDA-039E-485E-AA7E-152A00785798}"/>
                </a:ext>
              </a:extLst>
            </p:cNvPr>
            <p:cNvSpPr/>
            <p:nvPr/>
          </p:nvSpPr>
          <p:spPr>
            <a:xfrm>
              <a:off x="2527622" y="5858437"/>
              <a:ext cx="292384" cy="246968"/>
            </a:xfrm>
            <a:prstGeom prst="roundRect">
              <a:avLst>
                <a:gd name="adj" fmla="val 10496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04" name="그림 103">
              <a:extLst>
                <a:ext uri="{FF2B5EF4-FFF2-40B4-BE49-F238E27FC236}">
                  <a16:creationId xmlns:a16="http://schemas.microsoft.com/office/drawing/2014/main" id="{9D3B6BD8-B204-47DB-AF22-BCF29B168BB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561893" y="5875091"/>
              <a:ext cx="228288" cy="218205"/>
            </a:xfrm>
            <a:prstGeom prst="rect">
              <a:avLst/>
            </a:prstGeom>
          </p:spPr>
        </p:pic>
      </p:grp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22B95B24-A8EC-43D7-868C-5AD13A06C316}"/>
              </a:ext>
            </a:extLst>
          </p:cNvPr>
          <p:cNvSpPr/>
          <p:nvPr/>
        </p:nvSpPr>
        <p:spPr>
          <a:xfrm>
            <a:off x="2685600" y="6043272"/>
            <a:ext cx="851694" cy="18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미지업로드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EDB47436-44DF-4C8A-926F-3F6797E67C59}"/>
              </a:ext>
            </a:extLst>
          </p:cNvPr>
          <p:cNvGrpSpPr/>
          <p:nvPr/>
        </p:nvGrpSpPr>
        <p:grpSpPr>
          <a:xfrm>
            <a:off x="4021982" y="6403982"/>
            <a:ext cx="1377078" cy="180000"/>
            <a:chOff x="3931297" y="6465659"/>
            <a:chExt cx="1377078" cy="180000"/>
          </a:xfrm>
        </p:grpSpPr>
        <p:sp>
          <p:nvSpPr>
            <p:cNvPr id="108" name="사각형: 둥근 모서리 107">
              <a:extLst>
                <a:ext uri="{FF2B5EF4-FFF2-40B4-BE49-F238E27FC236}">
                  <a16:creationId xmlns:a16="http://schemas.microsoft.com/office/drawing/2014/main" id="{3F5347DF-4554-4FA9-A696-6FB13DEB07B7}"/>
                </a:ext>
              </a:extLst>
            </p:cNvPr>
            <p:cNvSpPr/>
            <p:nvPr/>
          </p:nvSpPr>
          <p:spPr>
            <a:xfrm>
              <a:off x="3931297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</a:t>
              </a:r>
            </a:p>
          </p:txBody>
        </p:sp>
        <p:sp>
          <p:nvSpPr>
            <p:cNvPr id="109" name="사각형: 둥근 모서리 108">
              <a:extLst>
                <a:ext uri="{FF2B5EF4-FFF2-40B4-BE49-F238E27FC236}">
                  <a16:creationId xmlns:a16="http://schemas.microsoft.com/office/drawing/2014/main" id="{1DAA445F-1739-43A4-82CA-4EEDA4E1E2FA}"/>
                </a:ext>
              </a:extLst>
            </p:cNvPr>
            <p:cNvSpPr/>
            <p:nvPr/>
          </p:nvSpPr>
          <p:spPr>
            <a:xfrm>
              <a:off x="4655840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초기화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78280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2926452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영상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컨텐츠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5821" y="620253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6" name="표 12">
            <a:extLst>
              <a:ext uri="{FF2B5EF4-FFF2-40B4-BE49-F238E27FC236}">
                <a16:creationId xmlns:a16="http://schemas.microsoft.com/office/drawing/2014/main" id="{FAFA8B38-C9E2-4A9C-A01A-1739907674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334662"/>
              </p:ext>
            </p:extLst>
          </p:nvPr>
        </p:nvGraphicFramePr>
        <p:xfrm>
          <a:off x="443540" y="1476944"/>
          <a:ext cx="8423935" cy="2708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0439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302453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889763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403558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902555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507828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012240675"/>
                    </a:ext>
                  </a:extLst>
                </a:gridCol>
                <a:gridCol w="971275">
                  <a:extLst>
                    <a:ext uri="{9D8B030D-6E8A-4147-A177-3AD203B41FA5}">
                      <a16:colId xmlns:a16="http://schemas.microsoft.com/office/drawing/2014/main" val="4291524393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문서  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원포인트레슨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181298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컨텐츠 업로드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베드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코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URL)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입력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형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</a:t>
                      </a:r>
                      <a:endParaRPr lang="ko-KR" altLang="en-US" spc="-100" baseline="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6641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 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54808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열람허용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 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가능여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가능             ●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489024FD-7F80-49A3-887D-85867E4F1E55}"/>
              </a:ext>
            </a:extLst>
          </p:cNvPr>
          <p:cNvSpPr/>
          <p:nvPr/>
        </p:nvSpPr>
        <p:spPr>
          <a:xfrm>
            <a:off x="1342121" y="2338412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178179FD-B710-4467-864A-EA53B8423A60}"/>
              </a:ext>
            </a:extLst>
          </p:cNvPr>
          <p:cNvSpPr/>
          <p:nvPr/>
        </p:nvSpPr>
        <p:spPr>
          <a:xfrm>
            <a:off x="4561288" y="2333534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3151DEBD-C741-437F-9BD6-429D4690AEC0}"/>
              </a:ext>
            </a:extLst>
          </p:cNvPr>
          <p:cNvGrpSpPr/>
          <p:nvPr/>
        </p:nvGrpSpPr>
        <p:grpSpPr>
          <a:xfrm>
            <a:off x="4521623" y="3295448"/>
            <a:ext cx="3711546" cy="175761"/>
            <a:chOff x="4535523" y="2896789"/>
            <a:chExt cx="3711546" cy="175761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1CEB0E8F-3893-4D41-B9B8-5B2AB66E1493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4" name="그룹 173">
                <a:extLst>
                  <a:ext uri="{FF2B5EF4-FFF2-40B4-BE49-F238E27FC236}">
                    <a16:creationId xmlns:a16="http://schemas.microsoft.com/office/drawing/2014/main" id="{08CE6B5D-F6C7-4F24-9055-E92F20610776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96" name="직사각형 195">
                  <a:extLst>
                    <a:ext uri="{FF2B5EF4-FFF2-40B4-BE49-F238E27FC236}">
                      <a16:creationId xmlns:a16="http://schemas.microsoft.com/office/drawing/2014/main" id="{82C211D7-9D16-4A2B-94C9-F0FDEF298023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97" name="직사각형 196">
                  <a:extLst>
                    <a:ext uri="{FF2B5EF4-FFF2-40B4-BE49-F238E27FC236}">
                      <a16:creationId xmlns:a16="http://schemas.microsoft.com/office/drawing/2014/main" id="{02B3B37E-EC78-4898-8460-32193AB3DD9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98" name="그림 197">
                  <a:extLst>
                    <a:ext uri="{FF2B5EF4-FFF2-40B4-BE49-F238E27FC236}">
                      <a16:creationId xmlns:a16="http://schemas.microsoft.com/office/drawing/2014/main" id="{7EA89D27-E7B8-4A9B-A14C-EF5A958029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96306674-D4D1-4BCE-BA6E-044AF35CE08D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9" name="직사각형 178">
                <a:extLst>
                  <a:ext uri="{FF2B5EF4-FFF2-40B4-BE49-F238E27FC236}">
                    <a16:creationId xmlns:a16="http://schemas.microsoft.com/office/drawing/2014/main" id="{119CA91D-08CC-4597-8E7B-BC3A7CE843B6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2" name="직사각형 201">
                <a:extLst>
                  <a:ext uri="{FF2B5EF4-FFF2-40B4-BE49-F238E27FC236}">
                    <a16:creationId xmlns:a16="http://schemas.microsoft.com/office/drawing/2014/main" id="{B7993C22-B48C-497B-993B-B6AF34E471D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3" name="직사각형 202">
                <a:extLst>
                  <a:ext uri="{FF2B5EF4-FFF2-40B4-BE49-F238E27FC236}">
                    <a16:creationId xmlns:a16="http://schemas.microsoft.com/office/drawing/2014/main" id="{F5E185A2-B398-4C0B-B278-5D4B31A09B8E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4" name="직사각형 203">
                <a:extLst>
                  <a:ext uri="{FF2B5EF4-FFF2-40B4-BE49-F238E27FC236}">
                    <a16:creationId xmlns:a16="http://schemas.microsoft.com/office/drawing/2014/main" id="{8F6FAC83-FD4E-438E-8278-946FB419E8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205" name="그룹 204">
              <a:extLst>
                <a:ext uri="{FF2B5EF4-FFF2-40B4-BE49-F238E27FC236}">
                  <a16:creationId xmlns:a16="http://schemas.microsoft.com/office/drawing/2014/main" id="{B6A2D1A9-64D5-4DC8-9EFB-ED4F2C52E495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206" name="그룹 205">
                <a:extLst>
                  <a:ext uri="{FF2B5EF4-FFF2-40B4-BE49-F238E27FC236}">
                    <a16:creationId xmlns:a16="http://schemas.microsoft.com/office/drawing/2014/main" id="{A14F1E05-0861-4A3F-8CD7-FC066155038B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212" name="직사각형 211">
                  <a:extLst>
                    <a:ext uri="{FF2B5EF4-FFF2-40B4-BE49-F238E27FC236}">
                      <a16:creationId xmlns:a16="http://schemas.microsoft.com/office/drawing/2014/main" id="{F60D1063-6954-4473-8166-A197B67164B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213" name="직사각형 212">
                  <a:extLst>
                    <a:ext uri="{FF2B5EF4-FFF2-40B4-BE49-F238E27FC236}">
                      <a16:creationId xmlns:a16="http://schemas.microsoft.com/office/drawing/2014/main" id="{76AB009E-C053-4F2F-8C91-60ECDFF5DC4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214" name="그림 213">
                  <a:extLst>
                    <a:ext uri="{FF2B5EF4-FFF2-40B4-BE49-F238E27FC236}">
                      <a16:creationId xmlns:a16="http://schemas.microsoft.com/office/drawing/2014/main" id="{73936F88-5CE9-40BA-86D8-D0EC39D1A9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208" name="직사각형 207">
                <a:extLst>
                  <a:ext uri="{FF2B5EF4-FFF2-40B4-BE49-F238E27FC236}">
                    <a16:creationId xmlns:a16="http://schemas.microsoft.com/office/drawing/2014/main" id="{76BF78C6-6071-43B8-ABE6-473825E62152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12-31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9" name="직사각형 208">
                <a:extLst>
                  <a:ext uri="{FF2B5EF4-FFF2-40B4-BE49-F238E27FC236}">
                    <a16:creationId xmlns:a16="http://schemas.microsoft.com/office/drawing/2014/main" id="{44A1005F-22E7-475A-BFB6-61C93CB1240E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0" name="직사각형 209">
                <a:extLst>
                  <a:ext uri="{FF2B5EF4-FFF2-40B4-BE49-F238E27FC236}">
                    <a16:creationId xmlns:a16="http://schemas.microsoft.com/office/drawing/2014/main" id="{92747398-46BD-44B6-A478-23E7E782A23A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1" name="직사각형 210">
                <a:extLst>
                  <a:ext uri="{FF2B5EF4-FFF2-40B4-BE49-F238E27FC236}">
                    <a16:creationId xmlns:a16="http://schemas.microsoft.com/office/drawing/2014/main" id="{6654E2FE-3C1B-4A12-8DE8-D6D4405B04D0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228" name="직사각형 227">
              <a:extLst>
                <a:ext uri="{FF2B5EF4-FFF2-40B4-BE49-F238E27FC236}">
                  <a16:creationId xmlns:a16="http://schemas.microsoft.com/office/drawing/2014/main" id="{6529F0E2-0048-4CFC-A65F-E9928BEFF93B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229" name="사각형: 둥근 모서리 228">
              <a:extLst>
                <a:ext uri="{FF2B5EF4-FFF2-40B4-BE49-F238E27FC236}">
                  <a16:creationId xmlns:a16="http://schemas.microsoft.com/office/drawing/2014/main" id="{17F7A4B1-05DA-4EB4-8988-671337DA11CC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30" name="그림 229">
              <a:extLst>
                <a:ext uri="{FF2B5EF4-FFF2-40B4-BE49-F238E27FC236}">
                  <a16:creationId xmlns:a16="http://schemas.microsoft.com/office/drawing/2014/main" id="{C6A56D4E-0B59-4417-8E0C-0021C92DC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grpSp>
        <p:nvGrpSpPr>
          <p:cNvPr id="253" name="그룹 252">
            <a:extLst>
              <a:ext uri="{FF2B5EF4-FFF2-40B4-BE49-F238E27FC236}">
                <a16:creationId xmlns:a16="http://schemas.microsoft.com/office/drawing/2014/main" id="{60F5DCD9-5570-40F0-9995-D5572595432E}"/>
              </a:ext>
            </a:extLst>
          </p:cNvPr>
          <p:cNvGrpSpPr/>
          <p:nvPr/>
        </p:nvGrpSpPr>
        <p:grpSpPr>
          <a:xfrm>
            <a:off x="6882376" y="2603356"/>
            <a:ext cx="1065951" cy="172800"/>
            <a:chOff x="1260034" y="1778319"/>
            <a:chExt cx="1065951" cy="172800"/>
          </a:xfrm>
        </p:grpSpPr>
        <p:sp>
          <p:nvSpPr>
            <p:cNvPr id="256" name="직사각형 255">
              <a:extLst>
                <a:ext uri="{FF2B5EF4-FFF2-40B4-BE49-F238E27FC236}">
                  <a16:creationId xmlns:a16="http://schemas.microsoft.com/office/drawing/2014/main" id="{9AAA2FDF-45A4-4C51-80BD-11AA16F5BD7C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57" name="직사각형 256">
              <a:extLst>
                <a:ext uri="{FF2B5EF4-FFF2-40B4-BE49-F238E27FC236}">
                  <a16:creationId xmlns:a16="http://schemas.microsoft.com/office/drawing/2014/main" id="{6491BDD4-4782-4EB8-921F-CB00D9CF6468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5" name="그룹 274">
            <a:extLst>
              <a:ext uri="{FF2B5EF4-FFF2-40B4-BE49-F238E27FC236}">
                <a16:creationId xmlns:a16="http://schemas.microsoft.com/office/drawing/2014/main" id="{A9A191A0-4A36-408D-A2F1-D7951C26F968}"/>
              </a:ext>
            </a:extLst>
          </p:cNvPr>
          <p:cNvGrpSpPr/>
          <p:nvPr/>
        </p:nvGrpSpPr>
        <p:grpSpPr>
          <a:xfrm>
            <a:off x="6882376" y="2870933"/>
            <a:ext cx="1065951" cy="172800"/>
            <a:chOff x="1260034" y="1778319"/>
            <a:chExt cx="1065951" cy="172800"/>
          </a:xfrm>
        </p:grpSpPr>
        <p:sp>
          <p:nvSpPr>
            <p:cNvPr id="276" name="직사각형 275">
              <a:extLst>
                <a:ext uri="{FF2B5EF4-FFF2-40B4-BE49-F238E27FC236}">
                  <a16:creationId xmlns:a16="http://schemas.microsoft.com/office/drawing/2014/main" id="{C4737F8E-AC4C-41E5-A73A-5DA823BA68A7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C0FC404D-93E0-4EF0-8355-DA96AFD7A30E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8" name="그룹 277">
            <a:extLst>
              <a:ext uri="{FF2B5EF4-FFF2-40B4-BE49-F238E27FC236}">
                <a16:creationId xmlns:a16="http://schemas.microsoft.com/office/drawing/2014/main" id="{D2DFE4EA-566D-4198-8AB6-A38B360FC5A2}"/>
              </a:ext>
            </a:extLst>
          </p:cNvPr>
          <p:cNvGrpSpPr/>
          <p:nvPr/>
        </p:nvGrpSpPr>
        <p:grpSpPr>
          <a:xfrm>
            <a:off x="1345745" y="2867996"/>
            <a:ext cx="983380" cy="172800"/>
            <a:chOff x="1260034" y="1778319"/>
            <a:chExt cx="983380" cy="172800"/>
          </a:xfrm>
        </p:grpSpPr>
        <p:sp>
          <p:nvSpPr>
            <p:cNvPr id="279" name="직사각형 278">
              <a:extLst>
                <a:ext uri="{FF2B5EF4-FFF2-40B4-BE49-F238E27FC236}">
                  <a16:creationId xmlns:a16="http://schemas.microsoft.com/office/drawing/2014/main" id="{74E5A847-9C16-4BF5-84D2-D083F7C98E0C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80" name="직사각형 279">
              <a:extLst>
                <a:ext uri="{FF2B5EF4-FFF2-40B4-BE49-F238E27FC236}">
                  <a16:creationId xmlns:a16="http://schemas.microsoft.com/office/drawing/2014/main" id="{72DB68FC-9892-4EE6-8A6A-279788DB1F84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87" name="직사각형 286">
            <a:extLst>
              <a:ext uri="{FF2B5EF4-FFF2-40B4-BE49-F238E27FC236}">
                <a16:creationId xmlns:a16="http://schemas.microsoft.com/office/drawing/2014/main" id="{D77B06E9-8DF5-44D4-9A42-5FE931673FDB}"/>
              </a:ext>
            </a:extLst>
          </p:cNvPr>
          <p:cNvSpPr/>
          <p:nvPr/>
        </p:nvSpPr>
        <p:spPr>
          <a:xfrm>
            <a:off x="4573370" y="3955878"/>
            <a:ext cx="407200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우선순위에 따라 콤마로 구분하여 입력하세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9" name="직사각형 288">
            <a:extLst>
              <a:ext uri="{FF2B5EF4-FFF2-40B4-BE49-F238E27FC236}">
                <a16:creationId xmlns:a16="http://schemas.microsoft.com/office/drawing/2014/main" id="{E165B56A-FF30-429A-AB3B-9D56082FFE4B}"/>
              </a:ext>
            </a:extLst>
          </p:cNvPr>
          <p:cNvSpPr/>
          <p:nvPr/>
        </p:nvSpPr>
        <p:spPr>
          <a:xfrm>
            <a:off x="1342120" y="2065346"/>
            <a:ext cx="375378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00KB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의 동영상만 업로드 가능합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0" name="직사각형 289">
            <a:extLst>
              <a:ext uri="{FF2B5EF4-FFF2-40B4-BE49-F238E27FC236}">
                <a16:creationId xmlns:a16="http://schemas.microsoft.com/office/drawing/2014/main" id="{06EA207C-D1DD-4471-8552-9015B270696B}"/>
              </a:ext>
            </a:extLst>
          </p:cNvPr>
          <p:cNvSpPr/>
          <p:nvPr/>
        </p:nvSpPr>
        <p:spPr>
          <a:xfrm>
            <a:off x="5130958" y="2064651"/>
            <a:ext cx="642450" cy="16621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선택</a:t>
            </a:r>
          </a:p>
        </p:txBody>
      </p:sp>
      <p:sp>
        <p:nvSpPr>
          <p:cNvPr id="291" name="직사각형 290">
            <a:extLst>
              <a:ext uri="{FF2B5EF4-FFF2-40B4-BE49-F238E27FC236}">
                <a16:creationId xmlns:a16="http://schemas.microsoft.com/office/drawing/2014/main" id="{B9D3526C-6DAE-4532-91B5-B3FAEB66DB87}"/>
              </a:ext>
            </a:extLst>
          </p:cNvPr>
          <p:cNvSpPr/>
          <p:nvPr/>
        </p:nvSpPr>
        <p:spPr>
          <a:xfrm>
            <a:off x="6882376" y="2070646"/>
            <a:ext cx="373011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MP4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0EE9873B-10DB-4E80-9D64-AE9466A0DDFF}"/>
              </a:ext>
            </a:extLst>
          </p:cNvPr>
          <p:cNvGrpSpPr/>
          <p:nvPr/>
        </p:nvGrpSpPr>
        <p:grpSpPr>
          <a:xfrm>
            <a:off x="2519340" y="6048290"/>
            <a:ext cx="292384" cy="234859"/>
            <a:chOff x="2527622" y="5858437"/>
            <a:chExt cx="292384" cy="246968"/>
          </a:xfrm>
        </p:grpSpPr>
        <p:sp>
          <p:nvSpPr>
            <p:cNvPr id="38" name="사각형: 둥근 모서리 37">
              <a:extLst>
                <a:ext uri="{FF2B5EF4-FFF2-40B4-BE49-F238E27FC236}">
                  <a16:creationId xmlns:a16="http://schemas.microsoft.com/office/drawing/2014/main" id="{28D51E31-0B1B-4F1D-84DB-8CAEECE8D116}"/>
                </a:ext>
              </a:extLst>
            </p:cNvPr>
            <p:cNvSpPr/>
            <p:nvPr/>
          </p:nvSpPr>
          <p:spPr>
            <a:xfrm>
              <a:off x="2527622" y="5858437"/>
              <a:ext cx="292384" cy="246968"/>
            </a:xfrm>
            <a:prstGeom prst="roundRect">
              <a:avLst>
                <a:gd name="adj" fmla="val 10496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597EEE10-A76D-452E-BAD8-4E910FF65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61893" y="5875091"/>
              <a:ext cx="228288" cy="218205"/>
            </a:xfrm>
            <a:prstGeom prst="rect">
              <a:avLst/>
            </a:prstGeom>
          </p:spPr>
        </p:pic>
      </p:grpSp>
      <p:sp>
        <p:nvSpPr>
          <p:cNvPr id="293" name="직사각형 292">
            <a:extLst>
              <a:ext uri="{FF2B5EF4-FFF2-40B4-BE49-F238E27FC236}">
                <a16:creationId xmlns:a16="http://schemas.microsoft.com/office/drawing/2014/main" id="{5F8ABD10-9A4F-49A5-9807-BC38A6BF90E7}"/>
              </a:ext>
            </a:extLst>
          </p:cNvPr>
          <p:cNvSpPr/>
          <p:nvPr/>
        </p:nvSpPr>
        <p:spPr>
          <a:xfrm>
            <a:off x="2787906" y="6024292"/>
            <a:ext cx="851694" cy="18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미지업로드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4" name="그룹 293">
            <a:extLst>
              <a:ext uri="{FF2B5EF4-FFF2-40B4-BE49-F238E27FC236}">
                <a16:creationId xmlns:a16="http://schemas.microsoft.com/office/drawing/2014/main" id="{F0153F10-0BBB-4FA5-AE0F-E52D0D2417F1}"/>
              </a:ext>
            </a:extLst>
          </p:cNvPr>
          <p:cNvGrpSpPr/>
          <p:nvPr/>
        </p:nvGrpSpPr>
        <p:grpSpPr>
          <a:xfrm>
            <a:off x="4567502" y="2870614"/>
            <a:ext cx="1065951" cy="172800"/>
            <a:chOff x="1260034" y="1778319"/>
            <a:chExt cx="1065951" cy="172800"/>
          </a:xfrm>
        </p:grpSpPr>
        <p:sp>
          <p:nvSpPr>
            <p:cNvPr id="295" name="직사각형 294">
              <a:extLst>
                <a:ext uri="{FF2B5EF4-FFF2-40B4-BE49-F238E27FC236}">
                  <a16:creationId xmlns:a16="http://schemas.microsoft.com/office/drawing/2014/main" id="{3F6A89BD-D88F-49FD-B756-E9E6E3DD3719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96" name="직사각형 295">
              <a:extLst>
                <a:ext uri="{FF2B5EF4-FFF2-40B4-BE49-F238E27FC236}">
                  <a16:creationId xmlns:a16="http://schemas.microsoft.com/office/drawing/2014/main" id="{9A430EA1-04CA-4C4E-9A8B-8B7406D7E80E}"/>
                </a:ext>
              </a:extLst>
            </p:cNvPr>
            <p:cNvSpPr/>
            <p:nvPr/>
          </p:nvSpPr>
          <p:spPr>
            <a:xfrm>
              <a:off x="2109961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07D2312A-05CF-4DEB-B86F-22441FEC2714}"/>
              </a:ext>
            </a:extLst>
          </p:cNvPr>
          <p:cNvGrpSpPr/>
          <p:nvPr/>
        </p:nvGrpSpPr>
        <p:grpSpPr>
          <a:xfrm>
            <a:off x="3982097" y="6561368"/>
            <a:ext cx="1377078" cy="180000"/>
            <a:chOff x="3931297" y="6465659"/>
            <a:chExt cx="1377078" cy="180000"/>
          </a:xfrm>
        </p:grpSpPr>
        <p:sp>
          <p:nvSpPr>
            <p:cNvPr id="297" name="사각형: 둥근 모서리 296">
              <a:extLst>
                <a:ext uri="{FF2B5EF4-FFF2-40B4-BE49-F238E27FC236}">
                  <a16:creationId xmlns:a16="http://schemas.microsoft.com/office/drawing/2014/main" id="{211F0B85-7AE2-480B-97D8-6595011F91C4}"/>
                </a:ext>
              </a:extLst>
            </p:cNvPr>
            <p:cNvSpPr/>
            <p:nvPr/>
          </p:nvSpPr>
          <p:spPr>
            <a:xfrm>
              <a:off x="3931297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</a:t>
              </a:r>
            </a:p>
          </p:txBody>
        </p:sp>
        <p:sp>
          <p:nvSpPr>
            <p:cNvPr id="298" name="사각형: 둥근 모서리 297">
              <a:extLst>
                <a:ext uri="{FF2B5EF4-FFF2-40B4-BE49-F238E27FC236}">
                  <a16:creationId xmlns:a16="http://schemas.microsoft.com/office/drawing/2014/main" id="{AF2F0DA5-D12F-452C-BF53-3484BBBDAE8C}"/>
                </a:ext>
              </a:extLst>
            </p:cNvPr>
            <p:cNvSpPr/>
            <p:nvPr/>
          </p:nvSpPr>
          <p:spPr>
            <a:xfrm>
              <a:off x="4655840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초기화</a:t>
              </a:r>
            </a:p>
          </p:txBody>
        </p:sp>
      </p:grpSp>
      <p:sp>
        <p:nvSpPr>
          <p:cNvPr id="304" name="직사각형 303">
            <a:extLst>
              <a:ext uri="{FF2B5EF4-FFF2-40B4-BE49-F238E27FC236}">
                <a16:creationId xmlns:a16="http://schemas.microsoft.com/office/drawing/2014/main" id="{56C72D9F-6945-4DCA-B045-42D7FFFA6125}"/>
              </a:ext>
            </a:extLst>
          </p:cNvPr>
          <p:cNvSpPr/>
          <p:nvPr/>
        </p:nvSpPr>
        <p:spPr>
          <a:xfrm>
            <a:off x="1342120" y="2593822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6FC6B508-A697-4F7A-B4E9-C94BFD3B2B53}"/>
              </a:ext>
            </a:extLst>
          </p:cNvPr>
          <p:cNvGrpSpPr/>
          <p:nvPr/>
        </p:nvGrpSpPr>
        <p:grpSpPr>
          <a:xfrm>
            <a:off x="3188943" y="2592832"/>
            <a:ext cx="169472" cy="169472"/>
            <a:chOff x="3180922" y="2352202"/>
            <a:chExt cx="169472" cy="169472"/>
          </a:xfrm>
        </p:grpSpPr>
        <p:sp>
          <p:nvSpPr>
            <p:cNvPr id="305" name="사각형: 둥근 모서리 304">
              <a:extLst>
                <a:ext uri="{FF2B5EF4-FFF2-40B4-BE49-F238E27FC236}">
                  <a16:creationId xmlns:a16="http://schemas.microsoft.com/office/drawing/2014/main" id="{1F350384-9B7F-461C-A440-D6CB828072FE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06" name="그림 305">
              <a:extLst>
                <a:ext uri="{FF2B5EF4-FFF2-40B4-BE49-F238E27FC236}">
                  <a16:creationId xmlns:a16="http://schemas.microsoft.com/office/drawing/2014/main" id="{37B752C4-9AC3-4471-BE71-E93F18D52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307" name="그룹 306">
            <a:extLst>
              <a:ext uri="{FF2B5EF4-FFF2-40B4-BE49-F238E27FC236}">
                <a16:creationId xmlns:a16="http://schemas.microsoft.com/office/drawing/2014/main" id="{42A05CBC-2B80-4BA9-931B-31EC003B135C}"/>
              </a:ext>
            </a:extLst>
          </p:cNvPr>
          <p:cNvGrpSpPr/>
          <p:nvPr/>
        </p:nvGrpSpPr>
        <p:grpSpPr>
          <a:xfrm>
            <a:off x="2386027" y="2865898"/>
            <a:ext cx="1067418" cy="172800"/>
            <a:chOff x="1260034" y="1778319"/>
            <a:chExt cx="1067418" cy="172800"/>
          </a:xfrm>
        </p:grpSpPr>
        <p:sp>
          <p:nvSpPr>
            <p:cNvPr id="308" name="직사각형 307">
              <a:extLst>
                <a:ext uri="{FF2B5EF4-FFF2-40B4-BE49-F238E27FC236}">
                  <a16:creationId xmlns:a16="http://schemas.microsoft.com/office/drawing/2014/main" id="{C83E80D5-F795-404C-B8A5-0EC5FD869898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309" name="직사각형 308">
              <a:extLst>
                <a:ext uri="{FF2B5EF4-FFF2-40B4-BE49-F238E27FC236}">
                  <a16:creationId xmlns:a16="http://schemas.microsoft.com/office/drawing/2014/main" id="{05B9EC14-43BC-46F8-8496-0782DA4E981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323" name="그룹 322">
            <a:extLst>
              <a:ext uri="{FF2B5EF4-FFF2-40B4-BE49-F238E27FC236}">
                <a16:creationId xmlns:a16="http://schemas.microsoft.com/office/drawing/2014/main" id="{824313F4-B630-4DA2-B9FA-2CC85C41B592}"/>
              </a:ext>
            </a:extLst>
          </p:cNvPr>
          <p:cNvGrpSpPr/>
          <p:nvPr/>
        </p:nvGrpSpPr>
        <p:grpSpPr>
          <a:xfrm>
            <a:off x="6882376" y="2333534"/>
            <a:ext cx="589035" cy="172800"/>
            <a:chOff x="1260034" y="1778319"/>
            <a:chExt cx="589035" cy="172800"/>
          </a:xfrm>
        </p:grpSpPr>
        <p:sp>
          <p:nvSpPr>
            <p:cNvPr id="324" name="직사각형 323">
              <a:extLst>
                <a:ext uri="{FF2B5EF4-FFF2-40B4-BE49-F238E27FC236}">
                  <a16:creationId xmlns:a16="http://schemas.microsoft.com/office/drawing/2014/main" id="{DB980864-2E0F-4C1D-829D-281274C4283F}"/>
                </a:ext>
              </a:extLst>
            </p:cNvPr>
            <p:cNvSpPr/>
            <p:nvPr/>
          </p:nvSpPr>
          <p:spPr>
            <a:xfrm>
              <a:off x="1260034" y="1778319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도</a:t>
              </a:r>
            </a:p>
          </p:txBody>
        </p:sp>
        <p:sp>
          <p:nvSpPr>
            <p:cNvPr id="325" name="직사각형 324">
              <a:extLst>
                <a:ext uri="{FF2B5EF4-FFF2-40B4-BE49-F238E27FC236}">
                  <a16:creationId xmlns:a16="http://schemas.microsoft.com/office/drawing/2014/main" id="{261C56E6-E71F-49D6-A5AF-37FB9BFD2B4E}"/>
                </a:ext>
              </a:extLst>
            </p:cNvPr>
            <p:cNvSpPr/>
            <p:nvPr/>
          </p:nvSpPr>
          <p:spPr>
            <a:xfrm>
              <a:off x="1633045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30" name="직사각형 329">
            <a:extLst>
              <a:ext uri="{FF2B5EF4-FFF2-40B4-BE49-F238E27FC236}">
                <a16:creationId xmlns:a16="http://schemas.microsoft.com/office/drawing/2014/main" id="{D1D71848-E3B5-4132-8ABF-5DB7A93CA324}"/>
              </a:ext>
            </a:extLst>
          </p:cNvPr>
          <p:cNvSpPr/>
          <p:nvPr/>
        </p:nvSpPr>
        <p:spPr>
          <a:xfrm>
            <a:off x="7545797" y="2335852"/>
            <a:ext cx="373011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1" name="직사각형 330">
            <a:extLst>
              <a:ext uri="{FF2B5EF4-FFF2-40B4-BE49-F238E27FC236}">
                <a16:creationId xmlns:a16="http://schemas.microsoft.com/office/drawing/2014/main" id="{A0F20997-C6B2-4601-A1B2-50BA5524AC08}"/>
              </a:ext>
            </a:extLst>
          </p:cNvPr>
          <p:cNvSpPr/>
          <p:nvPr/>
        </p:nvSpPr>
        <p:spPr>
          <a:xfrm>
            <a:off x="7948328" y="2335852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9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2" name="직사각형 331">
            <a:extLst>
              <a:ext uri="{FF2B5EF4-FFF2-40B4-BE49-F238E27FC236}">
                <a16:creationId xmlns:a16="http://schemas.microsoft.com/office/drawing/2014/main" id="{E79D5ECD-6FAE-4EAF-BFB3-5F88B003466E}"/>
              </a:ext>
            </a:extLst>
          </p:cNvPr>
          <p:cNvSpPr/>
          <p:nvPr/>
        </p:nvSpPr>
        <p:spPr>
          <a:xfrm>
            <a:off x="8266943" y="2335852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0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5F4E090F-CE54-4F48-8CD4-F57A5974965B}"/>
              </a:ext>
            </a:extLst>
          </p:cNvPr>
          <p:cNvSpPr/>
          <p:nvPr/>
        </p:nvSpPr>
        <p:spPr>
          <a:xfrm>
            <a:off x="4559984" y="2607293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41A1DC4D-1043-4D58-91A4-21F9426941F9}"/>
              </a:ext>
            </a:extLst>
          </p:cNvPr>
          <p:cNvSpPr/>
          <p:nvPr/>
        </p:nvSpPr>
        <p:spPr>
          <a:xfrm>
            <a:off x="443541" y="1476944"/>
            <a:ext cx="8423935" cy="806458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C0E505CD-EC08-4DD7-AC16-1FCA20209D20}"/>
              </a:ext>
            </a:extLst>
          </p:cNvPr>
          <p:cNvSpPr/>
          <p:nvPr/>
        </p:nvSpPr>
        <p:spPr>
          <a:xfrm>
            <a:off x="399025" y="1154051"/>
            <a:ext cx="8518304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                     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54271ABE-9B85-4BF8-8DC9-09AE1D9CC13D}"/>
              </a:ext>
            </a:extLst>
          </p:cNvPr>
          <p:cNvSpPr/>
          <p:nvPr/>
        </p:nvSpPr>
        <p:spPr>
          <a:xfrm>
            <a:off x="399025" y="1421811"/>
            <a:ext cx="8518304" cy="5223848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1E206ED1-DB3A-4CBF-B79D-DB5BB2E0DE5B}"/>
              </a:ext>
            </a:extLst>
          </p:cNvPr>
          <p:cNvGrpSpPr/>
          <p:nvPr/>
        </p:nvGrpSpPr>
        <p:grpSpPr>
          <a:xfrm>
            <a:off x="6308167" y="5535221"/>
            <a:ext cx="2852827" cy="1193813"/>
            <a:chOff x="6176162" y="5445224"/>
            <a:chExt cx="2852827" cy="1193813"/>
          </a:xfrm>
        </p:grpSpPr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12A37C79-0CF5-482F-9EB8-E5F196A4ED28}"/>
                </a:ext>
              </a:extLst>
            </p:cNvPr>
            <p:cNvGrpSpPr/>
            <p:nvPr/>
          </p:nvGrpSpPr>
          <p:grpSpPr>
            <a:xfrm>
              <a:off x="6176162" y="5445224"/>
              <a:ext cx="2852827" cy="1193813"/>
              <a:chOff x="6275700" y="5531114"/>
              <a:chExt cx="2852827" cy="1193813"/>
            </a:xfrm>
          </p:grpSpPr>
          <p:grpSp>
            <p:nvGrpSpPr>
              <p:cNvPr id="3" name="그룹 2">
                <a:extLst>
                  <a:ext uri="{FF2B5EF4-FFF2-40B4-BE49-F238E27FC236}">
                    <a16:creationId xmlns:a16="http://schemas.microsoft.com/office/drawing/2014/main" id="{7AD12105-8A4E-4549-BF74-0FE7EAF78207}"/>
                  </a:ext>
                </a:extLst>
              </p:cNvPr>
              <p:cNvGrpSpPr/>
              <p:nvPr/>
            </p:nvGrpSpPr>
            <p:grpSpPr>
              <a:xfrm>
                <a:off x="6275700" y="5531114"/>
                <a:ext cx="2852827" cy="1193813"/>
                <a:chOff x="6297958" y="5276483"/>
                <a:chExt cx="2852827" cy="1193813"/>
              </a:xfrm>
            </p:grpSpPr>
            <p:sp>
              <p:nvSpPr>
                <p:cNvPr id="87" name="직사각형 86">
                  <a:extLst>
                    <a:ext uri="{FF2B5EF4-FFF2-40B4-BE49-F238E27FC236}">
                      <a16:creationId xmlns:a16="http://schemas.microsoft.com/office/drawing/2014/main" id="{6C26E342-43B9-4F72-BCDD-3E9FC6841BCB}"/>
                    </a:ext>
                  </a:extLst>
                </p:cNvPr>
                <p:cNvSpPr/>
                <p:nvPr/>
              </p:nvSpPr>
              <p:spPr>
                <a:xfrm>
                  <a:off x="6342474" y="5276483"/>
                  <a:ext cx="2808311" cy="1193812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rgbClr val="C046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endParaRPr lang="en-US" altLang="ko-KR" sz="3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algn="ctr"/>
                  <a:r>
                    <a:rPr lang="en-US" altLang="ko-KR" sz="12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</a:t>
                  </a:r>
                  <a:endParaRPr lang="en-US" altLang="ko-KR" sz="1200" dirty="0"/>
                </a:p>
                <a:p>
                  <a:pPr algn="ctr"/>
                  <a:r>
                    <a:rPr lang="en-US" altLang="ko-KR" dirty="0"/>
                    <a:t> </a:t>
                  </a:r>
                </a:p>
              </p:txBody>
            </p:sp>
            <p:grpSp>
              <p:nvGrpSpPr>
                <p:cNvPr id="76" name="그룹 75">
                  <a:extLst>
                    <a:ext uri="{FF2B5EF4-FFF2-40B4-BE49-F238E27FC236}">
                      <a16:creationId xmlns:a16="http://schemas.microsoft.com/office/drawing/2014/main" id="{5A8679C9-2C20-4A1B-99B2-00A50BAE06DA}"/>
                    </a:ext>
                  </a:extLst>
                </p:cNvPr>
                <p:cNvGrpSpPr/>
                <p:nvPr/>
              </p:nvGrpSpPr>
              <p:grpSpPr>
                <a:xfrm>
                  <a:off x="6297958" y="5504464"/>
                  <a:ext cx="2827253" cy="965832"/>
                  <a:chOff x="9336360" y="5376059"/>
                  <a:chExt cx="2827253" cy="965832"/>
                </a:xfrm>
              </p:grpSpPr>
              <p:grpSp>
                <p:nvGrpSpPr>
                  <p:cNvPr id="77" name="그룹 76">
                    <a:extLst>
                      <a:ext uri="{FF2B5EF4-FFF2-40B4-BE49-F238E27FC236}">
                        <a16:creationId xmlns:a16="http://schemas.microsoft.com/office/drawing/2014/main" id="{2734CA54-F426-407C-987A-6DB467B08603}"/>
                      </a:ext>
                    </a:extLst>
                  </p:cNvPr>
                  <p:cNvGrpSpPr/>
                  <p:nvPr/>
                </p:nvGrpSpPr>
                <p:grpSpPr>
                  <a:xfrm>
                    <a:off x="9336360" y="5376059"/>
                    <a:ext cx="2827253" cy="965832"/>
                    <a:chOff x="4996063" y="4002032"/>
                    <a:chExt cx="2827253" cy="965832"/>
                  </a:xfrm>
                </p:grpSpPr>
                <p:sp>
                  <p:nvSpPr>
                    <p:cNvPr id="80" name="직사각형 79">
                      <a:extLst>
                        <a:ext uri="{FF2B5EF4-FFF2-40B4-BE49-F238E27FC236}">
                          <a16:creationId xmlns:a16="http://schemas.microsoft.com/office/drawing/2014/main" id="{9F514FD9-CA20-4E90-B3B2-EC5746E466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96063" y="4002032"/>
                      <a:ext cx="2808311" cy="96583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/>
                      <a:endParaRPr lang="en-US" altLang="ko-KR" sz="3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altLang="ko-KR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 C  D               I                    P            0 0 0 0 1</a:t>
                      </a:r>
                    </a:p>
                    <a:p>
                      <a:pPr algn="ctr"/>
                      <a:endParaRPr lang="en-US" altLang="ko-KR" sz="1200" dirty="0"/>
                    </a:p>
                    <a:p>
                      <a:pPr algn="ctr"/>
                      <a:r>
                        <a:rPr lang="en-US" altLang="ko-KR" dirty="0"/>
                        <a:t> </a:t>
                      </a:r>
                    </a:p>
                  </p:txBody>
                </p:sp>
                <p:cxnSp>
                  <p:nvCxnSpPr>
                    <p:cNvPr id="81" name="직선 연결선 80">
                      <a:extLst>
                        <a:ext uri="{FF2B5EF4-FFF2-40B4-BE49-F238E27FC236}">
                          <a16:creationId xmlns:a16="http://schemas.microsoft.com/office/drawing/2014/main" id="{8C983773-E7BD-49EA-86D5-83D461C39AD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5154497" y="4292975"/>
                      <a:ext cx="307469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2" name="직사각형 81">
                      <a:extLst>
                        <a:ext uri="{FF2B5EF4-FFF2-40B4-BE49-F238E27FC236}">
                          <a16:creationId xmlns:a16="http://schemas.microsoft.com/office/drawing/2014/main" id="{20FFED8C-434E-4FA2-AA45-2DAAA3C724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45887" y="4319711"/>
                      <a:ext cx="654396" cy="47560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D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M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N</a:t>
                      </a:r>
                    </a:p>
                  </p:txBody>
                </p:sp>
                <p:cxnSp>
                  <p:nvCxnSpPr>
                    <p:cNvPr id="83" name="직선 연결선 82">
                      <a:extLst>
                        <a:ext uri="{FF2B5EF4-FFF2-40B4-BE49-F238E27FC236}">
                          <a16:creationId xmlns:a16="http://schemas.microsoft.com/office/drawing/2014/main" id="{DBA89356-F7C9-47CA-9290-AEF5A022C76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6580239" y="4301769"/>
                      <a:ext cx="216024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4" name="직사각형 83">
                      <a:extLst>
                        <a:ext uri="{FF2B5EF4-FFF2-40B4-BE49-F238E27FC236}">
                          <a16:creationId xmlns:a16="http://schemas.microsoft.com/office/drawing/2014/main" id="{2D3FCB77-AEEB-45E1-BB64-E68EF87541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7604" y="4316161"/>
                      <a:ext cx="580846" cy="46476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P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외부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A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endParaRPr lang="en-US" altLang="ko-KR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p:txBody>
                </p:sp>
                <p:cxnSp>
                  <p:nvCxnSpPr>
                    <p:cNvPr id="85" name="직선 연결선 84">
                      <a:extLst>
                        <a:ext uri="{FF2B5EF4-FFF2-40B4-BE49-F238E27FC236}">
                          <a16:creationId xmlns:a16="http://schemas.microsoft.com/office/drawing/2014/main" id="{B0124A2D-DCC8-4D9F-8905-23F8A4953DF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7134196" y="4301769"/>
                      <a:ext cx="670178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6" name="직사각형 85">
                      <a:extLst>
                        <a:ext uri="{FF2B5EF4-FFF2-40B4-BE49-F238E27FC236}">
                          <a16:creationId xmlns:a16="http://schemas.microsoft.com/office/drawing/2014/main" id="{FF6A2EC2-650A-4289-B054-A1F1B5EF78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9520" y="4319711"/>
                      <a:ext cx="693796" cy="43216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련번호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～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9,999</a:t>
                      </a:r>
                    </a:p>
                  </p:txBody>
                </p:sp>
              </p:grpSp>
              <p:sp>
                <p:nvSpPr>
                  <p:cNvPr id="78" name="직사각형 77">
                    <a:extLst>
                      <a:ext uri="{FF2B5EF4-FFF2-40B4-BE49-F238E27FC236}">
                        <a16:creationId xmlns:a16="http://schemas.microsoft.com/office/drawing/2014/main" id="{6D8E09F5-E284-4702-BE26-0F7E536618D2}"/>
                      </a:ext>
                    </a:extLst>
                  </p:cNvPr>
                  <p:cNvSpPr/>
                  <p:nvPr/>
                </p:nvSpPr>
                <p:spPr>
                  <a:xfrm>
                    <a:off x="9910640" y="5690188"/>
                    <a:ext cx="1034721" cy="46476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 err="1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컨텐츠업로드</a:t>
                    </a: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I</a:t>
                    </a:r>
                  </a:p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아웃링크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O</a:t>
                    </a:r>
                  </a:p>
                </p:txBody>
              </p:sp>
              <p:cxnSp>
                <p:nvCxnSpPr>
                  <p:cNvPr id="79" name="직선 연결선 78">
                    <a:extLst>
                      <a:ext uri="{FF2B5EF4-FFF2-40B4-BE49-F238E27FC236}">
                        <a16:creationId xmlns:a16="http://schemas.microsoft.com/office/drawing/2014/main" id="{A5FAD771-1B5E-40D1-8AEE-456F9F78F35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00456" y="5667002"/>
                    <a:ext cx="225509" cy="0"/>
                  </a:xfrm>
                  <a:prstGeom prst="line">
                    <a:avLst/>
                  </a:prstGeom>
                  <a:ln w="12700">
                    <a:noFill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5" name="직선 연결선 4">
                <a:extLst>
                  <a:ext uri="{FF2B5EF4-FFF2-40B4-BE49-F238E27FC236}">
                    <a16:creationId xmlns:a16="http://schemas.microsoft.com/office/drawing/2014/main" id="{BBC45121-52CA-40E9-862A-7DD69CF692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34134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직선 연결선 89">
                <a:extLst>
                  <a:ext uri="{FF2B5EF4-FFF2-40B4-BE49-F238E27FC236}">
                    <a16:creationId xmlns:a16="http://schemas.microsoft.com/office/drawing/2014/main" id="{F6EF204D-B5A1-448F-9143-BC79378180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8936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직선 연결선 90">
                <a:extLst>
                  <a:ext uri="{FF2B5EF4-FFF2-40B4-BE49-F238E27FC236}">
                    <a16:creationId xmlns:a16="http://schemas.microsoft.com/office/drawing/2014/main" id="{E8EFEB8F-D9FD-4322-9DBA-B79D097CF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39912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직선 연결선 91">
                <a:extLst>
                  <a:ext uri="{FF2B5EF4-FFF2-40B4-BE49-F238E27FC236}">
                    <a16:creationId xmlns:a16="http://schemas.microsoft.com/office/drawing/2014/main" id="{C562B512-999D-4F11-BC4C-AE60ECD111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09157" y="6045865"/>
                <a:ext cx="57767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EC15439-B9F6-443B-BFD9-C5F17329ECCD}"/>
                </a:ext>
              </a:extLst>
            </p:cNvPr>
            <p:cNvSpPr/>
            <p:nvPr/>
          </p:nvSpPr>
          <p:spPr>
            <a:xfrm>
              <a:off x="6278887" y="5502126"/>
              <a:ext cx="1547689" cy="17608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텐츠 번호 생성 규칙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grpSp>
        <p:nvGrpSpPr>
          <p:cNvPr id="118" name="그룹 117">
            <a:extLst>
              <a:ext uri="{FF2B5EF4-FFF2-40B4-BE49-F238E27FC236}">
                <a16:creationId xmlns:a16="http://schemas.microsoft.com/office/drawing/2014/main" id="{55BB59E4-2EE8-409C-819A-255969AC9189}"/>
              </a:ext>
            </a:extLst>
          </p:cNvPr>
          <p:cNvGrpSpPr/>
          <p:nvPr/>
        </p:nvGrpSpPr>
        <p:grpSpPr>
          <a:xfrm>
            <a:off x="7957813" y="2053411"/>
            <a:ext cx="860019" cy="181050"/>
            <a:chOff x="8027982" y="1823592"/>
            <a:chExt cx="860019" cy="181050"/>
          </a:xfrm>
        </p:grpSpPr>
        <p:sp>
          <p:nvSpPr>
            <p:cNvPr id="119" name="직사각형 118">
              <a:extLst>
                <a:ext uri="{FF2B5EF4-FFF2-40B4-BE49-F238E27FC236}">
                  <a16:creationId xmlns:a16="http://schemas.microsoft.com/office/drawing/2014/main" id="{A9133395-78D7-4A52-B74A-2C7D2303A5A3}"/>
                </a:ext>
              </a:extLst>
            </p:cNvPr>
            <p:cNvSpPr/>
            <p:nvPr/>
          </p:nvSpPr>
          <p:spPr>
            <a:xfrm>
              <a:off x="8027982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HH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0" name="직사각형 119">
              <a:extLst>
                <a:ext uri="{FF2B5EF4-FFF2-40B4-BE49-F238E27FC236}">
                  <a16:creationId xmlns:a16="http://schemas.microsoft.com/office/drawing/2014/main" id="{72A702D3-C9EA-4AB8-81C0-8F012E0791EF}"/>
                </a:ext>
              </a:extLst>
            </p:cNvPr>
            <p:cNvSpPr/>
            <p:nvPr/>
          </p:nvSpPr>
          <p:spPr>
            <a:xfrm>
              <a:off x="8345371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MM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1" name="직사각형 120">
              <a:extLst>
                <a:ext uri="{FF2B5EF4-FFF2-40B4-BE49-F238E27FC236}">
                  <a16:creationId xmlns:a16="http://schemas.microsoft.com/office/drawing/2014/main" id="{398BED22-97C5-43AA-B032-D8C4ACA99D0E}"/>
                </a:ext>
              </a:extLst>
            </p:cNvPr>
            <p:cNvSpPr/>
            <p:nvPr/>
          </p:nvSpPr>
          <p:spPr>
            <a:xfrm>
              <a:off x="8662684" y="1831842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S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2" name="직사각형 121">
              <a:extLst>
                <a:ext uri="{FF2B5EF4-FFF2-40B4-BE49-F238E27FC236}">
                  <a16:creationId xmlns:a16="http://schemas.microsoft.com/office/drawing/2014/main" id="{5B0FD536-4BB9-4D21-B719-972F4278DB93}"/>
                </a:ext>
              </a:extLst>
            </p:cNvPr>
            <p:cNvSpPr/>
            <p:nvPr/>
          </p:nvSpPr>
          <p:spPr>
            <a:xfrm>
              <a:off x="8218854" y="1828918"/>
              <a:ext cx="168969" cy="1669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BF425BD8-EA46-48A2-8BC9-7437CD9EC9A3}"/>
                </a:ext>
              </a:extLst>
            </p:cNvPr>
            <p:cNvSpPr/>
            <p:nvPr/>
          </p:nvSpPr>
          <p:spPr>
            <a:xfrm>
              <a:off x="8532202" y="1823592"/>
              <a:ext cx="168969" cy="16198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3180E4A7-8A55-4EBE-BC62-174A8E910077}"/>
              </a:ext>
            </a:extLst>
          </p:cNvPr>
          <p:cNvSpPr/>
          <p:nvPr/>
        </p:nvSpPr>
        <p:spPr>
          <a:xfrm>
            <a:off x="334414" y="18235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F2B5DA2B-AA58-48BB-B82E-40BC19BBC8C9}"/>
              </a:ext>
            </a:extLst>
          </p:cNvPr>
          <p:cNvSpPr/>
          <p:nvPr/>
        </p:nvSpPr>
        <p:spPr>
          <a:xfrm>
            <a:off x="334414" y="20947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26" name="표 10">
            <a:extLst>
              <a:ext uri="{FF2B5EF4-FFF2-40B4-BE49-F238E27FC236}">
                <a16:creationId xmlns:a16="http://schemas.microsoft.com/office/drawing/2014/main" id="{21497387-9546-4104-A9F6-CA71F7D0372D}"/>
              </a:ext>
            </a:extLst>
          </p:cNvPr>
          <p:cNvGraphicFramePr>
            <a:graphicFrameLocks noGrp="1"/>
          </p:cNvGraphicFramePr>
          <p:nvPr/>
        </p:nvGraphicFramePr>
        <p:xfrm>
          <a:off x="9268290" y="1378868"/>
          <a:ext cx="2922885" cy="10718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585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베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코드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81332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1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등록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선택한 경우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파일선택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파일 찾기 팝업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파일 업로드하면 제공형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확장자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및 영상분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동입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997798"/>
                  </a:ext>
                </a:extLst>
              </a:tr>
            </a:tbl>
          </a:graphicData>
        </a:graphic>
      </p:graphicFrame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67ED0329-FF24-45DF-90D2-3790B5538AAD}"/>
              </a:ext>
            </a:extLst>
          </p:cNvPr>
          <p:cNvSpPr/>
          <p:nvPr/>
        </p:nvSpPr>
        <p:spPr>
          <a:xfrm>
            <a:off x="9307296" y="958984"/>
            <a:ext cx="2862495" cy="41292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>
              <a:lnSpc>
                <a:spcPct val="130000"/>
              </a:lnSpc>
            </a:pP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빨간색 박스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및 아래 기술한 사항 외 기능은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A: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와 동일</a:t>
            </a:r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B5C3397F-C835-4FC9-A275-67EA92D06925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업로드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19464F0A-BFCC-49CA-9C73-5CB5E9D1E6C1}"/>
              </a:ext>
            </a:extLst>
          </p:cNvPr>
          <p:cNvSpPr/>
          <p:nvPr/>
        </p:nvSpPr>
        <p:spPr>
          <a:xfrm>
            <a:off x="8949824" y="5702286"/>
            <a:ext cx="3098119" cy="988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동영상 플레이어 기술 검토</a:t>
            </a:r>
            <a:b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</a:b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</a:t>
            </a:r>
            <a:r>
              <a: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- </a:t>
            </a:r>
            <a:r>
              <a:rPr lang="ko-KR" altLang="en-US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 </a:t>
            </a:r>
            <a:r>
              <a: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FO, BO</a:t>
            </a:r>
            <a:r>
              <a:rPr lang="ko-KR" altLang="en-US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에서 사용할 수 있는 동영상 플레이어 기술</a:t>
            </a:r>
            <a:endParaRPr lang="en-US" altLang="ko-KR" sz="1000" dirty="0">
              <a:solidFill>
                <a:srgbClr val="0070C0"/>
              </a:solidFill>
              <a:ea typeface="AppleSDGothicNeoM00" panose="02000503000000000000" pitchFamily="2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   </a:t>
            </a:r>
            <a:r>
              <a:rPr lang="ko-KR" altLang="en-US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 검토 부탁드립니다</a:t>
            </a:r>
            <a:r>
              <a: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rPr>
              <a:t>. </a:t>
            </a:r>
            <a:endParaRPr lang="en-US" altLang="ko-KR" sz="10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</p:txBody>
      </p:sp>
      <p:graphicFrame>
        <p:nvGraphicFramePr>
          <p:cNvPr id="111" name="표 110">
            <a:extLst>
              <a:ext uri="{FF2B5EF4-FFF2-40B4-BE49-F238E27FC236}">
                <a16:creationId xmlns:a16="http://schemas.microsoft.com/office/drawing/2014/main" id="{E8392518-F342-423B-9F61-2B7ED47C74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489448"/>
              </p:ext>
            </p:extLst>
          </p:nvPr>
        </p:nvGraphicFramePr>
        <p:xfrm>
          <a:off x="443541" y="6025602"/>
          <a:ext cx="8455878" cy="33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935875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456032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3194002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19234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112" name="표 111">
            <a:extLst>
              <a:ext uri="{FF2B5EF4-FFF2-40B4-BE49-F238E27FC236}">
                <a16:creationId xmlns:a16="http://schemas.microsoft.com/office/drawing/2014/main" id="{67616DFD-E576-43E8-81A1-797AD69F5B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906424"/>
              </p:ext>
            </p:extLst>
          </p:nvPr>
        </p:nvGraphicFramePr>
        <p:xfrm>
          <a:off x="443541" y="4249937"/>
          <a:ext cx="8455876" cy="16348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07C25DAE-4244-4DF6-A55E-482E7DF31347}"/>
              </a:ext>
            </a:extLst>
          </p:cNvPr>
          <p:cNvSpPr/>
          <p:nvPr/>
        </p:nvSpPr>
        <p:spPr>
          <a:xfrm>
            <a:off x="8973779" y="3884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51696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5918026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영상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컨텐츠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5821" y="620253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6" name="표 12">
            <a:extLst>
              <a:ext uri="{FF2B5EF4-FFF2-40B4-BE49-F238E27FC236}">
                <a16:creationId xmlns:a16="http://schemas.microsoft.com/office/drawing/2014/main" id="{FAFA8B38-C9E2-4A9C-A01A-1739907674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14575"/>
              </p:ext>
            </p:extLst>
          </p:nvPr>
        </p:nvGraphicFramePr>
        <p:xfrm>
          <a:off x="443540" y="1476944"/>
          <a:ext cx="8423935" cy="28231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0439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302453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889763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403558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902555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2055167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문서  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원포인트레슨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81298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컨텐츠 업로드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베드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코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URL)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입력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스코드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6641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 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열람허용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 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가능여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가능             ●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489024FD-7F80-49A3-887D-85867E4F1E55}"/>
              </a:ext>
            </a:extLst>
          </p:cNvPr>
          <p:cNvSpPr/>
          <p:nvPr/>
        </p:nvSpPr>
        <p:spPr>
          <a:xfrm>
            <a:off x="1342121" y="2545992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178179FD-B710-4467-864A-EA53B8423A60}"/>
              </a:ext>
            </a:extLst>
          </p:cNvPr>
          <p:cNvSpPr/>
          <p:nvPr/>
        </p:nvSpPr>
        <p:spPr>
          <a:xfrm>
            <a:off x="4561288" y="2541114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3151DEBD-C741-437F-9BD6-429D4690AEC0}"/>
              </a:ext>
            </a:extLst>
          </p:cNvPr>
          <p:cNvGrpSpPr/>
          <p:nvPr/>
        </p:nvGrpSpPr>
        <p:grpSpPr>
          <a:xfrm>
            <a:off x="4519294" y="3344448"/>
            <a:ext cx="3711546" cy="175761"/>
            <a:chOff x="4535523" y="2896789"/>
            <a:chExt cx="3711546" cy="175761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1CEB0E8F-3893-4D41-B9B8-5B2AB66E1493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4" name="그룹 173">
                <a:extLst>
                  <a:ext uri="{FF2B5EF4-FFF2-40B4-BE49-F238E27FC236}">
                    <a16:creationId xmlns:a16="http://schemas.microsoft.com/office/drawing/2014/main" id="{08CE6B5D-F6C7-4F24-9055-E92F20610776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96" name="직사각형 195">
                  <a:extLst>
                    <a:ext uri="{FF2B5EF4-FFF2-40B4-BE49-F238E27FC236}">
                      <a16:creationId xmlns:a16="http://schemas.microsoft.com/office/drawing/2014/main" id="{82C211D7-9D16-4A2B-94C9-F0FDEF298023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97" name="직사각형 196">
                  <a:extLst>
                    <a:ext uri="{FF2B5EF4-FFF2-40B4-BE49-F238E27FC236}">
                      <a16:creationId xmlns:a16="http://schemas.microsoft.com/office/drawing/2014/main" id="{02B3B37E-EC78-4898-8460-32193AB3DD9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98" name="그림 197">
                  <a:extLst>
                    <a:ext uri="{FF2B5EF4-FFF2-40B4-BE49-F238E27FC236}">
                      <a16:creationId xmlns:a16="http://schemas.microsoft.com/office/drawing/2014/main" id="{7EA89D27-E7B8-4A9B-A14C-EF5A958029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96306674-D4D1-4BCE-BA6E-044AF35CE08D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9" name="직사각형 178">
                <a:extLst>
                  <a:ext uri="{FF2B5EF4-FFF2-40B4-BE49-F238E27FC236}">
                    <a16:creationId xmlns:a16="http://schemas.microsoft.com/office/drawing/2014/main" id="{119CA91D-08CC-4597-8E7B-BC3A7CE843B6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2" name="직사각형 201">
                <a:extLst>
                  <a:ext uri="{FF2B5EF4-FFF2-40B4-BE49-F238E27FC236}">
                    <a16:creationId xmlns:a16="http://schemas.microsoft.com/office/drawing/2014/main" id="{B7993C22-B48C-497B-993B-B6AF34E471D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3" name="직사각형 202">
                <a:extLst>
                  <a:ext uri="{FF2B5EF4-FFF2-40B4-BE49-F238E27FC236}">
                    <a16:creationId xmlns:a16="http://schemas.microsoft.com/office/drawing/2014/main" id="{F5E185A2-B398-4C0B-B278-5D4B31A09B8E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4" name="직사각형 203">
                <a:extLst>
                  <a:ext uri="{FF2B5EF4-FFF2-40B4-BE49-F238E27FC236}">
                    <a16:creationId xmlns:a16="http://schemas.microsoft.com/office/drawing/2014/main" id="{8F6FAC83-FD4E-438E-8278-946FB419E8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205" name="그룹 204">
              <a:extLst>
                <a:ext uri="{FF2B5EF4-FFF2-40B4-BE49-F238E27FC236}">
                  <a16:creationId xmlns:a16="http://schemas.microsoft.com/office/drawing/2014/main" id="{B6A2D1A9-64D5-4DC8-9EFB-ED4F2C52E495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206" name="그룹 205">
                <a:extLst>
                  <a:ext uri="{FF2B5EF4-FFF2-40B4-BE49-F238E27FC236}">
                    <a16:creationId xmlns:a16="http://schemas.microsoft.com/office/drawing/2014/main" id="{A14F1E05-0861-4A3F-8CD7-FC066155038B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212" name="직사각형 211">
                  <a:extLst>
                    <a:ext uri="{FF2B5EF4-FFF2-40B4-BE49-F238E27FC236}">
                      <a16:creationId xmlns:a16="http://schemas.microsoft.com/office/drawing/2014/main" id="{F60D1063-6954-4473-8166-A197B67164B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213" name="직사각형 212">
                  <a:extLst>
                    <a:ext uri="{FF2B5EF4-FFF2-40B4-BE49-F238E27FC236}">
                      <a16:creationId xmlns:a16="http://schemas.microsoft.com/office/drawing/2014/main" id="{76AB009E-C053-4F2F-8C91-60ECDFF5DC4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214" name="그림 213">
                  <a:extLst>
                    <a:ext uri="{FF2B5EF4-FFF2-40B4-BE49-F238E27FC236}">
                      <a16:creationId xmlns:a16="http://schemas.microsoft.com/office/drawing/2014/main" id="{73936F88-5CE9-40BA-86D8-D0EC39D1A9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208" name="직사각형 207">
                <a:extLst>
                  <a:ext uri="{FF2B5EF4-FFF2-40B4-BE49-F238E27FC236}">
                    <a16:creationId xmlns:a16="http://schemas.microsoft.com/office/drawing/2014/main" id="{76BF78C6-6071-43B8-ABE6-473825E62152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12-31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9" name="직사각형 208">
                <a:extLst>
                  <a:ext uri="{FF2B5EF4-FFF2-40B4-BE49-F238E27FC236}">
                    <a16:creationId xmlns:a16="http://schemas.microsoft.com/office/drawing/2014/main" id="{44A1005F-22E7-475A-BFB6-61C93CB1240E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0" name="직사각형 209">
                <a:extLst>
                  <a:ext uri="{FF2B5EF4-FFF2-40B4-BE49-F238E27FC236}">
                    <a16:creationId xmlns:a16="http://schemas.microsoft.com/office/drawing/2014/main" id="{92747398-46BD-44B6-A478-23E7E782A23A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1" name="직사각형 210">
                <a:extLst>
                  <a:ext uri="{FF2B5EF4-FFF2-40B4-BE49-F238E27FC236}">
                    <a16:creationId xmlns:a16="http://schemas.microsoft.com/office/drawing/2014/main" id="{6654E2FE-3C1B-4A12-8DE8-D6D4405B04D0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228" name="직사각형 227">
              <a:extLst>
                <a:ext uri="{FF2B5EF4-FFF2-40B4-BE49-F238E27FC236}">
                  <a16:creationId xmlns:a16="http://schemas.microsoft.com/office/drawing/2014/main" id="{6529F0E2-0048-4CFC-A65F-E9928BEFF93B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229" name="사각형: 둥근 모서리 228">
              <a:extLst>
                <a:ext uri="{FF2B5EF4-FFF2-40B4-BE49-F238E27FC236}">
                  <a16:creationId xmlns:a16="http://schemas.microsoft.com/office/drawing/2014/main" id="{17F7A4B1-05DA-4EB4-8988-671337DA11CC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30" name="그림 229">
              <a:extLst>
                <a:ext uri="{FF2B5EF4-FFF2-40B4-BE49-F238E27FC236}">
                  <a16:creationId xmlns:a16="http://schemas.microsoft.com/office/drawing/2014/main" id="{C6A56D4E-0B59-4417-8E0C-0021C92DC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grpSp>
        <p:nvGrpSpPr>
          <p:cNvPr id="253" name="그룹 252">
            <a:extLst>
              <a:ext uri="{FF2B5EF4-FFF2-40B4-BE49-F238E27FC236}">
                <a16:creationId xmlns:a16="http://schemas.microsoft.com/office/drawing/2014/main" id="{60F5DCD9-5570-40F0-9995-D5572595432E}"/>
              </a:ext>
            </a:extLst>
          </p:cNvPr>
          <p:cNvGrpSpPr/>
          <p:nvPr/>
        </p:nvGrpSpPr>
        <p:grpSpPr>
          <a:xfrm>
            <a:off x="6882376" y="2810936"/>
            <a:ext cx="1065951" cy="172800"/>
            <a:chOff x="1260034" y="1778319"/>
            <a:chExt cx="1065951" cy="172800"/>
          </a:xfrm>
        </p:grpSpPr>
        <p:sp>
          <p:nvSpPr>
            <p:cNvPr id="256" name="직사각형 255">
              <a:extLst>
                <a:ext uri="{FF2B5EF4-FFF2-40B4-BE49-F238E27FC236}">
                  <a16:creationId xmlns:a16="http://schemas.microsoft.com/office/drawing/2014/main" id="{9AAA2FDF-45A4-4C51-80BD-11AA16F5BD7C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57" name="직사각형 256">
              <a:extLst>
                <a:ext uri="{FF2B5EF4-FFF2-40B4-BE49-F238E27FC236}">
                  <a16:creationId xmlns:a16="http://schemas.microsoft.com/office/drawing/2014/main" id="{6491BDD4-4782-4EB8-921F-CB00D9CF6468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5" name="그룹 274">
            <a:extLst>
              <a:ext uri="{FF2B5EF4-FFF2-40B4-BE49-F238E27FC236}">
                <a16:creationId xmlns:a16="http://schemas.microsoft.com/office/drawing/2014/main" id="{A9A191A0-4A36-408D-A2F1-D7951C26F968}"/>
              </a:ext>
            </a:extLst>
          </p:cNvPr>
          <p:cNvGrpSpPr/>
          <p:nvPr/>
        </p:nvGrpSpPr>
        <p:grpSpPr>
          <a:xfrm>
            <a:off x="6882376" y="3078513"/>
            <a:ext cx="1065951" cy="172800"/>
            <a:chOff x="1260034" y="1778319"/>
            <a:chExt cx="1065951" cy="172800"/>
          </a:xfrm>
        </p:grpSpPr>
        <p:sp>
          <p:nvSpPr>
            <p:cNvPr id="276" name="직사각형 275">
              <a:extLst>
                <a:ext uri="{FF2B5EF4-FFF2-40B4-BE49-F238E27FC236}">
                  <a16:creationId xmlns:a16="http://schemas.microsoft.com/office/drawing/2014/main" id="{C4737F8E-AC4C-41E5-A73A-5DA823BA68A7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C0FC404D-93E0-4EF0-8355-DA96AFD7A30E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8" name="그룹 277">
            <a:extLst>
              <a:ext uri="{FF2B5EF4-FFF2-40B4-BE49-F238E27FC236}">
                <a16:creationId xmlns:a16="http://schemas.microsoft.com/office/drawing/2014/main" id="{D2DFE4EA-566D-4198-8AB6-A38B360FC5A2}"/>
              </a:ext>
            </a:extLst>
          </p:cNvPr>
          <p:cNvGrpSpPr/>
          <p:nvPr/>
        </p:nvGrpSpPr>
        <p:grpSpPr>
          <a:xfrm>
            <a:off x="1345745" y="3075576"/>
            <a:ext cx="983380" cy="172800"/>
            <a:chOff x="1260034" y="1778319"/>
            <a:chExt cx="983380" cy="172800"/>
          </a:xfrm>
        </p:grpSpPr>
        <p:sp>
          <p:nvSpPr>
            <p:cNvPr id="279" name="직사각형 278">
              <a:extLst>
                <a:ext uri="{FF2B5EF4-FFF2-40B4-BE49-F238E27FC236}">
                  <a16:creationId xmlns:a16="http://schemas.microsoft.com/office/drawing/2014/main" id="{74E5A847-9C16-4BF5-84D2-D083F7C98E0C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80" name="직사각형 279">
              <a:extLst>
                <a:ext uri="{FF2B5EF4-FFF2-40B4-BE49-F238E27FC236}">
                  <a16:creationId xmlns:a16="http://schemas.microsoft.com/office/drawing/2014/main" id="{72DB68FC-9892-4EE6-8A6A-279788DB1F84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87" name="직사각형 286">
            <a:extLst>
              <a:ext uri="{FF2B5EF4-FFF2-40B4-BE49-F238E27FC236}">
                <a16:creationId xmlns:a16="http://schemas.microsoft.com/office/drawing/2014/main" id="{D77B06E9-8DF5-44D4-9A42-5FE931673FDB}"/>
              </a:ext>
            </a:extLst>
          </p:cNvPr>
          <p:cNvSpPr/>
          <p:nvPr/>
        </p:nvSpPr>
        <p:spPr>
          <a:xfrm>
            <a:off x="4567502" y="4074415"/>
            <a:ext cx="407200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우선순위에 따라 콤마로 구분하여 입력하세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9" name="직사각형 288">
            <a:extLst>
              <a:ext uri="{FF2B5EF4-FFF2-40B4-BE49-F238E27FC236}">
                <a16:creationId xmlns:a16="http://schemas.microsoft.com/office/drawing/2014/main" id="{E165B56A-FF30-429A-AB3B-9D56082FFE4B}"/>
              </a:ext>
            </a:extLst>
          </p:cNvPr>
          <p:cNvSpPr/>
          <p:nvPr/>
        </p:nvSpPr>
        <p:spPr>
          <a:xfrm>
            <a:off x="1342120" y="2065346"/>
            <a:ext cx="3670633" cy="37927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ttps://www.youtube.com/embed/tevpV228jtY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0EE9873B-10DB-4E80-9D64-AE9466A0DDFF}"/>
              </a:ext>
            </a:extLst>
          </p:cNvPr>
          <p:cNvGrpSpPr/>
          <p:nvPr/>
        </p:nvGrpSpPr>
        <p:grpSpPr>
          <a:xfrm>
            <a:off x="2286394" y="6158780"/>
            <a:ext cx="292384" cy="234859"/>
            <a:chOff x="2527622" y="5858437"/>
            <a:chExt cx="292384" cy="246968"/>
          </a:xfrm>
        </p:grpSpPr>
        <p:sp>
          <p:nvSpPr>
            <p:cNvPr id="38" name="사각형: 둥근 모서리 37">
              <a:extLst>
                <a:ext uri="{FF2B5EF4-FFF2-40B4-BE49-F238E27FC236}">
                  <a16:creationId xmlns:a16="http://schemas.microsoft.com/office/drawing/2014/main" id="{28D51E31-0B1B-4F1D-84DB-8CAEECE8D116}"/>
                </a:ext>
              </a:extLst>
            </p:cNvPr>
            <p:cNvSpPr/>
            <p:nvPr/>
          </p:nvSpPr>
          <p:spPr>
            <a:xfrm>
              <a:off x="2527622" y="5858437"/>
              <a:ext cx="292384" cy="246968"/>
            </a:xfrm>
            <a:prstGeom prst="roundRect">
              <a:avLst>
                <a:gd name="adj" fmla="val 10496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597EEE10-A76D-452E-BAD8-4E910FF65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61893" y="5875091"/>
              <a:ext cx="228288" cy="218205"/>
            </a:xfrm>
            <a:prstGeom prst="rect">
              <a:avLst/>
            </a:prstGeom>
          </p:spPr>
        </p:pic>
      </p:grpSp>
      <p:sp>
        <p:nvSpPr>
          <p:cNvPr id="293" name="직사각형 292">
            <a:extLst>
              <a:ext uri="{FF2B5EF4-FFF2-40B4-BE49-F238E27FC236}">
                <a16:creationId xmlns:a16="http://schemas.microsoft.com/office/drawing/2014/main" id="{5F8ABD10-9A4F-49A5-9807-BC38A6BF90E7}"/>
              </a:ext>
            </a:extLst>
          </p:cNvPr>
          <p:cNvSpPr/>
          <p:nvPr/>
        </p:nvSpPr>
        <p:spPr>
          <a:xfrm>
            <a:off x="2606209" y="6209153"/>
            <a:ext cx="851694" cy="18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미지업로드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4" name="그룹 293">
            <a:extLst>
              <a:ext uri="{FF2B5EF4-FFF2-40B4-BE49-F238E27FC236}">
                <a16:creationId xmlns:a16="http://schemas.microsoft.com/office/drawing/2014/main" id="{F0153F10-0BBB-4FA5-AE0F-E52D0D2417F1}"/>
              </a:ext>
            </a:extLst>
          </p:cNvPr>
          <p:cNvGrpSpPr/>
          <p:nvPr/>
        </p:nvGrpSpPr>
        <p:grpSpPr>
          <a:xfrm>
            <a:off x="4567502" y="3078194"/>
            <a:ext cx="1065951" cy="172800"/>
            <a:chOff x="1260034" y="1778319"/>
            <a:chExt cx="1065951" cy="172800"/>
          </a:xfrm>
        </p:grpSpPr>
        <p:sp>
          <p:nvSpPr>
            <p:cNvPr id="295" name="직사각형 294">
              <a:extLst>
                <a:ext uri="{FF2B5EF4-FFF2-40B4-BE49-F238E27FC236}">
                  <a16:creationId xmlns:a16="http://schemas.microsoft.com/office/drawing/2014/main" id="{3F6A89BD-D88F-49FD-B756-E9E6E3DD3719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96" name="직사각형 295">
              <a:extLst>
                <a:ext uri="{FF2B5EF4-FFF2-40B4-BE49-F238E27FC236}">
                  <a16:creationId xmlns:a16="http://schemas.microsoft.com/office/drawing/2014/main" id="{9A430EA1-04CA-4C4E-9A8B-8B7406D7E80E}"/>
                </a:ext>
              </a:extLst>
            </p:cNvPr>
            <p:cNvSpPr/>
            <p:nvPr/>
          </p:nvSpPr>
          <p:spPr>
            <a:xfrm>
              <a:off x="2109961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07D2312A-05CF-4DEB-B86F-22441FEC2714}"/>
              </a:ext>
            </a:extLst>
          </p:cNvPr>
          <p:cNvGrpSpPr/>
          <p:nvPr/>
        </p:nvGrpSpPr>
        <p:grpSpPr>
          <a:xfrm>
            <a:off x="3982097" y="6489360"/>
            <a:ext cx="1377078" cy="180000"/>
            <a:chOff x="3931297" y="6465659"/>
            <a:chExt cx="1377078" cy="180000"/>
          </a:xfrm>
        </p:grpSpPr>
        <p:sp>
          <p:nvSpPr>
            <p:cNvPr id="297" name="사각형: 둥근 모서리 296">
              <a:extLst>
                <a:ext uri="{FF2B5EF4-FFF2-40B4-BE49-F238E27FC236}">
                  <a16:creationId xmlns:a16="http://schemas.microsoft.com/office/drawing/2014/main" id="{211F0B85-7AE2-480B-97D8-6595011F91C4}"/>
                </a:ext>
              </a:extLst>
            </p:cNvPr>
            <p:cNvSpPr/>
            <p:nvPr/>
          </p:nvSpPr>
          <p:spPr>
            <a:xfrm>
              <a:off x="3931297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</a:t>
              </a:r>
            </a:p>
          </p:txBody>
        </p:sp>
        <p:sp>
          <p:nvSpPr>
            <p:cNvPr id="298" name="사각형: 둥근 모서리 297">
              <a:extLst>
                <a:ext uri="{FF2B5EF4-FFF2-40B4-BE49-F238E27FC236}">
                  <a16:creationId xmlns:a16="http://schemas.microsoft.com/office/drawing/2014/main" id="{AF2F0DA5-D12F-452C-BF53-3484BBBDAE8C}"/>
                </a:ext>
              </a:extLst>
            </p:cNvPr>
            <p:cNvSpPr/>
            <p:nvPr/>
          </p:nvSpPr>
          <p:spPr>
            <a:xfrm>
              <a:off x="4655840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초기화</a:t>
              </a:r>
            </a:p>
          </p:txBody>
        </p:sp>
      </p:grpSp>
      <p:sp>
        <p:nvSpPr>
          <p:cNvPr id="304" name="직사각형 303">
            <a:extLst>
              <a:ext uri="{FF2B5EF4-FFF2-40B4-BE49-F238E27FC236}">
                <a16:creationId xmlns:a16="http://schemas.microsoft.com/office/drawing/2014/main" id="{56C72D9F-6945-4DCA-B045-42D7FFFA6125}"/>
              </a:ext>
            </a:extLst>
          </p:cNvPr>
          <p:cNvSpPr/>
          <p:nvPr/>
        </p:nvSpPr>
        <p:spPr>
          <a:xfrm>
            <a:off x="1342120" y="2801402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6FC6B508-A697-4F7A-B4E9-C94BFD3B2B53}"/>
              </a:ext>
            </a:extLst>
          </p:cNvPr>
          <p:cNvGrpSpPr/>
          <p:nvPr/>
        </p:nvGrpSpPr>
        <p:grpSpPr>
          <a:xfrm>
            <a:off x="3188943" y="2800412"/>
            <a:ext cx="169472" cy="169472"/>
            <a:chOff x="3180922" y="2352202"/>
            <a:chExt cx="169472" cy="169472"/>
          </a:xfrm>
        </p:grpSpPr>
        <p:sp>
          <p:nvSpPr>
            <p:cNvPr id="305" name="사각형: 둥근 모서리 304">
              <a:extLst>
                <a:ext uri="{FF2B5EF4-FFF2-40B4-BE49-F238E27FC236}">
                  <a16:creationId xmlns:a16="http://schemas.microsoft.com/office/drawing/2014/main" id="{1F350384-9B7F-461C-A440-D6CB828072FE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06" name="그림 305">
              <a:extLst>
                <a:ext uri="{FF2B5EF4-FFF2-40B4-BE49-F238E27FC236}">
                  <a16:creationId xmlns:a16="http://schemas.microsoft.com/office/drawing/2014/main" id="{37B752C4-9AC3-4471-BE71-E93F18D52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307" name="그룹 306">
            <a:extLst>
              <a:ext uri="{FF2B5EF4-FFF2-40B4-BE49-F238E27FC236}">
                <a16:creationId xmlns:a16="http://schemas.microsoft.com/office/drawing/2014/main" id="{42A05CBC-2B80-4BA9-931B-31EC003B135C}"/>
              </a:ext>
            </a:extLst>
          </p:cNvPr>
          <p:cNvGrpSpPr/>
          <p:nvPr/>
        </p:nvGrpSpPr>
        <p:grpSpPr>
          <a:xfrm>
            <a:off x="2386027" y="3073478"/>
            <a:ext cx="1067418" cy="172800"/>
            <a:chOff x="1260034" y="1778319"/>
            <a:chExt cx="1067418" cy="172800"/>
          </a:xfrm>
        </p:grpSpPr>
        <p:sp>
          <p:nvSpPr>
            <p:cNvPr id="308" name="직사각형 307">
              <a:extLst>
                <a:ext uri="{FF2B5EF4-FFF2-40B4-BE49-F238E27FC236}">
                  <a16:creationId xmlns:a16="http://schemas.microsoft.com/office/drawing/2014/main" id="{C83E80D5-F795-404C-B8A5-0EC5FD869898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309" name="직사각형 308">
              <a:extLst>
                <a:ext uri="{FF2B5EF4-FFF2-40B4-BE49-F238E27FC236}">
                  <a16:creationId xmlns:a16="http://schemas.microsoft.com/office/drawing/2014/main" id="{05B9EC14-43BC-46F8-8496-0782DA4E981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323" name="그룹 322">
            <a:extLst>
              <a:ext uri="{FF2B5EF4-FFF2-40B4-BE49-F238E27FC236}">
                <a16:creationId xmlns:a16="http://schemas.microsoft.com/office/drawing/2014/main" id="{824313F4-B630-4DA2-B9FA-2CC85C41B592}"/>
              </a:ext>
            </a:extLst>
          </p:cNvPr>
          <p:cNvGrpSpPr/>
          <p:nvPr/>
        </p:nvGrpSpPr>
        <p:grpSpPr>
          <a:xfrm>
            <a:off x="6882376" y="2541114"/>
            <a:ext cx="589035" cy="172800"/>
            <a:chOff x="1260034" y="1778319"/>
            <a:chExt cx="589035" cy="172800"/>
          </a:xfrm>
        </p:grpSpPr>
        <p:sp>
          <p:nvSpPr>
            <p:cNvPr id="324" name="직사각형 323">
              <a:extLst>
                <a:ext uri="{FF2B5EF4-FFF2-40B4-BE49-F238E27FC236}">
                  <a16:creationId xmlns:a16="http://schemas.microsoft.com/office/drawing/2014/main" id="{DB980864-2E0F-4C1D-829D-281274C4283F}"/>
                </a:ext>
              </a:extLst>
            </p:cNvPr>
            <p:cNvSpPr/>
            <p:nvPr/>
          </p:nvSpPr>
          <p:spPr>
            <a:xfrm>
              <a:off x="1260034" y="1778319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도</a:t>
              </a:r>
            </a:p>
          </p:txBody>
        </p:sp>
        <p:sp>
          <p:nvSpPr>
            <p:cNvPr id="325" name="직사각형 324">
              <a:extLst>
                <a:ext uri="{FF2B5EF4-FFF2-40B4-BE49-F238E27FC236}">
                  <a16:creationId xmlns:a16="http://schemas.microsoft.com/office/drawing/2014/main" id="{261C56E6-E71F-49D6-A5AF-37FB9BFD2B4E}"/>
                </a:ext>
              </a:extLst>
            </p:cNvPr>
            <p:cNvSpPr/>
            <p:nvPr/>
          </p:nvSpPr>
          <p:spPr>
            <a:xfrm>
              <a:off x="1633045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30" name="직사각형 329">
            <a:extLst>
              <a:ext uri="{FF2B5EF4-FFF2-40B4-BE49-F238E27FC236}">
                <a16:creationId xmlns:a16="http://schemas.microsoft.com/office/drawing/2014/main" id="{D1D71848-E3B5-4132-8ABF-5DB7A93CA324}"/>
              </a:ext>
            </a:extLst>
          </p:cNvPr>
          <p:cNvSpPr/>
          <p:nvPr/>
        </p:nvSpPr>
        <p:spPr>
          <a:xfrm>
            <a:off x="7545797" y="2543432"/>
            <a:ext cx="373011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1" name="직사각형 330">
            <a:extLst>
              <a:ext uri="{FF2B5EF4-FFF2-40B4-BE49-F238E27FC236}">
                <a16:creationId xmlns:a16="http://schemas.microsoft.com/office/drawing/2014/main" id="{A0F20997-C6B2-4601-A1B2-50BA5524AC08}"/>
              </a:ext>
            </a:extLst>
          </p:cNvPr>
          <p:cNvSpPr/>
          <p:nvPr/>
        </p:nvSpPr>
        <p:spPr>
          <a:xfrm>
            <a:off x="7948328" y="2543432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9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2" name="직사각형 331">
            <a:extLst>
              <a:ext uri="{FF2B5EF4-FFF2-40B4-BE49-F238E27FC236}">
                <a16:creationId xmlns:a16="http://schemas.microsoft.com/office/drawing/2014/main" id="{E79D5ECD-6FAE-4EAF-BFB3-5F88B003466E}"/>
              </a:ext>
            </a:extLst>
          </p:cNvPr>
          <p:cNvSpPr/>
          <p:nvPr/>
        </p:nvSpPr>
        <p:spPr>
          <a:xfrm>
            <a:off x="8266943" y="2543432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0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5F4E090F-CE54-4F48-8CD4-F57A5974965B}"/>
              </a:ext>
            </a:extLst>
          </p:cNvPr>
          <p:cNvSpPr/>
          <p:nvPr/>
        </p:nvSpPr>
        <p:spPr>
          <a:xfrm>
            <a:off x="4559984" y="2814873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41A1DC4D-1043-4D58-91A4-21F9426941F9}"/>
              </a:ext>
            </a:extLst>
          </p:cNvPr>
          <p:cNvSpPr/>
          <p:nvPr/>
        </p:nvSpPr>
        <p:spPr>
          <a:xfrm>
            <a:off x="443541" y="1476944"/>
            <a:ext cx="8423935" cy="554192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C0E505CD-EC08-4DD7-AC16-1FCA20209D20}"/>
              </a:ext>
            </a:extLst>
          </p:cNvPr>
          <p:cNvSpPr/>
          <p:nvPr/>
        </p:nvSpPr>
        <p:spPr>
          <a:xfrm>
            <a:off x="399025" y="1154051"/>
            <a:ext cx="8518304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                     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54271ABE-9B85-4BF8-8DC9-09AE1D9CC13D}"/>
              </a:ext>
            </a:extLst>
          </p:cNvPr>
          <p:cNvSpPr/>
          <p:nvPr/>
        </p:nvSpPr>
        <p:spPr>
          <a:xfrm>
            <a:off x="399025" y="1421811"/>
            <a:ext cx="8518304" cy="5223848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1E206ED1-DB3A-4CBF-B79D-DB5BB2E0DE5B}"/>
              </a:ext>
            </a:extLst>
          </p:cNvPr>
          <p:cNvGrpSpPr/>
          <p:nvPr/>
        </p:nvGrpSpPr>
        <p:grpSpPr>
          <a:xfrm>
            <a:off x="6174823" y="5561873"/>
            <a:ext cx="2852827" cy="1193813"/>
            <a:chOff x="6176162" y="5445224"/>
            <a:chExt cx="2852827" cy="1193813"/>
          </a:xfrm>
        </p:grpSpPr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12A37C79-0CF5-482F-9EB8-E5F196A4ED28}"/>
                </a:ext>
              </a:extLst>
            </p:cNvPr>
            <p:cNvGrpSpPr/>
            <p:nvPr/>
          </p:nvGrpSpPr>
          <p:grpSpPr>
            <a:xfrm>
              <a:off x="6176162" y="5445224"/>
              <a:ext cx="2852827" cy="1193813"/>
              <a:chOff x="6275700" y="5531114"/>
              <a:chExt cx="2852827" cy="1193813"/>
            </a:xfrm>
          </p:grpSpPr>
          <p:grpSp>
            <p:nvGrpSpPr>
              <p:cNvPr id="3" name="그룹 2">
                <a:extLst>
                  <a:ext uri="{FF2B5EF4-FFF2-40B4-BE49-F238E27FC236}">
                    <a16:creationId xmlns:a16="http://schemas.microsoft.com/office/drawing/2014/main" id="{7AD12105-8A4E-4549-BF74-0FE7EAF78207}"/>
                  </a:ext>
                </a:extLst>
              </p:cNvPr>
              <p:cNvGrpSpPr/>
              <p:nvPr/>
            </p:nvGrpSpPr>
            <p:grpSpPr>
              <a:xfrm>
                <a:off x="6275700" y="5531114"/>
                <a:ext cx="2852827" cy="1193813"/>
                <a:chOff x="6297958" y="5276483"/>
                <a:chExt cx="2852827" cy="1193813"/>
              </a:xfrm>
            </p:grpSpPr>
            <p:sp>
              <p:nvSpPr>
                <p:cNvPr id="87" name="직사각형 86">
                  <a:extLst>
                    <a:ext uri="{FF2B5EF4-FFF2-40B4-BE49-F238E27FC236}">
                      <a16:creationId xmlns:a16="http://schemas.microsoft.com/office/drawing/2014/main" id="{6C26E342-43B9-4F72-BCDD-3E9FC6841BCB}"/>
                    </a:ext>
                  </a:extLst>
                </p:cNvPr>
                <p:cNvSpPr/>
                <p:nvPr/>
              </p:nvSpPr>
              <p:spPr>
                <a:xfrm>
                  <a:off x="6342474" y="5276483"/>
                  <a:ext cx="2808311" cy="1193812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rgbClr val="C046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endParaRPr lang="en-US" altLang="ko-KR" sz="3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algn="ctr"/>
                  <a:r>
                    <a:rPr lang="en-US" altLang="ko-KR" sz="12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</a:t>
                  </a:r>
                  <a:endParaRPr lang="en-US" altLang="ko-KR" sz="1200" dirty="0"/>
                </a:p>
                <a:p>
                  <a:pPr algn="ctr"/>
                  <a:r>
                    <a:rPr lang="en-US" altLang="ko-KR" dirty="0"/>
                    <a:t> </a:t>
                  </a:r>
                </a:p>
              </p:txBody>
            </p:sp>
            <p:grpSp>
              <p:nvGrpSpPr>
                <p:cNvPr id="76" name="그룹 75">
                  <a:extLst>
                    <a:ext uri="{FF2B5EF4-FFF2-40B4-BE49-F238E27FC236}">
                      <a16:creationId xmlns:a16="http://schemas.microsoft.com/office/drawing/2014/main" id="{5A8679C9-2C20-4A1B-99B2-00A50BAE06DA}"/>
                    </a:ext>
                  </a:extLst>
                </p:cNvPr>
                <p:cNvGrpSpPr/>
                <p:nvPr/>
              </p:nvGrpSpPr>
              <p:grpSpPr>
                <a:xfrm>
                  <a:off x="6297958" y="5504464"/>
                  <a:ext cx="2827253" cy="965832"/>
                  <a:chOff x="9336360" y="5376059"/>
                  <a:chExt cx="2827253" cy="965832"/>
                </a:xfrm>
              </p:grpSpPr>
              <p:grpSp>
                <p:nvGrpSpPr>
                  <p:cNvPr id="77" name="그룹 76">
                    <a:extLst>
                      <a:ext uri="{FF2B5EF4-FFF2-40B4-BE49-F238E27FC236}">
                        <a16:creationId xmlns:a16="http://schemas.microsoft.com/office/drawing/2014/main" id="{2734CA54-F426-407C-987A-6DB467B08603}"/>
                      </a:ext>
                    </a:extLst>
                  </p:cNvPr>
                  <p:cNvGrpSpPr/>
                  <p:nvPr/>
                </p:nvGrpSpPr>
                <p:grpSpPr>
                  <a:xfrm>
                    <a:off x="9336360" y="5376059"/>
                    <a:ext cx="2827253" cy="965832"/>
                    <a:chOff x="4996063" y="4002032"/>
                    <a:chExt cx="2827253" cy="965832"/>
                  </a:xfrm>
                </p:grpSpPr>
                <p:sp>
                  <p:nvSpPr>
                    <p:cNvPr id="80" name="직사각형 79">
                      <a:extLst>
                        <a:ext uri="{FF2B5EF4-FFF2-40B4-BE49-F238E27FC236}">
                          <a16:creationId xmlns:a16="http://schemas.microsoft.com/office/drawing/2014/main" id="{9F514FD9-CA20-4E90-B3B2-EC5746E466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96063" y="4002032"/>
                      <a:ext cx="2808311" cy="96583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/>
                      <a:endParaRPr lang="en-US" altLang="ko-KR" sz="3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altLang="ko-KR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 C  D               I                    P            0 0 0 0 1</a:t>
                      </a:r>
                    </a:p>
                    <a:p>
                      <a:pPr algn="ctr"/>
                      <a:endParaRPr lang="en-US" altLang="ko-KR" sz="1200" dirty="0"/>
                    </a:p>
                    <a:p>
                      <a:pPr algn="ctr"/>
                      <a:r>
                        <a:rPr lang="en-US" altLang="ko-KR" dirty="0"/>
                        <a:t> </a:t>
                      </a:r>
                    </a:p>
                  </p:txBody>
                </p:sp>
                <p:cxnSp>
                  <p:nvCxnSpPr>
                    <p:cNvPr id="81" name="직선 연결선 80">
                      <a:extLst>
                        <a:ext uri="{FF2B5EF4-FFF2-40B4-BE49-F238E27FC236}">
                          <a16:creationId xmlns:a16="http://schemas.microsoft.com/office/drawing/2014/main" id="{8C983773-E7BD-49EA-86D5-83D461C39AD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5154497" y="4292975"/>
                      <a:ext cx="307469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2" name="직사각형 81">
                      <a:extLst>
                        <a:ext uri="{FF2B5EF4-FFF2-40B4-BE49-F238E27FC236}">
                          <a16:creationId xmlns:a16="http://schemas.microsoft.com/office/drawing/2014/main" id="{20FFED8C-434E-4FA2-AA45-2DAAA3C724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45887" y="4319711"/>
                      <a:ext cx="654396" cy="47560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D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M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N</a:t>
                      </a:r>
                    </a:p>
                  </p:txBody>
                </p:sp>
                <p:cxnSp>
                  <p:nvCxnSpPr>
                    <p:cNvPr id="83" name="직선 연결선 82">
                      <a:extLst>
                        <a:ext uri="{FF2B5EF4-FFF2-40B4-BE49-F238E27FC236}">
                          <a16:creationId xmlns:a16="http://schemas.microsoft.com/office/drawing/2014/main" id="{DBA89356-F7C9-47CA-9290-AEF5A022C76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6580239" y="4301769"/>
                      <a:ext cx="216024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4" name="직사각형 83">
                      <a:extLst>
                        <a:ext uri="{FF2B5EF4-FFF2-40B4-BE49-F238E27FC236}">
                          <a16:creationId xmlns:a16="http://schemas.microsoft.com/office/drawing/2014/main" id="{2D3FCB77-AEEB-45E1-BB64-E68EF87541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7604" y="4316161"/>
                      <a:ext cx="580846" cy="46476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P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외부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A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endParaRPr lang="en-US" altLang="ko-KR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p:txBody>
                </p:sp>
                <p:cxnSp>
                  <p:nvCxnSpPr>
                    <p:cNvPr id="85" name="직선 연결선 84">
                      <a:extLst>
                        <a:ext uri="{FF2B5EF4-FFF2-40B4-BE49-F238E27FC236}">
                          <a16:creationId xmlns:a16="http://schemas.microsoft.com/office/drawing/2014/main" id="{B0124A2D-DCC8-4D9F-8905-23F8A4953DF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7134196" y="4301769"/>
                      <a:ext cx="670178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6" name="직사각형 85">
                      <a:extLst>
                        <a:ext uri="{FF2B5EF4-FFF2-40B4-BE49-F238E27FC236}">
                          <a16:creationId xmlns:a16="http://schemas.microsoft.com/office/drawing/2014/main" id="{FF6A2EC2-650A-4289-B054-A1F1B5EF78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9520" y="4319711"/>
                      <a:ext cx="693796" cy="43216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련번호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～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9,999</a:t>
                      </a:r>
                    </a:p>
                  </p:txBody>
                </p:sp>
              </p:grpSp>
              <p:sp>
                <p:nvSpPr>
                  <p:cNvPr id="78" name="직사각형 77">
                    <a:extLst>
                      <a:ext uri="{FF2B5EF4-FFF2-40B4-BE49-F238E27FC236}">
                        <a16:creationId xmlns:a16="http://schemas.microsoft.com/office/drawing/2014/main" id="{6D8E09F5-E284-4702-BE26-0F7E536618D2}"/>
                      </a:ext>
                    </a:extLst>
                  </p:cNvPr>
                  <p:cNvSpPr/>
                  <p:nvPr/>
                </p:nvSpPr>
                <p:spPr>
                  <a:xfrm>
                    <a:off x="9910640" y="5690188"/>
                    <a:ext cx="1034721" cy="46476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 err="1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컨텐츠업로드</a:t>
                    </a: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I</a:t>
                    </a:r>
                  </a:p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아웃링크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O</a:t>
                    </a:r>
                  </a:p>
                </p:txBody>
              </p:sp>
              <p:cxnSp>
                <p:nvCxnSpPr>
                  <p:cNvPr id="79" name="직선 연결선 78">
                    <a:extLst>
                      <a:ext uri="{FF2B5EF4-FFF2-40B4-BE49-F238E27FC236}">
                        <a16:creationId xmlns:a16="http://schemas.microsoft.com/office/drawing/2014/main" id="{A5FAD771-1B5E-40D1-8AEE-456F9F78F35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00456" y="5667002"/>
                    <a:ext cx="225509" cy="0"/>
                  </a:xfrm>
                  <a:prstGeom prst="line">
                    <a:avLst/>
                  </a:prstGeom>
                  <a:ln w="12700">
                    <a:noFill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5" name="직선 연결선 4">
                <a:extLst>
                  <a:ext uri="{FF2B5EF4-FFF2-40B4-BE49-F238E27FC236}">
                    <a16:creationId xmlns:a16="http://schemas.microsoft.com/office/drawing/2014/main" id="{BBC45121-52CA-40E9-862A-7DD69CF692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34134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직선 연결선 89">
                <a:extLst>
                  <a:ext uri="{FF2B5EF4-FFF2-40B4-BE49-F238E27FC236}">
                    <a16:creationId xmlns:a16="http://schemas.microsoft.com/office/drawing/2014/main" id="{F6EF204D-B5A1-448F-9143-BC79378180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8936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직선 연결선 90">
                <a:extLst>
                  <a:ext uri="{FF2B5EF4-FFF2-40B4-BE49-F238E27FC236}">
                    <a16:creationId xmlns:a16="http://schemas.microsoft.com/office/drawing/2014/main" id="{E8EFEB8F-D9FD-4322-9DBA-B79D097CF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39912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직선 연결선 91">
                <a:extLst>
                  <a:ext uri="{FF2B5EF4-FFF2-40B4-BE49-F238E27FC236}">
                    <a16:creationId xmlns:a16="http://schemas.microsoft.com/office/drawing/2014/main" id="{C562B512-999D-4F11-BC4C-AE60ECD111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09157" y="6045865"/>
                <a:ext cx="57767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EC15439-B9F6-443B-BFD9-C5F17329ECCD}"/>
                </a:ext>
              </a:extLst>
            </p:cNvPr>
            <p:cNvSpPr/>
            <p:nvPr/>
          </p:nvSpPr>
          <p:spPr>
            <a:xfrm>
              <a:off x="6278887" y="5502126"/>
              <a:ext cx="1547689" cy="17608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텐츠 번호 생성 규칙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grpSp>
        <p:nvGrpSpPr>
          <p:cNvPr id="118" name="그룹 117">
            <a:extLst>
              <a:ext uri="{FF2B5EF4-FFF2-40B4-BE49-F238E27FC236}">
                <a16:creationId xmlns:a16="http://schemas.microsoft.com/office/drawing/2014/main" id="{55BB59E4-2EE8-409C-819A-255969AC9189}"/>
              </a:ext>
            </a:extLst>
          </p:cNvPr>
          <p:cNvGrpSpPr/>
          <p:nvPr/>
        </p:nvGrpSpPr>
        <p:grpSpPr>
          <a:xfrm>
            <a:off x="6898980" y="2169610"/>
            <a:ext cx="860019" cy="181050"/>
            <a:chOff x="8027982" y="1823592"/>
            <a:chExt cx="860019" cy="181050"/>
          </a:xfrm>
        </p:grpSpPr>
        <p:sp>
          <p:nvSpPr>
            <p:cNvPr id="119" name="직사각형 118">
              <a:extLst>
                <a:ext uri="{FF2B5EF4-FFF2-40B4-BE49-F238E27FC236}">
                  <a16:creationId xmlns:a16="http://schemas.microsoft.com/office/drawing/2014/main" id="{A9133395-78D7-4A52-B74A-2C7D2303A5A3}"/>
                </a:ext>
              </a:extLst>
            </p:cNvPr>
            <p:cNvSpPr/>
            <p:nvPr/>
          </p:nvSpPr>
          <p:spPr>
            <a:xfrm>
              <a:off x="8027982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HH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0" name="직사각형 119">
              <a:extLst>
                <a:ext uri="{FF2B5EF4-FFF2-40B4-BE49-F238E27FC236}">
                  <a16:creationId xmlns:a16="http://schemas.microsoft.com/office/drawing/2014/main" id="{72A702D3-C9EA-4AB8-81C0-8F012E0791EF}"/>
                </a:ext>
              </a:extLst>
            </p:cNvPr>
            <p:cNvSpPr/>
            <p:nvPr/>
          </p:nvSpPr>
          <p:spPr>
            <a:xfrm>
              <a:off x="8345371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MM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1" name="직사각형 120">
              <a:extLst>
                <a:ext uri="{FF2B5EF4-FFF2-40B4-BE49-F238E27FC236}">
                  <a16:creationId xmlns:a16="http://schemas.microsoft.com/office/drawing/2014/main" id="{398BED22-97C5-43AA-B032-D8C4ACA99D0E}"/>
                </a:ext>
              </a:extLst>
            </p:cNvPr>
            <p:cNvSpPr/>
            <p:nvPr/>
          </p:nvSpPr>
          <p:spPr>
            <a:xfrm>
              <a:off x="8662684" y="1831842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S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2" name="직사각형 121">
              <a:extLst>
                <a:ext uri="{FF2B5EF4-FFF2-40B4-BE49-F238E27FC236}">
                  <a16:creationId xmlns:a16="http://schemas.microsoft.com/office/drawing/2014/main" id="{5B0FD536-4BB9-4D21-B719-972F4278DB93}"/>
                </a:ext>
              </a:extLst>
            </p:cNvPr>
            <p:cNvSpPr/>
            <p:nvPr/>
          </p:nvSpPr>
          <p:spPr>
            <a:xfrm>
              <a:off x="8218854" y="1828918"/>
              <a:ext cx="168969" cy="1669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BF425BD8-EA46-48A2-8BC9-7437CD9EC9A3}"/>
                </a:ext>
              </a:extLst>
            </p:cNvPr>
            <p:cNvSpPr/>
            <p:nvPr/>
          </p:nvSpPr>
          <p:spPr>
            <a:xfrm>
              <a:off x="8532202" y="1823592"/>
              <a:ext cx="168969" cy="16198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3180E4A7-8A55-4EBE-BC62-174A8E910077}"/>
              </a:ext>
            </a:extLst>
          </p:cNvPr>
          <p:cNvSpPr/>
          <p:nvPr/>
        </p:nvSpPr>
        <p:spPr>
          <a:xfrm>
            <a:off x="334414" y="18235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F2B5DA2B-AA58-48BB-B82E-40BC19BBC8C9}"/>
              </a:ext>
            </a:extLst>
          </p:cNvPr>
          <p:cNvSpPr/>
          <p:nvPr/>
        </p:nvSpPr>
        <p:spPr>
          <a:xfrm>
            <a:off x="334414" y="20947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사각형: 둥근 모서리 116">
            <a:extLst>
              <a:ext uri="{FF2B5EF4-FFF2-40B4-BE49-F238E27FC236}">
                <a16:creationId xmlns:a16="http://schemas.microsoft.com/office/drawing/2014/main" id="{366DE828-0933-42BB-A0B4-545F9278762C}"/>
              </a:ext>
            </a:extLst>
          </p:cNvPr>
          <p:cNvSpPr/>
          <p:nvPr/>
        </p:nvSpPr>
        <p:spPr>
          <a:xfrm>
            <a:off x="5057268" y="2065962"/>
            <a:ext cx="773280" cy="389330"/>
          </a:xfrm>
          <a:prstGeom prst="roundRect">
            <a:avLst>
              <a:gd name="adj" fmla="val 6124"/>
            </a:avLst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▷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>
              <a:lnSpc>
                <a:spcPct val="130000"/>
              </a:lnSpc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리보기</a:t>
            </a:r>
          </a:p>
        </p:txBody>
      </p:sp>
      <p:sp>
        <p:nvSpPr>
          <p:cNvPr id="129" name="사각형: 둥근 모서리 128">
            <a:extLst>
              <a:ext uri="{FF2B5EF4-FFF2-40B4-BE49-F238E27FC236}">
                <a16:creationId xmlns:a16="http://schemas.microsoft.com/office/drawing/2014/main" id="{4E9AF6FF-38D7-43A8-A372-4A88C403516D}"/>
              </a:ext>
            </a:extLst>
          </p:cNvPr>
          <p:cNvSpPr/>
          <p:nvPr/>
        </p:nvSpPr>
        <p:spPr>
          <a:xfrm>
            <a:off x="5029473" y="20385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0" name="사각형: 둥근 모서리 129">
            <a:extLst>
              <a:ext uri="{FF2B5EF4-FFF2-40B4-BE49-F238E27FC236}">
                <a16:creationId xmlns:a16="http://schemas.microsoft.com/office/drawing/2014/main" id="{5A257A6C-1F23-4A96-8FD6-684483EB3AB8}"/>
              </a:ext>
            </a:extLst>
          </p:cNvPr>
          <p:cNvSpPr/>
          <p:nvPr/>
        </p:nvSpPr>
        <p:spPr>
          <a:xfrm>
            <a:off x="5869760" y="205022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31" name="표 10">
            <a:extLst>
              <a:ext uri="{FF2B5EF4-FFF2-40B4-BE49-F238E27FC236}">
                <a16:creationId xmlns:a16="http://schemas.microsoft.com/office/drawing/2014/main" id="{182B5E29-565D-4157-892F-221B6C837E0F}"/>
              </a:ext>
            </a:extLst>
          </p:cNvPr>
          <p:cNvGraphicFramePr>
            <a:graphicFrameLocks noGrp="1"/>
          </p:cNvGraphicFramePr>
          <p:nvPr/>
        </p:nvGraphicFramePr>
        <p:xfrm>
          <a:off x="9275289" y="1407670"/>
          <a:ext cx="2922885" cy="13580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809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베드코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540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1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스코드 입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스코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918278"/>
                  </a:ext>
                </a:extLst>
              </a:tr>
              <a:tr h="2540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리보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영상 재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플레이어 출력 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동영상 미리보기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0927725"/>
                  </a:ext>
                </a:extLst>
              </a:tr>
              <a:tr h="2540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스코드 입력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분량 자동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357129"/>
                  </a:ext>
                </a:extLst>
              </a:tr>
            </a:tbl>
          </a:graphicData>
        </a:graphic>
      </p:graphicFrame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8F6343A9-41A9-499D-AFDA-E5E6E38C9768}"/>
              </a:ext>
            </a:extLst>
          </p:cNvPr>
          <p:cNvSpPr/>
          <p:nvPr/>
        </p:nvSpPr>
        <p:spPr>
          <a:xfrm>
            <a:off x="9307296" y="958984"/>
            <a:ext cx="2862495" cy="41292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>
              <a:lnSpc>
                <a:spcPct val="130000"/>
              </a:lnSpc>
            </a:pP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빨간색 박스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및 아래 기술한 사항 외 기능은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A: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와 동일</a:t>
            </a:r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BFA16827-0031-45F6-BDB9-64AB6B061367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임베드코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URL)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력 </a:t>
            </a: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C698E7D6-09AF-4A21-920C-6D59A6D259FC}"/>
              </a:ext>
            </a:extLst>
          </p:cNvPr>
          <p:cNvGrpSpPr/>
          <p:nvPr/>
        </p:nvGrpSpPr>
        <p:grpSpPr>
          <a:xfrm>
            <a:off x="8998471" y="2809022"/>
            <a:ext cx="3098119" cy="3913849"/>
            <a:chOff x="9063285" y="393735"/>
            <a:chExt cx="3098119" cy="3913849"/>
          </a:xfrm>
        </p:grpSpPr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41A26F2D-0100-49B5-BC25-9987239EE340}"/>
                </a:ext>
              </a:extLst>
            </p:cNvPr>
            <p:cNvSpPr/>
            <p:nvPr/>
          </p:nvSpPr>
          <p:spPr>
            <a:xfrm>
              <a:off x="9063285" y="393735"/>
              <a:ext cx="3098119" cy="391384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rgbClr val="FF0000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00000"/>
                </a:lnSpc>
              </a:pPr>
              <a:r>
                <a:rPr lang="en-US" altLang="ko-KR" sz="1000" dirty="0">
                  <a:solidFill>
                    <a:schemeClr val="tx1"/>
                  </a:solidFill>
                  <a:latin typeface="AppleSDGothicNeoM00" panose="02000503000000000000" pitchFamily="2" charset="-127"/>
                  <a:ea typeface="AppleSDGothicNeoM00" panose="02000503000000000000" pitchFamily="2" charset="-127"/>
                </a:rPr>
                <a:t>2. </a:t>
              </a:r>
              <a:r>
                <a:rPr lang="ko-KR" altLang="en-US" sz="1000" dirty="0">
                  <a:solidFill>
                    <a:schemeClr val="tx1"/>
                  </a:solidFill>
                  <a:latin typeface="AppleSDGothicNeoM00" panose="02000503000000000000" pitchFamily="2" charset="-127"/>
                  <a:ea typeface="AppleSDGothicNeoM00" panose="02000503000000000000" pitchFamily="2" charset="-127"/>
                </a:rPr>
                <a:t>소스코드 </a:t>
              </a:r>
              <a:r>
                <a:rPr lang="ko-KR" altLang="en-US" sz="1000" dirty="0" err="1">
                  <a:solidFill>
                    <a:schemeClr val="tx1"/>
                  </a:solidFill>
                  <a:latin typeface="AppleSDGothicNeoM00" panose="02000503000000000000" pitchFamily="2" charset="-127"/>
                  <a:ea typeface="AppleSDGothicNeoM00" panose="02000503000000000000" pitchFamily="2" charset="-127"/>
                </a:rPr>
                <a:t>입력후</a:t>
              </a:r>
              <a:r>
                <a:rPr lang="ko-KR" altLang="en-US" sz="1000" dirty="0">
                  <a:solidFill>
                    <a:schemeClr val="tx1"/>
                  </a:solidFill>
                  <a:latin typeface="AppleSDGothicNeoM00" panose="02000503000000000000" pitchFamily="2" charset="-127"/>
                  <a:ea typeface="AppleSDGothicNeoM00" panose="02000503000000000000" pitchFamily="2" charset="-127"/>
                </a:rPr>
                <a:t> 사이즈 수정의 의미</a:t>
              </a:r>
              <a:r>
                <a:rPr lang="en-US" altLang="ko-KR" sz="1000" dirty="0">
                  <a:solidFill>
                    <a:schemeClr val="tx1"/>
                  </a:solidFill>
                  <a:latin typeface="AppleSDGothicNeoM00" panose="02000503000000000000" pitchFamily="2" charset="-127"/>
                  <a:ea typeface="AppleSDGothicNeoM00" panose="02000503000000000000" pitchFamily="2" charset="-127"/>
                </a:rPr>
                <a:t>?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1000" dirty="0">
                  <a:solidFill>
                    <a:schemeClr val="tx1"/>
                  </a:solidFill>
                  <a:latin typeface="AppleSDGothicNeoM00" panose="02000503000000000000" pitchFamily="2" charset="-127"/>
                  <a:ea typeface="AppleSDGothicNeoM00" panose="02000503000000000000" pitchFamily="2" charset="-127"/>
                </a:rPr>
                <a:t> 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- </a:t>
              </a:r>
              <a:r>
                <a:rPr lang="ko-KR" altLang="en-US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유튜브에서 </a:t>
              </a:r>
              <a:r>
                <a:rPr lang="ko-KR" altLang="en-US" sz="1000" dirty="0" err="1">
                  <a:solidFill>
                    <a:srgbClr val="0070C0"/>
                  </a:solidFill>
                  <a:ea typeface="AppleSDGothicNeoM00" panose="02000503000000000000" pitchFamily="2" charset="-127"/>
                </a:rPr>
                <a:t>임베드</a:t>
              </a:r>
              <a:r>
                <a:rPr lang="ko-KR" altLang="en-US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 코드 입력 시 프레임 사이즈가 </a:t>
              </a:r>
              <a:endPara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endParaRPr>
            </a:p>
            <a:p>
              <a:pPr>
                <a:lnSpc>
                  <a:spcPct val="120000"/>
                </a:lnSpc>
              </a:pP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    </a:t>
              </a:r>
              <a:r>
                <a:rPr lang="ko-KR" altLang="en-US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포함되어 있음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. </a:t>
              </a:r>
              <a:r>
                <a:rPr lang="ko-KR" altLang="en-US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플랫폼 사이즈에 맞게 사이즈 </a:t>
              </a:r>
              <a:endPara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endParaRPr>
            </a:p>
            <a:p>
              <a:pPr>
                <a:lnSpc>
                  <a:spcPct val="120000"/>
                </a:lnSpc>
              </a:pP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    </a:t>
              </a:r>
              <a:r>
                <a:rPr lang="ko-KR" altLang="en-US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수정이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 </a:t>
              </a:r>
              <a:r>
                <a:rPr lang="ko-KR" altLang="en-US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필요할 것으로 예상되어 작성한 내용으로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,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    </a:t>
              </a:r>
              <a:r>
                <a:rPr lang="ko-KR" altLang="en-US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자동으로 사이즈 수정이 된다면 내용 삭제해도 </a:t>
              </a:r>
              <a:endPara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endParaRPr>
            </a:p>
            <a:p>
              <a:pPr>
                <a:lnSpc>
                  <a:spcPct val="120000"/>
                </a:lnSpc>
              </a:pP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    </a:t>
              </a:r>
              <a:r>
                <a:rPr lang="ko-KR" altLang="en-US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무방함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.</a:t>
              </a:r>
            </a:p>
            <a:p>
              <a:pPr>
                <a:lnSpc>
                  <a:spcPct val="120000"/>
                </a:lnSpc>
              </a:pPr>
              <a:endPara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endParaRPr>
            </a:p>
            <a:p>
              <a:pPr>
                <a:lnSpc>
                  <a:spcPct val="120000"/>
                </a:lnSpc>
              </a:pP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   [</a:t>
              </a:r>
              <a:r>
                <a:rPr lang="ko-KR" altLang="en-US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유튜브 </a:t>
              </a:r>
              <a:r>
                <a:rPr lang="ko-KR" altLang="en-US" sz="1000" dirty="0" err="1">
                  <a:solidFill>
                    <a:srgbClr val="0070C0"/>
                  </a:solidFill>
                  <a:ea typeface="AppleSDGothicNeoM00" panose="02000503000000000000" pitchFamily="2" charset="-127"/>
                </a:rPr>
                <a:t>임베드</a:t>
              </a:r>
              <a:r>
                <a:rPr lang="ko-KR" altLang="en-US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 코드 예시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] </a:t>
              </a:r>
            </a:p>
            <a:p>
              <a:pPr>
                <a:lnSpc>
                  <a:spcPct val="120000"/>
                </a:lnSpc>
              </a:pPr>
              <a:endPara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endParaRPr>
            </a:p>
            <a:p>
              <a:pPr>
                <a:lnSpc>
                  <a:spcPct val="120000"/>
                </a:lnSpc>
              </a:pPr>
              <a:endPara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endParaRPr>
            </a:p>
            <a:p>
              <a:pPr>
                <a:lnSpc>
                  <a:spcPct val="120000"/>
                </a:lnSpc>
              </a:pPr>
              <a:endPara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endParaRPr>
            </a:p>
            <a:p>
              <a:pPr>
                <a:lnSpc>
                  <a:spcPct val="120000"/>
                </a:lnSpc>
              </a:pPr>
              <a:endPara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endParaRPr>
            </a:p>
            <a:p>
              <a:pPr>
                <a:lnSpc>
                  <a:spcPct val="120000"/>
                </a:lnSpc>
              </a:pPr>
              <a:endPara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endParaRPr>
            </a:p>
            <a:p>
              <a:pPr>
                <a:lnSpc>
                  <a:spcPct val="120000"/>
                </a:lnSpc>
              </a:pPr>
              <a:endParaRPr lang="en-US" altLang="ko-KR" sz="1000" dirty="0">
                <a:solidFill>
                  <a:srgbClr val="0070C0"/>
                </a:solidFill>
                <a:ea typeface="AppleSDGothicNeoM00" panose="02000503000000000000" pitchFamily="2" charset="-127"/>
              </a:endParaRPr>
            </a:p>
            <a:p>
              <a:pPr>
                <a:lnSpc>
                  <a:spcPct val="120000"/>
                </a:lnSpc>
              </a:pP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  &lt;</a:t>
              </a:r>
              <a:r>
                <a:rPr lang="en-US" altLang="ko-KR" sz="1000" dirty="0" err="1">
                  <a:solidFill>
                    <a:srgbClr val="0070C0"/>
                  </a:solidFill>
                  <a:ea typeface="AppleSDGothicNeoM00" panose="02000503000000000000" pitchFamily="2" charset="-127"/>
                </a:rPr>
                <a:t>iframe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 </a:t>
              </a:r>
              <a:r>
                <a:rPr lang="en-US" altLang="ko-KR" sz="1000" b="1" dirty="0">
                  <a:solidFill>
                    <a:srgbClr val="FF0000"/>
                  </a:solidFill>
                  <a:ea typeface="AppleSDGothicNeoM00" panose="02000503000000000000" pitchFamily="2" charset="-127"/>
                </a:rPr>
                <a:t>width="560" height="315"    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1000" dirty="0" err="1">
                  <a:solidFill>
                    <a:srgbClr val="0070C0"/>
                  </a:solidFill>
                  <a:ea typeface="AppleSDGothicNeoM00" panose="02000503000000000000" pitchFamily="2" charset="-127"/>
                </a:rPr>
                <a:t>src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="https://www.youtube.com/embed/gL9TOKXw6y4" title="YouTube video player" frameborder="0" allow="accelerometer; </a:t>
              </a:r>
              <a:r>
                <a:rPr lang="en-US" altLang="ko-KR" sz="1000" dirty="0" err="1">
                  <a:solidFill>
                    <a:srgbClr val="0070C0"/>
                  </a:solidFill>
                  <a:ea typeface="AppleSDGothicNeoM00" panose="02000503000000000000" pitchFamily="2" charset="-127"/>
                </a:rPr>
                <a:t>autoplay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; clipboard-write; encrypted-media; gyroscope; picture-in-picture; web-share" </a:t>
              </a:r>
              <a:r>
                <a:rPr lang="en-US" altLang="ko-KR" sz="1000" dirty="0" err="1">
                  <a:solidFill>
                    <a:srgbClr val="0070C0"/>
                  </a:solidFill>
                  <a:ea typeface="AppleSDGothicNeoM00" panose="02000503000000000000" pitchFamily="2" charset="-127"/>
                </a:rPr>
                <a:t>allowfullscreen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&gt;&lt;/</a:t>
              </a:r>
              <a:r>
                <a:rPr lang="en-US" altLang="ko-KR" sz="1000" dirty="0" err="1">
                  <a:solidFill>
                    <a:srgbClr val="0070C0"/>
                  </a:solidFill>
                  <a:ea typeface="AppleSDGothicNeoM00" panose="02000503000000000000" pitchFamily="2" charset="-127"/>
                </a:rPr>
                <a:t>iframe</a:t>
              </a:r>
              <a:r>
                <a:rPr lang="en-US" altLang="ko-KR" sz="1000" dirty="0">
                  <a:solidFill>
                    <a:srgbClr val="0070C0"/>
                  </a:solidFill>
                  <a:ea typeface="AppleSDGothicNeoM00" panose="02000503000000000000" pitchFamily="2" charset="-127"/>
                </a:rPr>
                <a:t>&gt;</a:t>
              </a:r>
            </a:p>
          </p:txBody>
        </p:sp>
        <p:pic>
          <p:nvPicPr>
            <p:cNvPr id="108" name="그림 107">
              <a:extLst>
                <a:ext uri="{FF2B5EF4-FFF2-40B4-BE49-F238E27FC236}">
                  <a16:creationId xmlns:a16="http://schemas.microsoft.com/office/drawing/2014/main" id="{95B68629-FC80-4105-A9C2-D6C543CAB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253075" y="1976572"/>
              <a:ext cx="2654729" cy="891873"/>
            </a:xfrm>
            <a:prstGeom prst="rect">
              <a:avLst/>
            </a:prstGeom>
          </p:spPr>
        </p:pic>
      </p:grp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F773367E-ABB0-471C-B613-F063BCA22DCD}"/>
              </a:ext>
            </a:extLst>
          </p:cNvPr>
          <p:cNvSpPr/>
          <p:nvPr/>
        </p:nvSpPr>
        <p:spPr>
          <a:xfrm>
            <a:off x="8974299" y="-2786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aphicFrame>
        <p:nvGraphicFramePr>
          <p:cNvPr id="111" name="표 110">
            <a:extLst>
              <a:ext uri="{FF2B5EF4-FFF2-40B4-BE49-F238E27FC236}">
                <a16:creationId xmlns:a16="http://schemas.microsoft.com/office/drawing/2014/main" id="{45FAEB13-2850-4FF0-8CE4-C1EA37B7C3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5607023"/>
              </p:ext>
            </p:extLst>
          </p:nvPr>
        </p:nvGraphicFramePr>
        <p:xfrm>
          <a:off x="443541" y="6109921"/>
          <a:ext cx="8455878" cy="33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935875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456032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3194002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19234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112" name="표 111">
            <a:extLst>
              <a:ext uri="{FF2B5EF4-FFF2-40B4-BE49-F238E27FC236}">
                <a16:creationId xmlns:a16="http://schemas.microsoft.com/office/drawing/2014/main" id="{65AA60A4-7275-4B98-A4AA-CDBD7AE7C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624030"/>
              </p:ext>
            </p:extLst>
          </p:nvPr>
        </p:nvGraphicFramePr>
        <p:xfrm>
          <a:off x="443541" y="4334256"/>
          <a:ext cx="8455876" cy="16348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3354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4784148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영상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컨텐츠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5821" y="620253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6" name="표 12">
            <a:extLst>
              <a:ext uri="{FF2B5EF4-FFF2-40B4-BE49-F238E27FC236}">
                <a16:creationId xmlns:a16="http://schemas.microsoft.com/office/drawing/2014/main" id="{FAFA8B38-C9E2-4A9C-A01A-1739907674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3878506"/>
              </p:ext>
            </p:extLst>
          </p:nvPr>
        </p:nvGraphicFramePr>
        <p:xfrm>
          <a:off x="443540" y="1476944"/>
          <a:ext cx="8423935" cy="21320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0439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302453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889763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403558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902555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2055167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문서  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         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영상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원포인트레슨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812989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 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51201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열람허용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 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가능여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가능             ●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489024FD-7F80-49A3-887D-85867E4F1E55}"/>
              </a:ext>
            </a:extLst>
          </p:cNvPr>
          <p:cNvSpPr/>
          <p:nvPr/>
        </p:nvSpPr>
        <p:spPr>
          <a:xfrm>
            <a:off x="1342121" y="1803095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178179FD-B710-4467-864A-EA53B8423A60}"/>
              </a:ext>
            </a:extLst>
          </p:cNvPr>
          <p:cNvSpPr/>
          <p:nvPr/>
        </p:nvSpPr>
        <p:spPr>
          <a:xfrm>
            <a:off x="4561288" y="1798217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3151DEBD-C741-437F-9BD6-429D4690AEC0}"/>
              </a:ext>
            </a:extLst>
          </p:cNvPr>
          <p:cNvGrpSpPr/>
          <p:nvPr/>
        </p:nvGrpSpPr>
        <p:grpSpPr>
          <a:xfrm>
            <a:off x="4524595" y="2740485"/>
            <a:ext cx="3711546" cy="175761"/>
            <a:chOff x="4535523" y="2896789"/>
            <a:chExt cx="3711546" cy="175761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1CEB0E8F-3893-4D41-B9B8-5B2AB66E1493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4" name="그룹 173">
                <a:extLst>
                  <a:ext uri="{FF2B5EF4-FFF2-40B4-BE49-F238E27FC236}">
                    <a16:creationId xmlns:a16="http://schemas.microsoft.com/office/drawing/2014/main" id="{08CE6B5D-F6C7-4F24-9055-E92F20610776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96" name="직사각형 195">
                  <a:extLst>
                    <a:ext uri="{FF2B5EF4-FFF2-40B4-BE49-F238E27FC236}">
                      <a16:creationId xmlns:a16="http://schemas.microsoft.com/office/drawing/2014/main" id="{82C211D7-9D16-4A2B-94C9-F0FDEF298023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97" name="직사각형 196">
                  <a:extLst>
                    <a:ext uri="{FF2B5EF4-FFF2-40B4-BE49-F238E27FC236}">
                      <a16:creationId xmlns:a16="http://schemas.microsoft.com/office/drawing/2014/main" id="{02B3B37E-EC78-4898-8460-32193AB3DD9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98" name="그림 197">
                  <a:extLst>
                    <a:ext uri="{FF2B5EF4-FFF2-40B4-BE49-F238E27FC236}">
                      <a16:creationId xmlns:a16="http://schemas.microsoft.com/office/drawing/2014/main" id="{7EA89D27-E7B8-4A9B-A14C-EF5A958029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96306674-D4D1-4BCE-BA6E-044AF35CE08D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9" name="직사각형 178">
                <a:extLst>
                  <a:ext uri="{FF2B5EF4-FFF2-40B4-BE49-F238E27FC236}">
                    <a16:creationId xmlns:a16="http://schemas.microsoft.com/office/drawing/2014/main" id="{119CA91D-08CC-4597-8E7B-BC3A7CE843B6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2" name="직사각형 201">
                <a:extLst>
                  <a:ext uri="{FF2B5EF4-FFF2-40B4-BE49-F238E27FC236}">
                    <a16:creationId xmlns:a16="http://schemas.microsoft.com/office/drawing/2014/main" id="{B7993C22-B48C-497B-993B-B6AF34E471D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3" name="직사각형 202">
                <a:extLst>
                  <a:ext uri="{FF2B5EF4-FFF2-40B4-BE49-F238E27FC236}">
                    <a16:creationId xmlns:a16="http://schemas.microsoft.com/office/drawing/2014/main" id="{F5E185A2-B398-4C0B-B278-5D4B31A09B8E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4" name="직사각형 203">
                <a:extLst>
                  <a:ext uri="{FF2B5EF4-FFF2-40B4-BE49-F238E27FC236}">
                    <a16:creationId xmlns:a16="http://schemas.microsoft.com/office/drawing/2014/main" id="{8F6FAC83-FD4E-438E-8278-946FB419E8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205" name="그룹 204">
              <a:extLst>
                <a:ext uri="{FF2B5EF4-FFF2-40B4-BE49-F238E27FC236}">
                  <a16:creationId xmlns:a16="http://schemas.microsoft.com/office/drawing/2014/main" id="{B6A2D1A9-64D5-4DC8-9EFB-ED4F2C52E495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206" name="그룹 205">
                <a:extLst>
                  <a:ext uri="{FF2B5EF4-FFF2-40B4-BE49-F238E27FC236}">
                    <a16:creationId xmlns:a16="http://schemas.microsoft.com/office/drawing/2014/main" id="{A14F1E05-0861-4A3F-8CD7-FC066155038B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212" name="직사각형 211">
                  <a:extLst>
                    <a:ext uri="{FF2B5EF4-FFF2-40B4-BE49-F238E27FC236}">
                      <a16:creationId xmlns:a16="http://schemas.microsoft.com/office/drawing/2014/main" id="{F60D1063-6954-4473-8166-A197B67164B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213" name="직사각형 212">
                  <a:extLst>
                    <a:ext uri="{FF2B5EF4-FFF2-40B4-BE49-F238E27FC236}">
                      <a16:creationId xmlns:a16="http://schemas.microsoft.com/office/drawing/2014/main" id="{76AB009E-C053-4F2F-8C91-60ECDFF5DC48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214" name="그림 213">
                  <a:extLst>
                    <a:ext uri="{FF2B5EF4-FFF2-40B4-BE49-F238E27FC236}">
                      <a16:creationId xmlns:a16="http://schemas.microsoft.com/office/drawing/2014/main" id="{73936F88-5CE9-40BA-86D8-D0EC39D1A9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208" name="직사각형 207">
                <a:extLst>
                  <a:ext uri="{FF2B5EF4-FFF2-40B4-BE49-F238E27FC236}">
                    <a16:creationId xmlns:a16="http://schemas.microsoft.com/office/drawing/2014/main" id="{76BF78C6-6071-43B8-ABE6-473825E62152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12-31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9" name="직사각형 208">
                <a:extLst>
                  <a:ext uri="{FF2B5EF4-FFF2-40B4-BE49-F238E27FC236}">
                    <a16:creationId xmlns:a16="http://schemas.microsoft.com/office/drawing/2014/main" id="{44A1005F-22E7-475A-BFB6-61C93CB1240E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0" name="직사각형 209">
                <a:extLst>
                  <a:ext uri="{FF2B5EF4-FFF2-40B4-BE49-F238E27FC236}">
                    <a16:creationId xmlns:a16="http://schemas.microsoft.com/office/drawing/2014/main" id="{92747398-46BD-44B6-A478-23E7E782A23A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1" name="직사각형 210">
                <a:extLst>
                  <a:ext uri="{FF2B5EF4-FFF2-40B4-BE49-F238E27FC236}">
                    <a16:creationId xmlns:a16="http://schemas.microsoft.com/office/drawing/2014/main" id="{6654E2FE-3C1B-4A12-8DE8-D6D4405B04D0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228" name="직사각형 227">
              <a:extLst>
                <a:ext uri="{FF2B5EF4-FFF2-40B4-BE49-F238E27FC236}">
                  <a16:creationId xmlns:a16="http://schemas.microsoft.com/office/drawing/2014/main" id="{6529F0E2-0048-4CFC-A65F-E9928BEFF93B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229" name="사각형: 둥근 모서리 228">
              <a:extLst>
                <a:ext uri="{FF2B5EF4-FFF2-40B4-BE49-F238E27FC236}">
                  <a16:creationId xmlns:a16="http://schemas.microsoft.com/office/drawing/2014/main" id="{17F7A4B1-05DA-4EB4-8988-671337DA11CC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30" name="그림 229">
              <a:extLst>
                <a:ext uri="{FF2B5EF4-FFF2-40B4-BE49-F238E27FC236}">
                  <a16:creationId xmlns:a16="http://schemas.microsoft.com/office/drawing/2014/main" id="{C6A56D4E-0B59-4417-8E0C-0021C92DC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grpSp>
        <p:nvGrpSpPr>
          <p:cNvPr id="253" name="그룹 252">
            <a:extLst>
              <a:ext uri="{FF2B5EF4-FFF2-40B4-BE49-F238E27FC236}">
                <a16:creationId xmlns:a16="http://schemas.microsoft.com/office/drawing/2014/main" id="{60F5DCD9-5570-40F0-9995-D5572595432E}"/>
              </a:ext>
            </a:extLst>
          </p:cNvPr>
          <p:cNvGrpSpPr/>
          <p:nvPr/>
        </p:nvGrpSpPr>
        <p:grpSpPr>
          <a:xfrm>
            <a:off x="6882376" y="2068039"/>
            <a:ext cx="1065951" cy="172800"/>
            <a:chOff x="1260034" y="1778319"/>
            <a:chExt cx="1065951" cy="172800"/>
          </a:xfrm>
        </p:grpSpPr>
        <p:sp>
          <p:nvSpPr>
            <p:cNvPr id="256" name="직사각형 255">
              <a:extLst>
                <a:ext uri="{FF2B5EF4-FFF2-40B4-BE49-F238E27FC236}">
                  <a16:creationId xmlns:a16="http://schemas.microsoft.com/office/drawing/2014/main" id="{9AAA2FDF-45A4-4C51-80BD-11AA16F5BD7C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57" name="직사각형 256">
              <a:extLst>
                <a:ext uri="{FF2B5EF4-FFF2-40B4-BE49-F238E27FC236}">
                  <a16:creationId xmlns:a16="http://schemas.microsoft.com/office/drawing/2014/main" id="{6491BDD4-4782-4EB8-921F-CB00D9CF6468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5" name="그룹 274">
            <a:extLst>
              <a:ext uri="{FF2B5EF4-FFF2-40B4-BE49-F238E27FC236}">
                <a16:creationId xmlns:a16="http://schemas.microsoft.com/office/drawing/2014/main" id="{A9A191A0-4A36-408D-A2F1-D7951C26F968}"/>
              </a:ext>
            </a:extLst>
          </p:cNvPr>
          <p:cNvGrpSpPr/>
          <p:nvPr/>
        </p:nvGrpSpPr>
        <p:grpSpPr>
          <a:xfrm>
            <a:off x="6882376" y="2335616"/>
            <a:ext cx="1065951" cy="172800"/>
            <a:chOff x="1260034" y="1778319"/>
            <a:chExt cx="1065951" cy="172800"/>
          </a:xfrm>
        </p:grpSpPr>
        <p:sp>
          <p:nvSpPr>
            <p:cNvPr id="276" name="직사각형 275">
              <a:extLst>
                <a:ext uri="{FF2B5EF4-FFF2-40B4-BE49-F238E27FC236}">
                  <a16:creationId xmlns:a16="http://schemas.microsoft.com/office/drawing/2014/main" id="{C4737F8E-AC4C-41E5-A73A-5DA823BA68A7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C0FC404D-93E0-4EF0-8355-DA96AFD7A30E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8" name="그룹 277">
            <a:extLst>
              <a:ext uri="{FF2B5EF4-FFF2-40B4-BE49-F238E27FC236}">
                <a16:creationId xmlns:a16="http://schemas.microsoft.com/office/drawing/2014/main" id="{D2DFE4EA-566D-4198-8AB6-A38B360FC5A2}"/>
              </a:ext>
            </a:extLst>
          </p:cNvPr>
          <p:cNvGrpSpPr/>
          <p:nvPr/>
        </p:nvGrpSpPr>
        <p:grpSpPr>
          <a:xfrm>
            <a:off x="1345745" y="2332679"/>
            <a:ext cx="983380" cy="172800"/>
            <a:chOff x="1260034" y="1778319"/>
            <a:chExt cx="983380" cy="172800"/>
          </a:xfrm>
        </p:grpSpPr>
        <p:sp>
          <p:nvSpPr>
            <p:cNvPr id="279" name="직사각형 278">
              <a:extLst>
                <a:ext uri="{FF2B5EF4-FFF2-40B4-BE49-F238E27FC236}">
                  <a16:creationId xmlns:a16="http://schemas.microsoft.com/office/drawing/2014/main" id="{74E5A847-9C16-4BF5-84D2-D083F7C98E0C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80" name="직사각형 279">
              <a:extLst>
                <a:ext uri="{FF2B5EF4-FFF2-40B4-BE49-F238E27FC236}">
                  <a16:creationId xmlns:a16="http://schemas.microsoft.com/office/drawing/2014/main" id="{72DB68FC-9892-4EE6-8A6A-279788DB1F84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87" name="직사각형 286">
            <a:extLst>
              <a:ext uri="{FF2B5EF4-FFF2-40B4-BE49-F238E27FC236}">
                <a16:creationId xmlns:a16="http://schemas.microsoft.com/office/drawing/2014/main" id="{D77B06E9-8DF5-44D4-9A42-5FE931673FDB}"/>
              </a:ext>
            </a:extLst>
          </p:cNvPr>
          <p:cNvSpPr/>
          <p:nvPr/>
        </p:nvSpPr>
        <p:spPr>
          <a:xfrm>
            <a:off x="4567502" y="3365765"/>
            <a:ext cx="407200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우선순위에 따라 콤마로 구분하여 입력하세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94" name="그룹 293">
            <a:extLst>
              <a:ext uri="{FF2B5EF4-FFF2-40B4-BE49-F238E27FC236}">
                <a16:creationId xmlns:a16="http://schemas.microsoft.com/office/drawing/2014/main" id="{F0153F10-0BBB-4FA5-AE0F-E52D0D2417F1}"/>
              </a:ext>
            </a:extLst>
          </p:cNvPr>
          <p:cNvGrpSpPr/>
          <p:nvPr/>
        </p:nvGrpSpPr>
        <p:grpSpPr>
          <a:xfrm>
            <a:off x="4567502" y="2335297"/>
            <a:ext cx="1065951" cy="172800"/>
            <a:chOff x="1260034" y="1778319"/>
            <a:chExt cx="1065951" cy="172800"/>
          </a:xfrm>
        </p:grpSpPr>
        <p:sp>
          <p:nvSpPr>
            <p:cNvPr id="295" name="직사각형 294">
              <a:extLst>
                <a:ext uri="{FF2B5EF4-FFF2-40B4-BE49-F238E27FC236}">
                  <a16:creationId xmlns:a16="http://schemas.microsoft.com/office/drawing/2014/main" id="{3F6A89BD-D88F-49FD-B756-E9E6E3DD3719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296" name="직사각형 295">
              <a:extLst>
                <a:ext uri="{FF2B5EF4-FFF2-40B4-BE49-F238E27FC236}">
                  <a16:creationId xmlns:a16="http://schemas.microsoft.com/office/drawing/2014/main" id="{9A430EA1-04CA-4C4E-9A8B-8B7406D7E80E}"/>
                </a:ext>
              </a:extLst>
            </p:cNvPr>
            <p:cNvSpPr/>
            <p:nvPr/>
          </p:nvSpPr>
          <p:spPr>
            <a:xfrm>
              <a:off x="2109961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04" name="직사각형 303">
            <a:extLst>
              <a:ext uri="{FF2B5EF4-FFF2-40B4-BE49-F238E27FC236}">
                <a16:creationId xmlns:a16="http://schemas.microsoft.com/office/drawing/2014/main" id="{56C72D9F-6945-4DCA-B045-42D7FFFA6125}"/>
              </a:ext>
            </a:extLst>
          </p:cNvPr>
          <p:cNvSpPr/>
          <p:nvPr/>
        </p:nvSpPr>
        <p:spPr>
          <a:xfrm>
            <a:off x="1342120" y="2058505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6FC6B508-A697-4F7A-B4E9-C94BFD3B2B53}"/>
              </a:ext>
            </a:extLst>
          </p:cNvPr>
          <p:cNvGrpSpPr/>
          <p:nvPr/>
        </p:nvGrpSpPr>
        <p:grpSpPr>
          <a:xfrm>
            <a:off x="3188943" y="2057515"/>
            <a:ext cx="169472" cy="169472"/>
            <a:chOff x="3180922" y="2352202"/>
            <a:chExt cx="169472" cy="169472"/>
          </a:xfrm>
        </p:grpSpPr>
        <p:sp>
          <p:nvSpPr>
            <p:cNvPr id="305" name="사각형: 둥근 모서리 304">
              <a:extLst>
                <a:ext uri="{FF2B5EF4-FFF2-40B4-BE49-F238E27FC236}">
                  <a16:creationId xmlns:a16="http://schemas.microsoft.com/office/drawing/2014/main" id="{1F350384-9B7F-461C-A440-D6CB828072FE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06" name="그림 305">
              <a:extLst>
                <a:ext uri="{FF2B5EF4-FFF2-40B4-BE49-F238E27FC236}">
                  <a16:creationId xmlns:a16="http://schemas.microsoft.com/office/drawing/2014/main" id="{37B752C4-9AC3-4471-BE71-E93F18D52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307" name="그룹 306">
            <a:extLst>
              <a:ext uri="{FF2B5EF4-FFF2-40B4-BE49-F238E27FC236}">
                <a16:creationId xmlns:a16="http://schemas.microsoft.com/office/drawing/2014/main" id="{42A05CBC-2B80-4BA9-931B-31EC003B135C}"/>
              </a:ext>
            </a:extLst>
          </p:cNvPr>
          <p:cNvGrpSpPr/>
          <p:nvPr/>
        </p:nvGrpSpPr>
        <p:grpSpPr>
          <a:xfrm>
            <a:off x="2386027" y="2330581"/>
            <a:ext cx="1067418" cy="172800"/>
            <a:chOff x="1260034" y="1778319"/>
            <a:chExt cx="1067418" cy="172800"/>
          </a:xfrm>
        </p:grpSpPr>
        <p:sp>
          <p:nvSpPr>
            <p:cNvPr id="308" name="직사각형 307">
              <a:extLst>
                <a:ext uri="{FF2B5EF4-FFF2-40B4-BE49-F238E27FC236}">
                  <a16:creationId xmlns:a16="http://schemas.microsoft.com/office/drawing/2014/main" id="{C83E80D5-F795-404C-B8A5-0EC5FD869898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309" name="직사각형 308">
              <a:extLst>
                <a:ext uri="{FF2B5EF4-FFF2-40B4-BE49-F238E27FC236}">
                  <a16:creationId xmlns:a16="http://schemas.microsoft.com/office/drawing/2014/main" id="{05B9EC14-43BC-46F8-8496-0782DA4E981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323" name="그룹 322">
            <a:extLst>
              <a:ext uri="{FF2B5EF4-FFF2-40B4-BE49-F238E27FC236}">
                <a16:creationId xmlns:a16="http://schemas.microsoft.com/office/drawing/2014/main" id="{824313F4-B630-4DA2-B9FA-2CC85C41B592}"/>
              </a:ext>
            </a:extLst>
          </p:cNvPr>
          <p:cNvGrpSpPr/>
          <p:nvPr/>
        </p:nvGrpSpPr>
        <p:grpSpPr>
          <a:xfrm>
            <a:off x="6882376" y="1798217"/>
            <a:ext cx="589035" cy="172800"/>
            <a:chOff x="1260034" y="1778319"/>
            <a:chExt cx="589035" cy="172800"/>
          </a:xfrm>
        </p:grpSpPr>
        <p:sp>
          <p:nvSpPr>
            <p:cNvPr id="324" name="직사각형 323">
              <a:extLst>
                <a:ext uri="{FF2B5EF4-FFF2-40B4-BE49-F238E27FC236}">
                  <a16:creationId xmlns:a16="http://schemas.microsoft.com/office/drawing/2014/main" id="{DB980864-2E0F-4C1D-829D-281274C4283F}"/>
                </a:ext>
              </a:extLst>
            </p:cNvPr>
            <p:cNvSpPr/>
            <p:nvPr/>
          </p:nvSpPr>
          <p:spPr>
            <a:xfrm>
              <a:off x="1260034" y="1778319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연도</a:t>
              </a:r>
            </a:p>
          </p:txBody>
        </p:sp>
        <p:sp>
          <p:nvSpPr>
            <p:cNvPr id="325" name="직사각형 324">
              <a:extLst>
                <a:ext uri="{FF2B5EF4-FFF2-40B4-BE49-F238E27FC236}">
                  <a16:creationId xmlns:a16="http://schemas.microsoft.com/office/drawing/2014/main" id="{261C56E6-E71F-49D6-A5AF-37FB9BFD2B4E}"/>
                </a:ext>
              </a:extLst>
            </p:cNvPr>
            <p:cNvSpPr/>
            <p:nvPr/>
          </p:nvSpPr>
          <p:spPr>
            <a:xfrm>
              <a:off x="1633045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30" name="직사각형 329">
            <a:extLst>
              <a:ext uri="{FF2B5EF4-FFF2-40B4-BE49-F238E27FC236}">
                <a16:creationId xmlns:a16="http://schemas.microsoft.com/office/drawing/2014/main" id="{D1D71848-E3B5-4132-8ABF-5DB7A93CA324}"/>
              </a:ext>
            </a:extLst>
          </p:cNvPr>
          <p:cNvSpPr/>
          <p:nvPr/>
        </p:nvSpPr>
        <p:spPr>
          <a:xfrm>
            <a:off x="7545797" y="1800535"/>
            <a:ext cx="373011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1" name="직사각형 330">
            <a:extLst>
              <a:ext uri="{FF2B5EF4-FFF2-40B4-BE49-F238E27FC236}">
                <a16:creationId xmlns:a16="http://schemas.microsoft.com/office/drawing/2014/main" id="{A0F20997-C6B2-4601-A1B2-50BA5524AC08}"/>
              </a:ext>
            </a:extLst>
          </p:cNvPr>
          <p:cNvSpPr/>
          <p:nvPr/>
        </p:nvSpPr>
        <p:spPr>
          <a:xfrm>
            <a:off x="7948328" y="1800535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9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2" name="직사각형 331">
            <a:extLst>
              <a:ext uri="{FF2B5EF4-FFF2-40B4-BE49-F238E27FC236}">
                <a16:creationId xmlns:a16="http://schemas.microsoft.com/office/drawing/2014/main" id="{E79D5ECD-6FAE-4EAF-BFB3-5F88B003466E}"/>
              </a:ext>
            </a:extLst>
          </p:cNvPr>
          <p:cNvSpPr/>
          <p:nvPr/>
        </p:nvSpPr>
        <p:spPr>
          <a:xfrm>
            <a:off x="8266943" y="1800535"/>
            <a:ext cx="2575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0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5F4E090F-CE54-4F48-8CD4-F57A5974965B}"/>
              </a:ext>
            </a:extLst>
          </p:cNvPr>
          <p:cNvSpPr/>
          <p:nvPr/>
        </p:nvSpPr>
        <p:spPr>
          <a:xfrm>
            <a:off x="4559984" y="2071976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41A1DC4D-1043-4D58-91A4-21F9426941F9}"/>
              </a:ext>
            </a:extLst>
          </p:cNvPr>
          <p:cNvSpPr/>
          <p:nvPr/>
        </p:nvSpPr>
        <p:spPr>
          <a:xfrm>
            <a:off x="436541" y="1467335"/>
            <a:ext cx="8423935" cy="297284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C0E505CD-EC08-4DD7-AC16-1FCA20209D20}"/>
              </a:ext>
            </a:extLst>
          </p:cNvPr>
          <p:cNvSpPr/>
          <p:nvPr/>
        </p:nvSpPr>
        <p:spPr>
          <a:xfrm>
            <a:off x="399025" y="1154051"/>
            <a:ext cx="8518304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                     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54271ABE-9B85-4BF8-8DC9-09AE1D9CC13D}"/>
              </a:ext>
            </a:extLst>
          </p:cNvPr>
          <p:cNvSpPr/>
          <p:nvPr/>
        </p:nvSpPr>
        <p:spPr>
          <a:xfrm>
            <a:off x="399025" y="1427713"/>
            <a:ext cx="8518304" cy="4997402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C9E8DC0B-924E-4631-8EF3-0897AF83D108}"/>
              </a:ext>
            </a:extLst>
          </p:cNvPr>
          <p:cNvSpPr/>
          <p:nvPr/>
        </p:nvSpPr>
        <p:spPr>
          <a:xfrm>
            <a:off x="9307296" y="958984"/>
            <a:ext cx="2862495" cy="41292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>
              <a:lnSpc>
                <a:spcPct val="130000"/>
              </a:lnSpc>
            </a:pP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빨간색 박스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및 아래 기술한 사항 외 기능은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A: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와 동일</a:t>
            </a:r>
          </a:p>
        </p:txBody>
      </p: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F1D404E9-C72F-4D3D-B925-EC2F38D62800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포인트레슨</a:t>
            </a:r>
          </a:p>
        </p:txBody>
      </p:sp>
      <p:cxnSp>
        <p:nvCxnSpPr>
          <p:cNvPr id="109" name="직선 연결선 108">
            <a:extLst>
              <a:ext uri="{FF2B5EF4-FFF2-40B4-BE49-F238E27FC236}">
                <a16:creationId xmlns:a16="http://schemas.microsoft.com/office/drawing/2014/main" id="{56FAC24F-D03F-48F8-BC38-9231A9046F6C}"/>
              </a:ext>
            </a:extLst>
          </p:cNvPr>
          <p:cNvCxnSpPr>
            <a:cxnSpLocks/>
          </p:cNvCxnSpPr>
          <p:nvPr/>
        </p:nvCxnSpPr>
        <p:spPr>
          <a:xfrm>
            <a:off x="399025" y="6021288"/>
            <a:ext cx="8461451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9FCBB4D6-A426-4693-BBAF-0F8BBCD6621F}"/>
              </a:ext>
            </a:extLst>
          </p:cNvPr>
          <p:cNvSpPr/>
          <p:nvPr/>
        </p:nvSpPr>
        <p:spPr>
          <a:xfrm>
            <a:off x="4219128" y="5856097"/>
            <a:ext cx="868759" cy="360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뒤에 이어서</a:t>
            </a: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1E206ED1-DB3A-4CBF-B79D-DB5BB2E0DE5B}"/>
              </a:ext>
            </a:extLst>
          </p:cNvPr>
          <p:cNvGrpSpPr/>
          <p:nvPr/>
        </p:nvGrpSpPr>
        <p:grpSpPr>
          <a:xfrm>
            <a:off x="6174823" y="5516338"/>
            <a:ext cx="2852827" cy="1193813"/>
            <a:chOff x="6176162" y="5445224"/>
            <a:chExt cx="2852827" cy="1193813"/>
          </a:xfrm>
        </p:grpSpPr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12A37C79-0CF5-482F-9EB8-E5F196A4ED28}"/>
                </a:ext>
              </a:extLst>
            </p:cNvPr>
            <p:cNvGrpSpPr/>
            <p:nvPr/>
          </p:nvGrpSpPr>
          <p:grpSpPr>
            <a:xfrm>
              <a:off x="6176162" y="5445224"/>
              <a:ext cx="2852827" cy="1193813"/>
              <a:chOff x="6275700" y="5531114"/>
              <a:chExt cx="2852827" cy="1193813"/>
            </a:xfrm>
          </p:grpSpPr>
          <p:grpSp>
            <p:nvGrpSpPr>
              <p:cNvPr id="3" name="그룹 2">
                <a:extLst>
                  <a:ext uri="{FF2B5EF4-FFF2-40B4-BE49-F238E27FC236}">
                    <a16:creationId xmlns:a16="http://schemas.microsoft.com/office/drawing/2014/main" id="{7AD12105-8A4E-4549-BF74-0FE7EAF78207}"/>
                  </a:ext>
                </a:extLst>
              </p:cNvPr>
              <p:cNvGrpSpPr/>
              <p:nvPr/>
            </p:nvGrpSpPr>
            <p:grpSpPr>
              <a:xfrm>
                <a:off x="6275700" y="5531114"/>
                <a:ext cx="2852827" cy="1193813"/>
                <a:chOff x="6297958" y="5276483"/>
                <a:chExt cx="2852827" cy="1193813"/>
              </a:xfrm>
            </p:grpSpPr>
            <p:sp>
              <p:nvSpPr>
                <p:cNvPr id="87" name="직사각형 86">
                  <a:extLst>
                    <a:ext uri="{FF2B5EF4-FFF2-40B4-BE49-F238E27FC236}">
                      <a16:creationId xmlns:a16="http://schemas.microsoft.com/office/drawing/2014/main" id="{6C26E342-43B9-4F72-BCDD-3E9FC6841BCB}"/>
                    </a:ext>
                  </a:extLst>
                </p:cNvPr>
                <p:cNvSpPr/>
                <p:nvPr/>
              </p:nvSpPr>
              <p:spPr>
                <a:xfrm>
                  <a:off x="6342474" y="5276483"/>
                  <a:ext cx="2808311" cy="1193812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rgbClr val="C046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endParaRPr lang="en-US" altLang="ko-KR" sz="3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algn="ctr"/>
                  <a:r>
                    <a:rPr lang="en-US" altLang="ko-KR" sz="12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</a:t>
                  </a:r>
                  <a:endParaRPr lang="en-US" altLang="ko-KR" sz="1200" dirty="0"/>
                </a:p>
                <a:p>
                  <a:pPr algn="ctr"/>
                  <a:r>
                    <a:rPr lang="en-US" altLang="ko-KR" dirty="0"/>
                    <a:t> </a:t>
                  </a:r>
                </a:p>
              </p:txBody>
            </p:sp>
            <p:grpSp>
              <p:nvGrpSpPr>
                <p:cNvPr id="76" name="그룹 75">
                  <a:extLst>
                    <a:ext uri="{FF2B5EF4-FFF2-40B4-BE49-F238E27FC236}">
                      <a16:creationId xmlns:a16="http://schemas.microsoft.com/office/drawing/2014/main" id="{5A8679C9-2C20-4A1B-99B2-00A50BAE06DA}"/>
                    </a:ext>
                  </a:extLst>
                </p:cNvPr>
                <p:cNvGrpSpPr/>
                <p:nvPr/>
              </p:nvGrpSpPr>
              <p:grpSpPr>
                <a:xfrm>
                  <a:off x="6297958" y="5504464"/>
                  <a:ext cx="2827253" cy="965832"/>
                  <a:chOff x="9336360" y="5376059"/>
                  <a:chExt cx="2827253" cy="965832"/>
                </a:xfrm>
              </p:grpSpPr>
              <p:grpSp>
                <p:nvGrpSpPr>
                  <p:cNvPr id="77" name="그룹 76">
                    <a:extLst>
                      <a:ext uri="{FF2B5EF4-FFF2-40B4-BE49-F238E27FC236}">
                        <a16:creationId xmlns:a16="http://schemas.microsoft.com/office/drawing/2014/main" id="{2734CA54-F426-407C-987A-6DB467B08603}"/>
                      </a:ext>
                    </a:extLst>
                  </p:cNvPr>
                  <p:cNvGrpSpPr/>
                  <p:nvPr/>
                </p:nvGrpSpPr>
                <p:grpSpPr>
                  <a:xfrm>
                    <a:off x="9336360" y="5376059"/>
                    <a:ext cx="2827253" cy="965832"/>
                    <a:chOff x="4996063" y="4002032"/>
                    <a:chExt cx="2827253" cy="965832"/>
                  </a:xfrm>
                </p:grpSpPr>
                <p:sp>
                  <p:nvSpPr>
                    <p:cNvPr id="80" name="직사각형 79">
                      <a:extLst>
                        <a:ext uri="{FF2B5EF4-FFF2-40B4-BE49-F238E27FC236}">
                          <a16:creationId xmlns:a16="http://schemas.microsoft.com/office/drawing/2014/main" id="{9F514FD9-CA20-4E90-B3B2-EC5746E466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96063" y="4002032"/>
                      <a:ext cx="2808311" cy="96583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/>
                      <a:endParaRPr lang="en-US" altLang="ko-KR" sz="3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altLang="ko-KR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 C  D               I                    P            0 0 0 0 1</a:t>
                      </a:r>
                    </a:p>
                    <a:p>
                      <a:pPr algn="ctr"/>
                      <a:endParaRPr lang="en-US" altLang="ko-KR" sz="1200" dirty="0"/>
                    </a:p>
                    <a:p>
                      <a:pPr algn="ctr"/>
                      <a:r>
                        <a:rPr lang="en-US" altLang="ko-KR" dirty="0"/>
                        <a:t> </a:t>
                      </a:r>
                    </a:p>
                  </p:txBody>
                </p:sp>
                <p:cxnSp>
                  <p:nvCxnSpPr>
                    <p:cNvPr id="81" name="직선 연결선 80">
                      <a:extLst>
                        <a:ext uri="{FF2B5EF4-FFF2-40B4-BE49-F238E27FC236}">
                          <a16:creationId xmlns:a16="http://schemas.microsoft.com/office/drawing/2014/main" id="{8C983773-E7BD-49EA-86D5-83D461C39AD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5154497" y="4292975"/>
                      <a:ext cx="307469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2" name="직사각형 81">
                      <a:extLst>
                        <a:ext uri="{FF2B5EF4-FFF2-40B4-BE49-F238E27FC236}">
                          <a16:creationId xmlns:a16="http://schemas.microsoft.com/office/drawing/2014/main" id="{20FFED8C-434E-4FA2-AA45-2DAAA3C724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45887" y="4319711"/>
                      <a:ext cx="654396" cy="47560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D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M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N</a:t>
                      </a:r>
                    </a:p>
                  </p:txBody>
                </p:sp>
                <p:cxnSp>
                  <p:nvCxnSpPr>
                    <p:cNvPr id="83" name="직선 연결선 82">
                      <a:extLst>
                        <a:ext uri="{FF2B5EF4-FFF2-40B4-BE49-F238E27FC236}">
                          <a16:creationId xmlns:a16="http://schemas.microsoft.com/office/drawing/2014/main" id="{DBA89356-F7C9-47CA-9290-AEF5A022C76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6580239" y="4301769"/>
                      <a:ext cx="216024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4" name="직사각형 83">
                      <a:extLst>
                        <a:ext uri="{FF2B5EF4-FFF2-40B4-BE49-F238E27FC236}">
                          <a16:creationId xmlns:a16="http://schemas.microsoft.com/office/drawing/2014/main" id="{2D3FCB77-AEEB-45E1-BB64-E68EF87541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7604" y="4316161"/>
                      <a:ext cx="580846" cy="46476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P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외부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A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endParaRPr lang="en-US" altLang="ko-KR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p:txBody>
                </p:sp>
                <p:cxnSp>
                  <p:nvCxnSpPr>
                    <p:cNvPr id="85" name="직선 연결선 84">
                      <a:extLst>
                        <a:ext uri="{FF2B5EF4-FFF2-40B4-BE49-F238E27FC236}">
                          <a16:creationId xmlns:a16="http://schemas.microsoft.com/office/drawing/2014/main" id="{B0124A2D-DCC8-4D9F-8905-23F8A4953DF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7134196" y="4301769"/>
                      <a:ext cx="670178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6" name="직사각형 85">
                      <a:extLst>
                        <a:ext uri="{FF2B5EF4-FFF2-40B4-BE49-F238E27FC236}">
                          <a16:creationId xmlns:a16="http://schemas.microsoft.com/office/drawing/2014/main" id="{FF6A2EC2-650A-4289-B054-A1F1B5EF78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9520" y="4319711"/>
                      <a:ext cx="693796" cy="43216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련번호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～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9,999</a:t>
                      </a:r>
                    </a:p>
                  </p:txBody>
                </p:sp>
              </p:grpSp>
              <p:sp>
                <p:nvSpPr>
                  <p:cNvPr id="78" name="직사각형 77">
                    <a:extLst>
                      <a:ext uri="{FF2B5EF4-FFF2-40B4-BE49-F238E27FC236}">
                        <a16:creationId xmlns:a16="http://schemas.microsoft.com/office/drawing/2014/main" id="{6D8E09F5-E284-4702-BE26-0F7E536618D2}"/>
                      </a:ext>
                    </a:extLst>
                  </p:cNvPr>
                  <p:cNvSpPr/>
                  <p:nvPr/>
                </p:nvSpPr>
                <p:spPr>
                  <a:xfrm>
                    <a:off x="9910640" y="5690188"/>
                    <a:ext cx="1034721" cy="46476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 err="1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컨텐츠업로드</a:t>
                    </a: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I</a:t>
                    </a:r>
                  </a:p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아웃링크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O</a:t>
                    </a:r>
                  </a:p>
                </p:txBody>
              </p:sp>
              <p:cxnSp>
                <p:nvCxnSpPr>
                  <p:cNvPr id="79" name="직선 연결선 78">
                    <a:extLst>
                      <a:ext uri="{FF2B5EF4-FFF2-40B4-BE49-F238E27FC236}">
                        <a16:creationId xmlns:a16="http://schemas.microsoft.com/office/drawing/2014/main" id="{A5FAD771-1B5E-40D1-8AEE-456F9F78F35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00456" y="5667002"/>
                    <a:ext cx="225509" cy="0"/>
                  </a:xfrm>
                  <a:prstGeom prst="line">
                    <a:avLst/>
                  </a:prstGeom>
                  <a:ln w="12700">
                    <a:noFill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5" name="직선 연결선 4">
                <a:extLst>
                  <a:ext uri="{FF2B5EF4-FFF2-40B4-BE49-F238E27FC236}">
                    <a16:creationId xmlns:a16="http://schemas.microsoft.com/office/drawing/2014/main" id="{BBC45121-52CA-40E9-862A-7DD69CF692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34134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직선 연결선 89">
                <a:extLst>
                  <a:ext uri="{FF2B5EF4-FFF2-40B4-BE49-F238E27FC236}">
                    <a16:creationId xmlns:a16="http://schemas.microsoft.com/office/drawing/2014/main" id="{F6EF204D-B5A1-448F-9143-BC79378180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8936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직선 연결선 90">
                <a:extLst>
                  <a:ext uri="{FF2B5EF4-FFF2-40B4-BE49-F238E27FC236}">
                    <a16:creationId xmlns:a16="http://schemas.microsoft.com/office/drawing/2014/main" id="{E8EFEB8F-D9FD-4322-9DBA-B79D097CF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39912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직선 연결선 91">
                <a:extLst>
                  <a:ext uri="{FF2B5EF4-FFF2-40B4-BE49-F238E27FC236}">
                    <a16:creationId xmlns:a16="http://schemas.microsoft.com/office/drawing/2014/main" id="{C562B512-999D-4F11-BC4C-AE60ECD111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09157" y="6045865"/>
                <a:ext cx="57767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AEC15439-B9F6-443B-BFD9-C5F17329ECCD}"/>
                </a:ext>
              </a:extLst>
            </p:cNvPr>
            <p:cNvSpPr/>
            <p:nvPr/>
          </p:nvSpPr>
          <p:spPr>
            <a:xfrm>
              <a:off x="6278887" y="5502126"/>
              <a:ext cx="1547689" cy="17608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텐츠 번호 생성 규칙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7098882A-6F05-4B56-92C8-4D87DD0E9EEC}"/>
              </a:ext>
            </a:extLst>
          </p:cNvPr>
          <p:cNvSpPr/>
          <p:nvPr/>
        </p:nvSpPr>
        <p:spPr>
          <a:xfrm>
            <a:off x="8966920" y="-2634"/>
            <a:ext cx="3218221" cy="7929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3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입력모듈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배치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오류 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aphicFrame>
        <p:nvGraphicFramePr>
          <p:cNvPr id="94" name="표 93">
            <a:extLst>
              <a:ext uri="{FF2B5EF4-FFF2-40B4-BE49-F238E27FC236}">
                <a16:creationId xmlns:a16="http://schemas.microsoft.com/office/drawing/2014/main" id="{5C9546E1-499C-46DD-B6C6-FEC28EB100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153177"/>
              </p:ext>
            </p:extLst>
          </p:nvPr>
        </p:nvGraphicFramePr>
        <p:xfrm>
          <a:off x="443540" y="5440115"/>
          <a:ext cx="8455878" cy="33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935875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456032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3194002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19234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95" name="표 94">
            <a:extLst>
              <a:ext uri="{FF2B5EF4-FFF2-40B4-BE49-F238E27FC236}">
                <a16:creationId xmlns:a16="http://schemas.microsoft.com/office/drawing/2014/main" id="{F1F84095-62A0-4B73-AD8E-A940EF54F2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795870"/>
              </p:ext>
            </p:extLst>
          </p:nvPr>
        </p:nvGraphicFramePr>
        <p:xfrm>
          <a:off x="443540" y="3664450"/>
          <a:ext cx="8455876" cy="16348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9969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1083701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grpSp>
        <p:nvGrpSpPr>
          <p:cNvPr id="96" name="그룹 95">
            <a:extLst>
              <a:ext uri="{FF2B5EF4-FFF2-40B4-BE49-F238E27FC236}">
                <a16:creationId xmlns:a16="http://schemas.microsoft.com/office/drawing/2014/main" id="{5912B2F5-36AB-4069-9CE2-48EA63C16285}"/>
              </a:ext>
            </a:extLst>
          </p:cNvPr>
          <p:cNvGrpSpPr/>
          <p:nvPr/>
        </p:nvGrpSpPr>
        <p:grpSpPr>
          <a:xfrm>
            <a:off x="2286394" y="5498397"/>
            <a:ext cx="292384" cy="234859"/>
            <a:chOff x="2527622" y="5858437"/>
            <a:chExt cx="292384" cy="246968"/>
          </a:xfrm>
        </p:grpSpPr>
        <p:sp>
          <p:nvSpPr>
            <p:cNvPr id="97" name="사각형: 둥근 모서리 96">
              <a:extLst>
                <a:ext uri="{FF2B5EF4-FFF2-40B4-BE49-F238E27FC236}">
                  <a16:creationId xmlns:a16="http://schemas.microsoft.com/office/drawing/2014/main" id="{78E95BDF-544D-4FD0-AE7C-8851B853498D}"/>
                </a:ext>
              </a:extLst>
            </p:cNvPr>
            <p:cNvSpPr/>
            <p:nvPr/>
          </p:nvSpPr>
          <p:spPr>
            <a:xfrm>
              <a:off x="2527622" y="5858437"/>
              <a:ext cx="292384" cy="246968"/>
            </a:xfrm>
            <a:prstGeom prst="roundRect">
              <a:avLst>
                <a:gd name="adj" fmla="val 10496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98" name="그림 97">
              <a:extLst>
                <a:ext uri="{FF2B5EF4-FFF2-40B4-BE49-F238E27FC236}">
                  <a16:creationId xmlns:a16="http://schemas.microsoft.com/office/drawing/2014/main" id="{FEA9CF10-3BAC-4647-A9B2-E2E8462685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561893" y="5875091"/>
              <a:ext cx="228288" cy="218205"/>
            </a:xfrm>
            <a:prstGeom prst="rect">
              <a:avLst/>
            </a:prstGeom>
          </p:spPr>
        </p:pic>
      </p:grp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09C76BAC-64E1-49F4-8793-0AF2488980AC}"/>
              </a:ext>
            </a:extLst>
          </p:cNvPr>
          <p:cNvSpPr/>
          <p:nvPr/>
        </p:nvSpPr>
        <p:spPr>
          <a:xfrm>
            <a:off x="2606209" y="5548770"/>
            <a:ext cx="851694" cy="18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미지업로드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07153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 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원포인트레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257708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5821" y="620253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06" name="표 12">
            <a:extLst>
              <a:ext uri="{FF2B5EF4-FFF2-40B4-BE49-F238E27FC236}">
                <a16:creationId xmlns:a16="http://schemas.microsoft.com/office/drawing/2014/main" id="{FAFA8B38-C9E2-4A9C-A01A-1739907674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953623"/>
              </p:ext>
            </p:extLst>
          </p:nvPr>
        </p:nvGraphicFramePr>
        <p:xfrm>
          <a:off x="479376" y="1535760"/>
          <a:ext cx="8352216" cy="46297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4216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802284649"/>
                    </a:ext>
                  </a:extLst>
                </a:gridCol>
                <a:gridCol w="3888000">
                  <a:extLst>
                    <a:ext uri="{9D8B030D-6E8A-4147-A177-3AD203B41FA5}">
                      <a16:colId xmlns:a16="http://schemas.microsoft.com/office/drawing/2014/main" val="1497932287"/>
                    </a:ext>
                  </a:extLst>
                </a:gridCol>
              </a:tblGrid>
              <a:tr h="24458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레슨 등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903215"/>
                  </a:ext>
                </a:extLst>
              </a:tr>
              <a:tr h="2445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슨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파일 업로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03532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9377881"/>
                  </a:ext>
                </a:extLst>
              </a:tr>
              <a:tr h="11161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9751709"/>
                  </a:ext>
                </a:extLst>
              </a:tr>
              <a:tr h="19442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4433585"/>
                  </a:ext>
                </a:extLst>
              </a:tr>
              <a:tr h="216216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레슨 추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9719664"/>
                  </a:ext>
                </a:extLst>
              </a:tr>
            </a:tbl>
          </a:graphicData>
        </a:graphic>
      </p:graphicFrame>
      <p:graphicFrame>
        <p:nvGraphicFramePr>
          <p:cNvPr id="76" name="표 10">
            <a:extLst>
              <a:ext uri="{FF2B5EF4-FFF2-40B4-BE49-F238E27FC236}">
                <a16:creationId xmlns:a16="http://schemas.microsoft.com/office/drawing/2014/main" id="{10D50F38-E4C4-4C40-9686-2F8488339C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7287263"/>
              </p:ext>
            </p:extLst>
          </p:nvPr>
        </p:nvGraphicFramePr>
        <p:xfrm>
          <a:off x="9275289" y="1398200"/>
          <a:ext cx="2922885" cy="450244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809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슨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유입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540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파일선택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파일 찾기 팝업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파일 업로드하면 영상 분량 자동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3042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설명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v1, Lv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ex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 추가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3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듈이 추가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바꿈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인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70069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리보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레슨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플레이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설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합된 미리보기 화면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2966824"/>
                  </a:ext>
                </a:extLst>
              </a:tr>
              <a:tr h="20935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레슨 추가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7250398"/>
                  </a:ext>
                </a:extLst>
              </a:tr>
            </a:tbl>
          </a:graphicData>
        </a:graphic>
      </p:graphicFrame>
      <p:sp>
        <p:nvSpPr>
          <p:cNvPr id="83" name="직사각형 82">
            <a:extLst>
              <a:ext uri="{FF2B5EF4-FFF2-40B4-BE49-F238E27FC236}">
                <a16:creationId xmlns:a16="http://schemas.microsoft.com/office/drawing/2014/main" id="{AB0E6A1B-6F1C-47C4-A830-2133F701AC5E}"/>
              </a:ext>
            </a:extLst>
          </p:cNvPr>
          <p:cNvSpPr/>
          <p:nvPr/>
        </p:nvSpPr>
        <p:spPr>
          <a:xfrm>
            <a:off x="552328" y="2947417"/>
            <a:ext cx="1697701" cy="35311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2.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탄소국경조정제도 개요</a:t>
            </a:r>
            <a:endParaRPr lang="ko-KR" altLang="en-US" sz="800" b="0" kern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33318340-3565-4AF2-A76A-D49FFA16FE22}"/>
              </a:ext>
            </a:extLst>
          </p:cNvPr>
          <p:cNvSpPr/>
          <p:nvPr/>
        </p:nvSpPr>
        <p:spPr>
          <a:xfrm>
            <a:off x="552330" y="2061522"/>
            <a:ext cx="1697699" cy="35311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1. Opening</a:t>
            </a:r>
            <a:endParaRPr lang="ko-KR" altLang="en-US" sz="800" b="0" kern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395E6787-EEA2-47D9-9568-0F05D172069C}"/>
              </a:ext>
            </a:extLst>
          </p:cNvPr>
          <p:cNvSpPr/>
          <p:nvPr/>
        </p:nvSpPr>
        <p:spPr>
          <a:xfrm>
            <a:off x="2513107" y="2075740"/>
            <a:ext cx="1628165" cy="34956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sz="800" b="0" kern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71F3C164-8885-466C-816C-1156504BCCF3}"/>
              </a:ext>
            </a:extLst>
          </p:cNvPr>
          <p:cNvSpPr/>
          <p:nvPr/>
        </p:nvSpPr>
        <p:spPr>
          <a:xfrm>
            <a:off x="4201260" y="2091089"/>
            <a:ext cx="642450" cy="16621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선택</a:t>
            </a: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1C2B6FB8-7D56-4C72-B1F8-25897D90E15F}"/>
              </a:ext>
            </a:extLst>
          </p:cNvPr>
          <p:cNvSpPr/>
          <p:nvPr/>
        </p:nvSpPr>
        <p:spPr>
          <a:xfrm>
            <a:off x="2509254" y="2958701"/>
            <a:ext cx="1628165" cy="34956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sz="800" b="0" kern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913B6700-CACE-427D-90EE-8C2657BBFAE0}"/>
              </a:ext>
            </a:extLst>
          </p:cNvPr>
          <p:cNvSpPr/>
          <p:nvPr/>
        </p:nvSpPr>
        <p:spPr>
          <a:xfrm>
            <a:off x="4201260" y="2957537"/>
            <a:ext cx="642450" cy="16621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선택</a:t>
            </a: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387F494B-A10D-44F7-8B17-9D05920476E7}"/>
              </a:ext>
            </a:extLst>
          </p:cNvPr>
          <p:cNvSpPr/>
          <p:nvPr/>
        </p:nvSpPr>
        <p:spPr>
          <a:xfrm>
            <a:off x="5593764" y="2107240"/>
            <a:ext cx="3146937" cy="44137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latinLnBrk="1">
              <a:lnSpc>
                <a:spcPct val="120000"/>
              </a:lnSpc>
              <a:defRPr/>
            </a:pP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탄소국경조정제도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Carbon Border Adjustment Mechanism, CBAM)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의 진행경과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대상제품군 및 보고 의무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각국 동향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그리고 국내 기업의 대응 방안에 대해 알아봅니다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</a:p>
        </p:txBody>
      </p:sp>
      <p:grpSp>
        <p:nvGrpSpPr>
          <p:cNvPr id="105" name="그룹 104">
            <a:extLst>
              <a:ext uri="{FF2B5EF4-FFF2-40B4-BE49-F238E27FC236}">
                <a16:creationId xmlns:a16="http://schemas.microsoft.com/office/drawing/2014/main" id="{D5F81C81-E72D-4F2B-93F5-037CB59EAEC6}"/>
              </a:ext>
            </a:extLst>
          </p:cNvPr>
          <p:cNvGrpSpPr/>
          <p:nvPr/>
        </p:nvGrpSpPr>
        <p:grpSpPr>
          <a:xfrm>
            <a:off x="2513107" y="2495057"/>
            <a:ext cx="860019" cy="181050"/>
            <a:chOff x="8027982" y="1823592"/>
            <a:chExt cx="860019" cy="181050"/>
          </a:xfrm>
        </p:grpSpPr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39C88451-D3A4-404C-A66F-7935EF6F2683}"/>
                </a:ext>
              </a:extLst>
            </p:cNvPr>
            <p:cNvSpPr/>
            <p:nvPr/>
          </p:nvSpPr>
          <p:spPr>
            <a:xfrm>
              <a:off x="8027982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HH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69621A73-E01D-4FE2-9EF2-D6416DEE0C34}"/>
                </a:ext>
              </a:extLst>
            </p:cNvPr>
            <p:cNvSpPr/>
            <p:nvPr/>
          </p:nvSpPr>
          <p:spPr>
            <a:xfrm>
              <a:off x="8345371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MM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9" name="직사각형 108">
              <a:extLst>
                <a:ext uri="{FF2B5EF4-FFF2-40B4-BE49-F238E27FC236}">
                  <a16:creationId xmlns:a16="http://schemas.microsoft.com/office/drawing/2014/main" id="{8A3CDF0F-716F-4708-8E7C-C22CD488B75B}"/>
                </a:ext>
              </a:extLst>
            </p:cNvPr>
            <p:cNvSpPr/>
            <p:nvPr/>
          </p:nvSpPr>
          <p:spPr>
            <a:xfrm>
              <a:off x="8662684" y="1831842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S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D59F16A5-CC4F-4112-BBF9-0B1188FEA564}"/>
                </a:ext>
              </a:extLst>
            </p:cNvPr>
            <p:cNvSpPr/>
            <p:nvPr/>
          </p:nvSpPr>
          <p:spPr>
            <a:xfrm>
              <a:off x="8218854" y="1828918"/>
              <a:ext cx="168969" cy="1669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1" name="직사각형 110">
              <a:extLst>
                <a:ext uri="{FF2B5EF4-FFF2-40B4-BE49-F238E27FC236}">
                  <a16:creationId xmlns:a16="http://schemas.microsoft.com/office/drawing/2014/main" id="{CABEBDE0-C3F5-4FEC-9166-47D313A7DA69}"/>
                </a:ext>
              </a:extLst>
            </p:cNvPr>
            <p:cNvSpPr/>
            <p:nvPr/>
          </p:nvSpPr>
          <p:spPr>
            <a:xfrm>
              <a:off x="8532202" y="1823592"/>
              <a:ext cx="168969" cy="16198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112" name="그룹 111">
            <a:extLst>
              <a:ext uri="{FF2B5EF4-FFF2-40B4-BE49-F238E27FC236}">
                <a16:creationId xmlns:a16="http://schemas.microsoft.com/office/drawing/2014/main" id="{E31AF5DD-C034-4319-8A36-29791CBED47B}"/>
              </a:ext>
            </a:extLst>
          </p:cNvPr>
          <p:cNvGrpSpPr/>
          <p:nvPr/>
        </p:nvGrpSpPr>
        <p:grpSpPr>
          <a:xfrm>
            <a:off x="2508300" y="3373679"/>
            <a:ext cx="860019" cy="181050"/>
            <a:chOff x="8027982" y="1823592"/>
            <a:chExt cx="860019" cy="181050"/>
          </a:xfrm>
        </p:grpSpPr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B4944C19-471F-4B0A-AB4F-33127DBB27C1}"/>
                </a:ext>
              </a:extLst>
            </p:cNvPr>
            <p:cNvSpPr/>
            <p:nvPr/>
          </p:nvSpPr>
          <p:spPr>
            <a:xfrm>
              <a:off x="8027982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HH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94D4B422-4E1A-4660-AA89-9801EA1691C8}"/>
                </a:ext>
              </a:extLst>
            </p:cNvPr>
            <p:cNvSpPr/>
            <p:nvPr/>
          </p:nvSpPr>
          <p:spPr>
            <a:xfrm>
              <a:off x="8345371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MM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78D043B4-D103-405C-9CA7-E4822E2AFA03}"/>
                </a:ext>
              </a:extLst>
            </p:cNvPr>
            <p:cNvSpPr/>
            <p:nvPr/>
          </p:nvSpPr>
          <p:spPr>
            <a:xfrm>
              <a:off x="8662684" y="1831842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S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6" name="직사각형 115">
              <a:extLst>
                <a:ext uri="{FF2B5EF4-FFF2-40B4-BE49-F238E27FC236}">
                  <a16:creationId xmlns:a16="http://schemas.microsoft.com/office/drawing/2014/main" id="{4732978F-976E-4582-9BDC-725886225AFC}"/>
                </a:ext>
              </a:extLst>
            </p:cNvPr>
            <p:cNvSpPr/>
            <p:nvPr/>
          </p:nvSpPr>
          <p:spPr>
            <a:xfrm>
              <a:off x="8218854" y="1828918"/>
              <a:ext cx="168969" cy="1669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93447859-B2BE-4954-BB36-E5A256BE2BF2}"/>
                </a:ext>
              </a:extLst>
            </p:cNvPr>
            <p:cNvSpPr/>
            <p:nvPr/>
          </p:nvSpPr>
          <p:spPr>
            <a:xfrm>
              <a:off x="8532202" y="1823592"/>
              <a:ext cx="168969" cy="16198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9F830C94-2270-429E-A2DE-771BC764625A}"/>
              </a:ext>
            </a:extLst>
          </p:cNvPr>
          <p:cNvSpPr/>
          <p:nvPr/>
        </p:nvSpPr>
        <p:spPr>
          <a:xfrm>
            <a:off x="559339" y="4061832"/>
            <a:ext cx="1690690" cy="353112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3.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탄소국경세</a:t>
            </a:r>
            <a:endParaRPr lang="ko-KR" altLang="en-US" sz="800" b="0" kern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312D938A-5BDF-492B-B738-030DCB70E837}"/>
              </a:ext>
            </a:extLst>
          </p:cNvPr>
          <p:cNvSpPr/>
          <p:nvPr/>
        </p:nvSpPr>
        <p:spPr>
          <a:xfrm>
            <a:off x="2509253" y="4066566"/>
            <a:ext cx="1628165" cy="34956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sz="800" b="0" kern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3FE0F42B-0E5F-4703-8C6D-341967F233F3}"/>
              </a:ext>
            </a:extLst>
          </p:cNvPr>
          <p:cNvSpPr/>
          <p:nvPr/>
        </p:nvSpPr>
        <p:spPr>
          <a:xfrm>
            <a:off x="4201260" y="4085679"/>
            <a:ext cx="642450" cy="16621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선택</a:t>
            </a:r>
          </a:p>
        </p:txBody>
      </p:sp>
      <p:grpSp>
        <p:nvGrpSpPr>
          <p:cNvPr id="118" name="그룹 117">
            <a:extLst>
              <a:ext uri="{FF2B5EF4-FFF2-40B4-BE49-F238E27FC236}">
                <a16:creationId xmlns:a16="http://schemas.microsoft.com/office/drawing/2014/main" id="{34BEC63E-2DEA-406E-876E-6D34A6BC3AE1}"/>
              </a:ext>
            </a:extLst>
          </p:cNvPr>
          <p:cNvGrpSpPr/>
          <p:nvPr/>
        </p:nvGrpSpPr>
        <p:grpSpPr>
          <a:xfrm>
            <a:off x="2508300" y="4465811"/>
            <a:ext cx="860019" cy="181050"/>
            <a:chOff x="8027982" y="1823592"/>
            <a:chExt cx="860019" cy="181050"/>
          </a:xfrm>
        </p:grpSpPr>
        <p:sp>
          <p:nvSpPr>
            <p:cNvPr id="119" name="직사각형 118">
              <a:extLst>
                <a:ext uri="{FF2B5EF4-FFF2-40B4-BE49-F238E27FC236}">
                  <a16:creationId xmlns:a16="http://schemas.microsoft.com/office/drawing/2014/main" id="{B3DFDD83-350D-4585-A44C-C274982D524F}"/>
                </a:ext>
              </a:extLst>
            </p:cNvPr>
            <p:cNvSpPr/>
            <p:nvPr/>
          </p:nvSpPr>
          <p:spPr>
            <a:xfrm>
              <a:off x="8027982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HH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0" name="직사각형 119">
              <a:extLst>
                <a:ext uri="{FF2B5EF4-FFF2-40B4-BE49-F238E27FC236}">
                  <a16:creationId xmlns:a16="http://schemas.microsoft.com/office/drawing/2014/main" id="{7B9F15B6-D906-4968-9AE0-8F4947ECE64D}"/>
                </a:ext>
              </a:extLst>
            </p:cNvPr>
            <p:cNvSpPr/>
            <p:nvPr/>
          </p:nvSpPr>
          <p:spPr>
            <a:xfrm>
              <a:off x="8345371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MM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1" name="직사각형 120">
              <a:extLst>
                <a:ext uri="{FF2B5EF4-FFF2-40B4-BE49-F238E27FC236}">
                  <a16:creationId xmlns:a16="http://schemas.microsoft.com/office/drawing/2014/main" id="{33191553-93DB-4115-B4D2-DE88B50B4BFE}"/>
                </a:ext>
              </a:extLst>
            </p:cNvPr>
            <p:cNvSpPr/>
            <p:nvPr/>
          </p:nvSpPr>
          <p:spPr>
            <a:xfrm>
              <a:off x="8662684" y="1831842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S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2" name="직사각형 121">
              <a:extLst>
                <a:ext uri="{FF2B5EF4-FFF2-40B4-BE49-F238E27FC236}">
                  <a16:creationId xmlns:a16="http://schemas.microsoft.com/office/drawing/2014/main" id="{66D996A8-393D-47B2-987F-38B2736C5186}"/>
                </a:ext>
              </a:extLst>
            </p:cNvPr>
            <p:cNvSpPr/>
            <p:nvPr/>
          </p:nvSpPr>
          <p:spPr>
            <a:xfrm>
              <a:off x="8218854" y="1828918"/>
              <a:ext cx="168969" cy="1669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4489DF00-44E8-4ABD-9F23-3C9CF5CB091D}"/>
                </a:ext>
              </a:extLst>
            </p:cNvPr>
            <p:cNvSpPr/>
            <p:nvPr/>
          </p:nvSpPr>
          <p:spPr>
            <a:xfrm>
              <a:off x="8532202" y="1823592"/>
              <a:ext cx="168969" cy="16198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0788D304-0C12-48CB-8C2A-627238B5ED91}"/>
              </a:ext>
            </a:extLst>
          </p:cNvPr>
          <p:cNvSpPr/>
          <p:nvPr/>
        </p:nvSpPr>
        <p:spPr>
          <a:xfrm>
            <a:off x="8123806" y="1561751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리보기</a:t>
            </a:r>
          </a:p>
        </p:txBody>
      </p:sp>
      <p:sp>
        <p:nvSpPr>
          <p:cNvPr id="161" name="사각형: 둥근 모서리 160">
            <a:extLst>
              <a:ext uri="{FF2B5EF4-FFF2-40B4-BE49-F238E27FC236}">
                <a16:creationId xmlns:a16="http://schemas.microsoft.com/office/drawing/2014/main" id="{31B1F07D-1EC7-4BFC-9F6D-746EF831C4DD}"/>
              </a:ext>
            </a:extLst>
          </p:cNvPr>
          <p:cNvSpPr/>
          <p:nvPr/>
        </p:nvSpPr>
        <p:spPr>
          <a:xfrm>
            <a:off x="491767" y="198701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0AEF08DE-C451-4A0A-8480-A7E00CF59D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98941" y="4352065"/>
            <a:ext cx="2270683" cy="1234989"/>
          </a:xfrm>
          <a:prstGeom prst="rect">
            <a:avLst/>
          </a:prstGeom>
        </p:spPr>
      </p:pic>
      <p:sp>
        <p:nvSpPr>
          <p:cNvPr id="162" name="사각형: 둥근 모서리 161">
            <a:extLst>
              <a:ext uri="{FF2B5EF4-FFF2-40B4-BE49-F238E27FC236}">
                <a16:creationId xmlns:a16="http://schemas.microsoft.com/office/drawing/2014/main" id="{2734381C-230C-460F-AB72-808E54223B33}"/>
              </a:ext>
            </a:extLst>
          </p:cNvPr>
          <p:cNvSpPr/>
          <p:nvPr/>
        </p:nvSpPr>
        <p:spPr>
          <a:xfrm>
            <a:off x="4126407" y="204412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4" name="사각형: 둥근 모서리 163">
            <a:extLst>
              <a:ext uri="{FF2B5EF4-FFF2-40B4-BE49-F238E27FC236}">
                <a16:creationId xmlns:a16="http://schemas.microsoft.com/office/drawing/2014/main" id="{8BDAAB5F-32A2-4BCE-943C-91B2DB59AB83}"/>
              </a:ext>
            </a:extLst>
          </p:cNvPr>
          <p:cNvSpPr/>
          <p:nvPr/>
        </p:nvSpPr>
        <p:spPr>
          <a:xfrm>
            <a:off x="8040216" y="153238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5" name="사각형: 둥근 모서리 164">
            <a:extLst>
              <a:ext uri="{FF2B5EF4-FFF2-40B4-BE49-F238E27FC236}">
                <a16:creationId xmlns:a16="http://schemas.microsoft.com/office/drawing/2014/main" id="{F7E3A753-4560-4547-A27F-F1FAB4B43E17}"/>
              </a:ext>
            </a:extLst>
          </p:cNvPr>
          <p:cNvSpPr/>
          <p:nvPr/>
        </p:nvSpPr>
        <p:spPr>
          <a:xfrm>
            <a:off x="4308364" y="587727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1915D0C9-B112-4938-80CB-434C13FE0AC1}"/>
              </a:ext>
            </a:extLst>
          </p:cNvPr>
          <p:cNvSpPr/>
          <p:nvPr/>
        </p:nvSpPr>
        <p:spPr>
          <a:xfrm>
            <a:off x="9307296" y="958984"/>
            <a:ext cx="2862495" cy="41292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>
              <a:lnSpc>
                <a:spcPct val="130000"/>
              </a:lnSpc>
            </a:pP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빨간색 박스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및 아래 기술한 사항 외 기능은 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A: 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</a:t>
            </a:r>
            <a:r>
              <a:rPr lang="en-US" altLang="ko-KR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r>
              <a:rPr lang="ko-KR" altLang="en-US" sz="8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와 동일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4409E662-96D2-4B43-8C5A-573D5B4F7D3B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포인트레슨</a:t>
            </a:r>
          </a:p>
        </p:txBody>
      </p:sp>
      <p:grpSp>
        <p:nvGrpSpPr>
          <p:cNvPr id="99" name="그룹 98">
            <a:extLst>
              <a:ext uri="{FF2B5EF4-FFF2-40B4-BE49-F238E27FC236}">
                <a16:creationId xmlns:a16="http://schemas.microsoft.com/office/drawing/2014/main" id="{B48518CF-ED9F-4ECD-ABEC-A90219BCB7BF}"/>
              </a:ext>
            </a:extLst>
          </p:cNvPr>
          <p:cNvGrpSpPr/>
          <p:nvPr/>
        </p:nvGrpSpPr>
        <p:grpSpPr>
          <a:xfrm>
            <a:off x="3982097" y="6273336"/>
            <a:ext cx="1377078" cy="180000"/>
            <a:chOff x="3931297" y="6465659"/>
            <a:chExt cx="1377078" cy="180000"/>
          </a:xfrm>
        </p:grpSpPr>
        <p:sp>
          <p:nvSpPr>
            <p:cNvPr id="100" name="사각형: 둥근 모서리 99">
              <a:extLst>
                <a:ext uri="{FF2B5EF4-FFF2-40B4-BE49-F238E27FC236}">
                  <a16:creationId xmlns:a16="http://schemas.microsoft.com/office/drawing/2014/main" id="{FE1FFB53-0A26-4C56-97D5-542E3D814570}"/>
                </a:ext>
              </a:extLst>
            </p:cNvPr>
            <p:cNvSpPr/>
            <p:nvPr/>
          </p:nvSpPr>
          <p:spPr>
            <a:xfrm>
              <a:off x="3931297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</a:t>
              </a:r>
            </a:p>
          </p:txBody>
        </p:sp>
        <p:sp>
          <p:nvSpPr>
            <p:cNvPr id="101" name="사각형: 둥근 모서리 100">
              <a:extLst>
                <a:ext uri="{FF2B5EF4-FFF2-40B4-BE49-F238E27FC236}">
                  <a16:creationId xmlns:a16="http://schemas.microsoft.com/office/drawing/2014/main" id="{21D1803D-82A8-4BEB-9924-D2B517C37147}"/>
                </a:ext>
              </a:extLst>
            </p:cNvPr>
            <p:cNvSpPr/>
            <p:nvPr/>
          </p:nvSpPr>
          <p:spPr>
            <a:xfrm>
              <a:off x="4655840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초기화</a:t>
              </a:r>
            </a:p>
          </p:txBody>
        </p:sp>
      </p:grp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860C2ABA-DD7C-4B18-9EA1-480C58EAAED4}"/>
              </a:ext>
            </a:extLst>
          </p:cNvPr>
          <p:cNvSpPr/>
          <p:nvPr/>
        </p:nvSpPr>
        <p:spPr>
          <a:xfrm>
            <a:off x="399025" y="1154051"/>
            <a:ext cx="8518304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등록                      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52BA4396-EA07-4829-9468-64BCE8AE0C28}"/>
              </a:ext>
            </a:extLst>
          </p:cNvPr>
          <p:cNvSpPr/>
          <p:nvPr/>
        </p:nvSpPr>
        <p:spPr>
          <a:xfrm>
            <a:off x="399025" y="1427713"/>
            <a:ext cx="8518304" cy="5115660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E30F7084-0E9D-4AEB-A8B3-8AA6CCFB5090}"/>
              </a:ext>
            </a:extLst>
          </p:cNvPr>
          <p:cNvSpPr/>
          <p:nvPr/>
        </p:nvSpPr>
        <p:spPr>
          <a:xfrm>
            <a:off x="522543" y="-90370"/>
            <a:ext cx="8340538" cy="4619496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7B7B50C2-36AE-1E07-64D7-82D1983548EE}"/>
              </a:ext>
            </a:extLst>
          </p:cNvPr>
          <p:cNvGrpSpPr/>
          <p:nvPr/>
        </p:nvGrpSpPr>
        <p:grpSpPr>
          <a:xfrm>
            <a:off x="5006356" y="2109995"/>
            <a:ext cx="538980" cy="171477"/>
            <a:chOff x="1680255" y="1778318"/>
            <a:chExt cx="538980" cy="171477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9573CB82-9EF6-39BA-BC8A-752D18775D0E}"/>
                </a:ext>
              </a:extLst>
            </p:cNvPr>
            <p:cNvSpPr/>
            <p:nvPr/>
          </p:nvSpPr>
          <p:spPr>
            <a:xfrm>
              <a:off x="1680255" y="1778318"/>
              <a:ext cx="325643" cy="17147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45D623CE-1222-1F14-C1EE-673521369451}"/>
                </a:ext>
              </a:extLst>
            </p:cNvPr>
            <p:cNvSpPr/>
            <p:nvPr/>
          </p:nvSpPr>
          <p:spPr>
            <a:xfrm>
              <a:off x="2003211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CFA1447B-E093-D76B-4ED3-D5915BF58BE9}"/>
              </a:ext>
            </a:extLst>
          </p:cNvPr>
          <p:cNvSpPr/>
          <p:nvPr/>
        </p:nvSpPr>
        <p:spPr>
          <a:xfrm>
            <a:off x="7022582" y="2622107"/>
            <a:ext cx="1728710" cy="149615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 추가 </a:t>
            </a:r>
            <a:endParaRPr lang="en-US" altLang="ko-KR" sz="7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6525D53-1E0B-48D9-2B99-CFEF975696F8}"/>
              </a:ext>
            </a:extLst>
          </p:cNvPr>
          <p:cNvSpPr/>
          <p:nvPr/>
        </p:nvSpPr>
        <p:spPr>
          <a:xfrm>
            <a:off x="5593764" y="2952181"/>
            <a:ext cx="3157528" cy="36084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latinLnBrk="1">
              <a:lnSpc>
                <a:spcPct val="120000"/>
              </a:lnSpc>
              <a:defRPr/>
            </a:pP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탄소국경조정제도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Carbon Border Adjustment Mechanism, CBAM)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란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? </a:t>
            </a: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C1A12B48-E554-5D66-5131-767634D2310A}"/>
              </a:ext>
            </a:extLst>
          </p:cNvPr>
          <p:cNvGrpSpPr/>
          <p:nvPr/>
        </p:nvGrpSpPr>
        <p:grpSpPr>
          <a:xfrm>
            <a:off x="5006356" y="2954935"/>
            <a:ext cx="540955" cy="171477"/>
            <a:chOff x="1680255" y="1778318"/>
            <a:chExt cx="540955" cy="171477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7A4915CC-470B-568E-C51B-FA9A0E4487C9}"/>
                </a:ext>
              </a:extLst>
            </p:cNvPr>
            <p:cNvSpPr/>
            <p:nvPr/>
          </p:nvSpPr>
          <p:spPr>
            <a:xfrm>
              <a:off x="1680255" y="1778318"/>
              <a:ext cx="325643" cy="17147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1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7A5E1E37-B6BA-E583-A8D3-B0A59A194212}"/>
                </a:ext>
              </a:extLst>
            </p:cNvPr>
            <p:cNvSpPr/>
            <p:nvPr/>
          </p:nvSpPr>
          <p:spPr>
            <a:xfrm>
              <a:off x="2005186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C18D5241-B792-EA46-AC1A-75AA8604F65E}"/>
              </a:ext>
            </a:extLst>
          </p:cNvPr>
          <p:cNvSpPr/>
          <p:nvPr/>
        </p:nvSpPr>
        <p:spPr>
          <a:xfrm>
            <a:off x="5593764" y="3359036"/>
            <a:ext cx="3157528" cy="35755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latinLnBrk="1">
              <a:lnSpc>
                <a:spcPct val="120000"/>
              </a:lnSpc>
              <a:defRPr/>
            </a:pP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탄소배출량 감축 규제가 강한 국가에서 상대적으로 규제가 약한 국가로 탄소배출 이전 문제 해결을 위해 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U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에서 도입한 </a:t>
            </a:r>
            <a:r>
              <a:rPr lang="ko-KR" altLang="en-US" sz="75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무역관세입니다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2BF83D0C-49B7-BC42-2CF1-F60EAEBE4C2D}"/>
              </a:ext>
            </a:extLst>
          </p:cNvPr>
          <p:cNvGrpSpPr/>
          <p:nvPr/>
        </p:nvGrpSpPr>
        <p:grpSpPr>
          <a:xfrm>
            <a:off x="5006356" y="3361791"/>
            <a:ext cx="540955" cy="171477"/>
            <a:chOff x="1680255" y="1778318"/>
            <a:chExt cx="540955" cy="171477"/>
          </a:xfrm>
        </p:grpSpPr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FD15188C-C957-E6EC-0E6F-843952E72A75}"/>
                </a:ext>
              </a:extLst>
            </p:cNvPr>
            <p:cNvSpPr/>
            <p:nvPr/>
          </p:nvSpPr>
          <p:spPr>
            <a:xfrm>
              <a:off x="1680255" y="1778318"/>
              <a:ext cx="325643" cy="17147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4206D967-8591-F560-D789-B1E5582E5552}"/>
                </a:ext>
              </a:extLst>
            </p:cNvPr>
            <p:cNvSpPr/>
            <p:nvPr/>
          </p:nvSpPr>
          <p:spPr>
            <a:xfrm>
              <a:off x="2005186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452C2DDC-1C0C-03B6-886D-4E2EC65AC7A1}"/>
              </a:ext>
            </a:extLst>
          </p:cNvPr>
          <p:cNvSpPr/>
          <p:nvPr/>
        </p:nvSpPr>
        <p:spPr>
          <a:xfrm>
            <a:off x="5593764" y="4073681"/>
            <a:ext cx="3157527" cy="39213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latinLnBrk="1">
              <a:lnSpc>
                <a:spcPct val="120000"/>
              </a:lnSpc>
              <a:defRPr/>
            </a:pP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각 국은 탄소중립 선언 후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자국 산업 보호를 위해 </a:t>
            </a:r>
            <a:r>
              <a:rPr lang="ko-KR" altLang="en-US" sz="75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탄소세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탄소배출거래권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또는 탄소국경세를 시행하거나 도입을 고려하고 있습니다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00443B81-6032-54AD-2692-3B66B1CC54F7}"/>
              </a:ext>
            </a:extLst>
          </p:cNvPr>
          <p:cNvSpPr/>
          <p:nvPr/>
        </p:nvSpPr>
        <p:spPr>
          <a:xfrm>
            <a:off x="7023533" y="3777992"/>
            <a:ext cx="1728710" cy="149615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 추가 </a:t>
            </a:r>
            <a:endParaRPr lang="en-US" altLang="ko-KR" sz="7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92F665BE-CB8F-B2FA-3177-559A482B6BAA}"/>
              </a:ext>
            </a:extLst>
          </p:cNvPr>
          <p:cNvGrpSpPr/>
          <p:nvPr/>
        </p:nvGrpSpPr>
        <p:grpSpPr>
          <a:xfrm>
            <a:off x="5006355" y="4077707"/>
            <a:ext cx="540955" cy="171477"/>
            <a:chOff x="1680255" y="1778318"/>
            <a:chExt cx="540955" cy="171477"/>
          </a:xfrm>
        </p:grpSpPr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0DDA8F29-221B-8785-C1C8-82ED41B1425A}"/>
                </a:ext>
              </a:extLst>
            </p:cNvPr>
            <p:cNvSpPr/>
            <p:nvPr/>
          </p:nvSpPr>
          <p:spPr>
            <a:xfrm>
              <a:off x="1680255" y="1778318"/>
              <a:ext cx="325643" cy="17147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1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8924F21D-1DA1-A14F-30BF-8C79F1C2739C}"/>
                </a:ext>
              </a:extLst>
            </p:cNvPr>
            <p:cNvSpPr/>
            <p:nvPr/>
          </p:nvSpPr>
          <p:spPr>
            <a:xfrm>
              <a:off x="2005186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65C37EE8-8F96-C94C-CD1D-54AD4C9319E9}"/>
              </a:ext>
            </a:extLst>
          </p:cNvPr>
          <p:cNvSpPr/>
          <p:nvPr/>
        </p:nvSpPr>
        <p:spPr>
          <a:xfrm>
            <a:off x="5595669" y="4537359"/>
            <a:ext cx="3157527" cy="45989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latinLnBrk="1">
              <a:lnSpc>
                <a:spcPct val="120000"/>
              </a:lnSpc>
              <a:defRPr/>
            </a:pP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U 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탄소국경세 진행 경과 및 주요 내용</a:t>
            </a:r>
          </a:p>
          <a:p>
            <a:pPr defTabSz="914400" latinLnBrk="1">
              <a:lnSpc>
                <a:spcPct val="120000"/>
              </a:lnSpc>
              <a:defRPr/>
            </a:pP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3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 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0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월부터 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U 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탄소국경조정제도는 시범 도입될 예정이며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2026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 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월부터 본격적으로 시행될 예정입니다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</a:p>
        </p:txBody>
      </p: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053ED31A-0762-D144-31D0-18EF1D5E82F8}"/>
              </a:ext>
            </a:extLst>
          </p:cNvPr>
          <p:cNvGrpSpPr/>
          <p:nvPr/>
        </p:nvGrpSpPr>
        <p:grpSpPr>
          <a:xfrm>
            <a:off x="5008260" y="4541386"/>
            <a:ext cx="540955" cy="171477"/>
            <a:chOff x="1680255" y="1778318"/>
            <a:chExt cx="540955" cy="171477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D0CB22AD-9F68-BCA2-BB8E-12FDB3CDC659}"/>
                </a:ext>
              </a:extLst>
            </p:cNvPr>
            <p:cNvSpPr/>
            <p:nvPr/>
          </p:nvSpPr>
          <p:spPr>
            <a:xfrm>
              <a:off x="1680255" y="1778318"/>
              <a:ext cx="325643" cy="17147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68F6B7D3-88C5-6577-141B-EB72E62C975E}"/>
                </a:ext>
              </a:extLst>
            </p:cNvPr>
            <p:cNvSpPr/>
            <p:nvPr/>
          </p:nvSpPr>
          <p:spPr>
            <a:xfrm>
              <a:off x="2005186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7C16CDA0-60ED-4D2D-FE5D-44C0DAFE5BF2}"/>
              </a:ext>
            </a:extLst>
          </p:cNvPr>
          <p:cNvSpPr/>
          <p:nvPr/>
        </p:nvSpPr>
        <p:spPr>
          <a:xfrm>
            <a:off x="5588049" y="5061524"/>
            <a:ext cx="3157527" cy="62299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latinLnBrk="1">
              <a:lnSpc>
                <a:spcPct val="120000"/>
              </a:lnSpc>
              <a:defRPr/>
            </a:pP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주요 국가 동향</a:t>
            </a:r>
          </a:p>
          <a:p>
            <a:pPr defTabSz="914400" latinLnBrk="1">
              <a:lnSpc>
                <a:spcPct val="120000"/>
              </a:lnSpc>
              <a:defRPr/>
            </a:pP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미국은 최근 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CCA(Clean Competition Act, 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청정경쟁법안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을 통과시켜 석유화학제품 등 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2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개 수입품에 대해 탄소 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톤당 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55</a:t>
            </a:r>
            <a:r>
              <a:rPr lang="ko-KR" altLang="en-US" sz="75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달러씩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일괄적으로 관세를 부과하고 있습니다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</a:p>
        </p:txBody>
      </p: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96A671EE-3651-C23B-6A8F-96F785C3E18F}"/>
              </a:ext>
            </a:extLst>
          </p:cNvPr>
          <p:cNvGrpSpPr/>
          <p:nvPr/>
        </p:nvGrpSpPr>
        <p:grpSpPr>
          <a:xfrm>
            <a:off x="5000640" y="5065552"/>
            <a:ext cx="540955" cy="171477"/>
            <a:chOff x="1680255" y="1778318"/>
            <a:chExt cx="540955" cy="171477"/>
          </a:xfrm>
        </p:grpSpPr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129CA013-2CE1-EE9B-33B3-A802547A40C6}"/>
                </a:ext>
              </a:extLst>
            </p:cNvPr>
            <p:cNvSpPr/>
            <p:nvPr/>
          </p:nvSpPr>
          <p:spPr>
            <a:xfrm>
              <a:off x="1680255" y="1778318"/>
              <a:ext cx="325643" cy="17147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480925E6-7E39-EB64-51BA-55213BE317EF}"/>
                </a:ext>
              </a:extLst>
            </p:cNvPr>
            <p:cNvSpPr/>
            <p:nvPr/>
          </p:nvSpPr>
          <p:spPr>
            <a:xfrm>
              <a:off x="2005186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06A05940-FE7F-D841-E0E1-6741303447DB}"/>
              </a:ext>
            </a:extLst>
          </p:cNvPr>
          <p:cNvSpPr/>
          <p:nvPr/>
        </p:nvSpPr>
        <p:spPr>
          <a:xfrm>
            <a:off x="7024484" y="5733256"/>
            <a:ext cx="1728710" cy="149615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 추가 </a:t>
            </a:r>
            <a:endParaRPr lang="en-US" altLang="ko-KR" sz="7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A7E0EB24-9467-4825-9B34-F5D7C0E2BA70}"/>
              </a:ext>
            </a:extLst>
          </p:cNvPr>
          <p:cNvGrpSpPr/>
          <p:nvPr/>
        </p:nvGrpSpPr>
        <p:grpSpPr>
          <a:xfrm>
            <a:off x="6228655" y="5331531"/>
            <a:ext cx="2852827" cy="1193813"/>
            <a:chOff x="6176162" y="5445224"/>
            <a:chExt cx="2852827" cy="1193813"/>
          </a:xfrm>
        </p:grpSpPr>
        <p:grpSp>
          <p:nvGrpSpPr>
            <p:cNvPr id="139" name="그룹 138">
              <a:extLst>
                <a:ext uri="{FF2B5EF4-FFF2-40B4-BE49-F238E27FC236}">
                  <a16:creationId xmlns:a16="http://schemas.microsoft.com/office/drawing/2014/main" id="{E840CAEB-B966-4E5C-8CD0-0788AE01E09D}"/>
                </a:ext>
              </a:extLst>
            </p:cNvPr>
            <p:cNvGrpSpPr/>
            <p:nvPr/>
          </p:nvGrpSpPr>
          <p:grpSpPr>
            <a:xfrm>
              <a:off x="6176162" y="5445224"/>
              <a:ext cx="2852827" cy="1193813"/>
              <a:chOff x="6275700" y="5531114"/>
              <a:chExt cx="2852827" cy="1193813"/>
            </a:xfrm>
          </p:grpSpPr>
          <p:grpSp>
            <p:nvGrpSpPr>
              <p:cNvPr id="142" name="그룹 141">
                <a:extLst>
                  <a:ext uri="{FF2B5EF4-FFF2-40B4-BE49-F238E27FC236}">
                    <a16:creationId xmlns:a16="http://schemas.microsoft.com/office/drawing/2014/main" id="{AABCD145-FABC-4F53-9B4C-49B61C5523DE}"/>
                  </a:ext>
                </a:extLst>
              </p:cNvPr>
              <p:cNvGrpSpPr/>
              <p:nvPr/>
            </p:nvGrpSpPr>
            <p:grpSpPr>
              <a:xfrm>
                <a:off x="6275700" y="5531114"/>
                <a:ext cx="2852827" cy="1193813"/>
                <a:chOff x="6297958" y="5276483"/>
                <a:chExt cx="2852827" cy="1193813"/>
              </a:xfrm>
            </p:grpSpPr>
            <p:sp>
              <p:nvSpPr>
                <p:cNvPr id="147" name="직사각형 146">
                  <a:extLst>
                    <a:ext uri="{FF2B5EF4-FFF2-40B4-BE49-F238E27FC236}">
                      <a16:creationId xmlns:a16="http://schemas.microsoft.com/office/drawing/2014/main" id="{9B94CDAB-1765-4592-8872-F4F4ACCE6839}"/>
                    </a:ext>
                  </a:extLst>
                </p:cNvPr>
                <p:cNvSpPr/>
                <p:nvPr/>
              </p:nvSpPr>
              <p:spPr>
                <a:xfrm>
                  <a:off x="6342474" y="5276483"/>
                  <a:ext cx="2808311" cy="1193812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rgbClr val="C046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endParaRPr lang="en-US" altLang="ko-KR" sz="3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algn="ctr"/>
                  <a:r>
                    <a:rPr lang="en-US" altLang="ko-KR" sz="12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</a:t>
                  </a:r>
                  <a:endParaRPr lang="en-US" altLang="ko-KR" sz="1200" dirty="0"/>
                </a:p>
                <a:p>
                  <a:pPr algn="ctr"/>
                  <a:r>
                    <a:rPr lang="en-US" altLang="ko-KR" dirty="0"/>
                    <a:t> </a:t>
                  </a:r>
                </a:p>
              </p:txBody>
            </p:sp>
            <p:grpSp>
              <p:nvGrpSpPr>
                <p:cNvPr id="148" name="그룹 147">
                  <a:extLst>
                    <a:ext uri="{FF2B5EF4-FFF2-40B4-BE49-F238E27FC236}">
                      <a16:creationId xmlns:a16="http://schemas.microsoft.com/office/drawing/2014/main" id="{89E609CB-0F82-4D22-ADC4-411B43A14D31}"/>
                    </a:ext>
                  </a:extLst>
                </p:cNvPr>
                <p:cNvGrpSpPr/>
                <p:nvPr/>
              </p:nvGrpSpPr>
              <p:grpSpPr>
                <a:xfrm>
                  <a:off x="6297958" y="5504464"/>
                  <a:ext cx="2827253" cy="965832"/>
                  <a:chOff x="9336360" y="5376059"/>
                  <a:chExt cx="2827253" cy="965832"/>
                </a:xfrm>
              </p:grpSpPr>
              <p:grpSp>
                <p:nvGrpSpPr>
                  <p:cNvPr id="149" name="그룹 148">
                    <a:extLst>
                      <a:ext uri="{FF2B5EF4-FFF2-40B4-BE49-F238E27FC236}">
                        <a16:creationId xmlns:a16="http://schemas.microsoft.com/office/drawing/2014/main" id="{3DE282E6-72B4-41F4-BB8C-618D38A0756F}"/>
                      </a:ext>
                    </a:extLst>
                  </p:cNvPr>
                  <p:cNvGrpSpPr/>
                  <p:nvPr/>
                </p:nvGrpSpPr>
                <p:grpSpPr>
                  <a:xfrm>
                    <a:off x="9336360" y="5376059"/>
                    <a:ext cx="2827253" cy="965832"/>
                    <a:chOff x="4996063" y="4002032"/>
                    <a:chExt cx="2827253" cy="965832"/>
                  </a:xfrm>
                </p:grpSpPr>
                <p:sp>
                  <p:nvSpPr>
                    <p:cNvPr id="152" name="직사각형 151">
                      <a:extLst>
                        <a:ext uri="{FF2B5EF4-FFF2-40B4-BE49-F238E27FC236}">
                          <a16:creationId xmlns:a16="http://schemas.microsoft.com/office/drawing/2014/main" id="{9AD2793C-5106-4FE5-9E03-6DD12BFF6D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96063" y="4002032"/>
                      <a:ext cx="2808311" cy="96583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/>
                      <a:endParaRPr lang="en-US" altLang="ko-KR" sz="3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n-US" altLang="ko-KR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 C  D               I                    P            0 0 0 0 1</a:t>
                      </a:r>
                    </a:p>
                    <a:p>
                      <a:pPr algn="ctr"/>
                      <a:endParaRPr lang="en-US" altLang="ko-KR" sz="1200" dirty="0"/>
                    </a:p>
                    <a:p>
                      <a:pPr algn="ctr"/>
                      <a:r>
                        <a:rPr lang="en-US" altLang="ko-KR" dirty="0"/>
                        <a:t> </a:t>
                      </a:r>
                    </a:p>
                  </p:txBody>
                </p:sp>
                <p:cxnSp>
                  <p:nvCxnSpPr>
                    <p:cNvPr id="153" name="직선 연결선 152">
                      <a:extLst>
                        <a:ext uri="{FF2B5EF4-FFF2-40B4-BE49-F238E27FC236}">
                          <a16:creationId xmlns:a16="http://schemas.microsoft.com/office/drawing/2014/main" id="{A8A4A82F-6459-4475-A862-3C75943E44A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5154497" y="4292975"/>
                      <a:ext cx="307469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54" name="직사각형 153">
                      <a:extLst>
                        <a:ext uri="{FF2B5EF4-FFF2-40B4-BE49-F238E27FC236}">
                          <a16:creationId xmlns:a16="http://schemas.microsoft.com/office/drawing/2014/main" id="{1EAE6247-8CF0-4286-B95E-EE0A80EF8B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45887" y="4319711"/>
                      <a:ext cx="654396" cy="47560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D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CM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N</a:t>
                      </a:r>
                    </a:p>
                  </p:txBody>
                </p:sp>
                <p:cxnSp>
                  <p:nvCxnSpPr>
                    <p:cNvPr id="155" name="직선 연결선 154">
                      <a:extLst>
                        <a:ext uri="{FF2B5EF4-FFF2-40B4-BE49-F238E27FC236}">
                          <a16:creationId xmlns:a16="http://schemas.microsoft.com/office/drawing/2014/main" id="{CCCDAEB1-5020-44CD-8EFC-303604D9A1C8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6580239" y="4301769"/>
                      <a:ext cx="216024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56" name="직사각형 155">
                      <a:extLst>
                        <a:ext uri="{FF2B5EF4-FFF2-40B4-BE49-F238E27FC236}">
                          <a16:creationId xmlns:a16="http://schemas.microsoft.com/office/drawing/2014/main" id="{E36F9D5E-C2F3-447C-B1BB-782FAB6CD9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7604" y="4316161"/>
                      <a:ext cx="580846" cy="46476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P</a:t>
                      </a:r>
                    </a:p>
                    <a:p>
                      <a:pPr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외부 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A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endParaRPr lang="en-US" altLang="ko-KR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p:txBody>
                </p:sp>
                <p:cxnSp>
                  <p:nvCxnSpPr>
                    <p:cNvPr id="157" name="직선 연결선 156">
                      <a:extLst>
                        <a:ext uri="{FF2B5EF4-FFF2-40B4-BE49-F238E27FC236}">
                          <a16:creationId xmlns:a16="http://schemas.microsoft.com/office/drawing/2014/main" id="{349BBD2D-C6E2-4AF4-9A56-2AAA54FF796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7134196" y="4301769"/>
                      <a:ext cx="670178" cy="0"/>
                    </a:xfrm>
                    <a:prstGeom prst="line">
                      <a:avLst/>
                    </a:prstGeom>
                    <a:ln w="12700">
                      <a:noFill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58" name="직사각형 157">
                      <a:extLst>
                        <a:ext uri="{FF2B5EF4-FFF2-40B4-BE49-F238E27FC236}">
                          <a16:creationId xmlns:a16="http://schemas.microsoft.com/office/drawing/2014/main" id="{24F254EA-77DE-4E7A-A65B-ABBB6B4157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9520" y="4319711"/>
                      <a:ext cx="693796" cy="43216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t"/>
                    <a:lstStyle/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련번호</a:t>
                      </a:r>
                      <a:endPara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defTabSz="914400" latinLnBrk="1">
                        <a:lnSpc>
                          <a:spcPct val="130000"/>
                        </a:lnSpc>
                      </a:pP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</a:t>
                      </a:r>
                      <a:r>
                        <a:rPr lang="ko-KR" altLang="en-US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～</a:t>
                      </a:r>
                      <a:r>
                        <a:rPr lang="en-US" altLang="ko-KR" sz="800" b="1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9,999</a:t>
                      </a:r>
                    </a:p>
                  </p:txBody>
                </p:sp>
              </p:grpSp>
              <p:sp>
                <p:nvSpPr>
                  <p:cNvPr id="150" name="직사각형 149">
                    <a:extLst>
                      <a:ext uri="{FF2B5EF4-FFF2-40B4-BE49-F238E27FC236}">
                        <a16:creationId xmlns:a16="http://schemas.microsoft.com/office/drawing/2014/main" id="{AD0D30FA-F645-4524-A00D-3FC42A8C935B}"/>
                      </a:ext>
                    </a:extLst>
                  </p:cNvPr>
                  <p:cNvSpPr/>
                  <p:nvPr/>
                </p:nvSpPr>
                <p:spPr>
                  <a:xfrm>
                    <a:off x="9910640" y="5690188"/>
                    <a:ext cx="1034721" cy="46476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 err="1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컨텐츠업로드</a:t>
                    </a: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I</a:t>
                    </a:r>
                  </a:p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아웃링크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O</a:t>
                    </a:r>
                  </a:p>
                  <a:p>
                    <a:pPr defTabSz="914400" latinLnBrk="1">
                      <a:lnSpc>
                        <a:spcPct val="130000"/>
                      </a:lnSpc>
                    </a:pPr>
                    <a:r>
                      <a:rPr lang="ko-KR" altLang="en-US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코드입력 </a:t>
                    </a:r>
                    <a:r>
                      <a:rPr lang="en-US" altLang="ko-KR" sz="800" b="1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rPr>
                      <a:t>: Y</a:t>
                    </a:r>
                  </a:p>
                </p:txBody>
              </p:sp>
              <p:cxnSp>
                <p:nvCxnSpPr>
                  <p:cNvPr id="151" name="직선 연결선 150">
                    <a:extLst>
                      <a:ext uri="{FF2B5EF4-FFF2-40B4-BE49-F238E27FC236}">
                        <a16:creationId xmlns:a16="http://schemas.microsoft.com/office/drawing/2014/main" id="{5F1136BD-01A5-4D65-BFE7-C147F1B652B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00456" y="5667002"/>
                    <a:ext cx="225509" cy="0"/>
                  </a:xfrm>
                  <a:prstGeom prst="line">
                    <a:avLst/>
                  </a:prstGeom>
                  <a:ln w="12700">
                    <a:noFill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143" name="직선 연결선 142">
                <a:extLst>
                  <a:ext uri="{FF2B5EF4-FFF2-40B4-BE49-F238E27FC236}">
                    <a16:creationId xmlns:a16="http://schemas.microsoft.com/office/drawing/2014/main" id="{382D2855-1F5F-4F80-8568-6BA0787E8E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34134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직선 연결선 143">
                <a:extLst>
                  <a:ext uri="{FF2B5EF4-FFF2-40B4-BE49-F238E27FC236}">
                    <a16:creationId xmlns:a16="http://schemas.microsoft.com/office/drawing/2014/main" id="{2A08F5DC-1D1B-4443-84AB-F91BDD30D5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8936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직선 연결선 144">
                <a:extLst>
                  <a:ext uri="{FF2B5EF4-FFF2-40B4-BE49-F238E27FC236}">
                    <a16:creationId xmlns:a16="http://schemas.microsoft.com/office/drawing/2014/main" id="{E0A1D35B-331D-4A7C-9877-80DF72AFE2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39912" y="6045865"/>
                <a:ext cx="30746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직선 연결선 145">
                <a:extLst>
                  <a:ext uri="{FF2B5EF4-FFF2-40B4-BE49-F238E27FC236}">
                    <a16:creationId xmlns:a16="http://schemas.microsoft.com/office/drawing/2014/main" id="{2F82BFC6-0AEA-4465-9BF4-AF7BA81742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09157" y="6045865"/>
                <a:ext cx="577679" cy="0"/>
              </a:xfrm>
              <a:prstGeom prst="line">
                <a:avLst/>
              </a:prstGeom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0" name="직사각형 139">
              <a:extLst>
                <a:ext uri="{FF2B5EF4-FFF2-40B4-BE49-F238E27FC236}">
                  <a16:creationId xmlns:a16="http://schemas.microsoft.com/office/drawing/2014/main" id="{C8328973-9731-4CE0-891A-3DA2FDDD8369}"/>
                </a:ext>
              </a:extLst>
            </p:cNvPr>
            <p:cNvSpPr/>
            <p:nvPr/>
          </p:nvSpPr>
          <p:spPr>
            <a:xfrm>
              <a:off x="6278887" y="5502126"/>
              <a:ext cx="1547689" cy="17608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컨텐츠 번호 생성 규칙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</p:grp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2DE37851-4CB9-976D-BD83-5D4DA56D68BC}"/>
              </a:ext>
            </a:extLst>
          </p:cNvPr>
          <p:cNvSpPr/>
          <p:nvPr/>
        </p:nvSpPr>
        <p:spPr>
          <a:xfrm>
            <a:off x="5008258" y="2110633"/>
            <a:ext cx="3744000" cy="4529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3" name="사각형: 둥근 모서리 162">
            <a:extLst>
              <a:ext uri="{FF2B5EF4-FFF2-40B4-BE49-F238E27FC236}">
                <a16:creationId xmlns:a16="http://schemas.microsoft.com/office/drawing/2014/main" id="{E04B69F3-9410-46DE-8F80-DF7453093482}"/>
              </a:ext>
            </a:extLst>
          </p:cNvPr>
          <p:cNvSpPr/>
          <p:nvPr/>
        </p:nvSpPr>
        <p:spPr>
          <a:xfrm>
            <a:off x="4943872" y="205017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45" name="그림 44">
            <a:extLst>
              <a:ext uri="{FF2B5EF4-FFF2-40B4-BE49-F238E27FC236}">
                <a16:creationId xmlns:a16="http://schemas.microsoft.com/office/drawing/2014/main" id="{E82033D3-52A5-B4A1-F0F8-858AC66517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1572" y="2913694"/>
            <a:ext cx="2385423" cy="947354"/>
          </a:xfrm>
          <a:prstGeom prst="rect">
            <a:avLst/>
          </a:prstGeom>
        </p:spPr>
      </p:pic>
      <p:sp>
        <p:nvSpPr>
          <p:cNvPr id="47" name="직사각형 46">
            <a:extLst>
              <a:ext uri="{FF2B5EF4-FFF2-40B4-BE49-F238E27FC236}">
                <a16:creationId xmlns:a16="http://schemas.microsoft.com/office/drawing/2014/main" id="{845EAB8B-35B2-4CE4-3766-9F7C6DC1566D}"/>
              </a:ext>
            </a:extLst>
          </p:cNvPr>
          <p:cNvSpPr/>
          <p:nvPr/>
        </p:nvSpPr>
        <p:spPr>
          <a:xfrm>
            <a:off x="9808882" y="2983474"/>
            <a:ext cx="382050" cy="125992"/>
          </a:xfrm>
          <a:prstGeom prst="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55707663-EF45-DD4B-0DF5-7FE8316727A3}"/>
              </a:ext>
            </a:extLst>
          </p:cNvPr>
          <p:cNvSpPr/>
          <p:nvPr/>
        </p:nvSpPr>
        <p:spPr>
          <a:xfrm>
            <a:off x="9864232" y="3167340"/>
            <a:ext cx="343405" cy="89763"/>
          </a:xfrm>
          <a:prstGeom prst="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AE3A0362-BAFD-31CF-5527-691C78C4C45E}"/>
              </a:ext>
            </a:extLst>
          </p:cNvPr>
          <p:cNvSpPr/>
          <p:nvPr/>
        </p:nvSpPr>
        <p:spPr>
          <a:xfrm>
            <a:off x="9911851" y="3279647"/>
            <a:ext cx="1727821" cy="231102"/>
          </a:xfrm>
          <a:prstGeom prst="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00C46685-B121-032E-56A7-43294F500F39}"/>
              </a:ext>
            </a:extLst>
          </p:cNvPr>
          <p:cNvSpPr/>
          <p:nvPr/>
        </p:nvSpPr>
        <p:spPr>
          <a:xfrm>
            <a:off x="10123114" y="3010925"/>
            <a:ext cx="516999" cy="61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dirty="0" err="1">
                <a:solidFill>
                  <a:srgbClr val="C00000"/>
                </a:solidFill>
              </a:rPr>
              <a:t>레슨명</a:t>
            </a:r>
            <a:endParaRPr lang="ko-KR" altLang="en-US" sz="800" dirty="0">
              <a:solidFill>
                <a:srgbClr val="C00000"/>
              </a:solidFill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4031880D-5555-EDAF-5D6C-2F990D15BF66}"/>
              </a:ext>
            </a:extLst>
          </p:cNvPr>
          <p:cNvSpPr/>
          <p:nvPr/>
        </p:nvSpPr>
        <p:spPr>
          <a:xfrm>
            <a:off x="10161185" y="3167159"/>
            <a:ext cx="516999" cy="61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dirty="0">
                <a:solidFill>
                  <a:srgbClr val="C00000"/>
                </a:solidFill>
              </a:rPr>
              <a:t>Lv1</a:t>
            </a:r>
            <a:endParaRPr lang="ko-KR" altLang="en-US" sz="800" dirty="0">
              <a:solidFill>
                <a:srgbClr val="C00000"/>
              </a:solidFill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520755FC-F9BC-51EB-CD0E-571EAFFA28E1}"/>
              </a:ext>
            </a:extLst>
          </p:cNvPr>
          <p:cNvSpPr/>
          <p:nvPr/>
        </p:nvSpPr>
        <p:spPr>
          <a:xfrm>
            <a:off x="11585275" y="3282603"/>
            <a:ext cx="516999" cy="618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dirty="0">
                <a:solidFill>
                  <a:srgbClr val="C00000"/>
                </a:solidFill>
              </a:rPr>
              <a:t>Lv2</a:t>
            </a:r>
            <a:endParaRPr lang="ko-KR" altLang="en-US" sz="800" dirty="0">
              <a:solidFill>
                <a:srgbClr val="C00000"/>
              </a:solidFill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23FB250C-F190-09F8-57B8-0BFB29058C09}"/>
              </a:ext>
            </a:extLst>
          </p:cNvPr>
          <p:cNvSpPr/>
          <p:nvPr/>
        </p:nvSpPr>
        <p:spPr>
          <a:xfrm>
            <a:off x="8986836" y="0"/>
            <a:ext cx="3218221" cy="457982"/>
          </a:xfrm>
          <a:prstGeom prst="rect">
            <a:avLst/>
          </a:prstGeom>
          <a:solidFill>
            <a:schemeClr val="accent2"/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10.20&gt;</a:t>
            </a: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[3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영상 설명 입력 기능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: Lv1, Lv2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단위 구분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30664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82276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887989"/>
              </p:ext>
            </p:extLst>
          </p:nvPr>
        </p:nvGraphicFramePr>
        <p:xfrm>
          <a:off x="9276759" y="1003963"/>
          <a:ext cx="2922885" cy="2286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403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★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불가항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30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 경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로 변경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25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장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된 내용 저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0072965"/>
                  </a:ext>
                </a:extLst>
              </a:tr>
              <a:tr h="3842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복사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컨텐츠 등록 항목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잏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이 반영된 컨텐츠 등록 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05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번호 외 모든 항목 복사됨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012403"/>
                  </a:ext>
                </a:extLst>
              </a:tr>
              <a:tr h="2947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 닫힘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5515895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 수정 기능은 등록 시 각 항목 등록 기능과 동일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/>
        </p:nvGraphicFramePr>
        <p:xfrm>
          <a:off x="345126" y="1459939"/>
          <a:ext cx="8630652" cy="20758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29954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719818">
                  <a:extLst>
                    <a:ext uri="{9D8B030D-6E8A-4147-A177-3AD203B41FA5}">
                      <a16:colId xmlns:a16="http://schemas.microsoft.com/office/drawing/2014/main" val="3010769140"/>
                    </a:ext>
                  </a:extLst>
                </a:gridCol>
                <a:gridCol w="1295602">
                  <a:extLst>
                    <a:ext uri="{9D8B030D-6E8A-4147-A177-3AD203B41FA5}">
                      <a16:colId xmlns:a16="http://schemas.microsoft.com/office/drawing/2014/main" val="328249262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명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국내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언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1702917"/>
                  </a:ext>
                </a:extLst>
              </a:tr>
              <a:tr h="2409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3200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83089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토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6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5" name="직사각형 84">
            <a:extLst>
              <a:ext uri="{FF2B5EF4-FFF2-40B4-BE49-F238E27FC236}">
                <a16:creationId xmlns:a16="http://schemas.microsoft.com/office/drawing/2014/main" id="{C3E5D00F-CF4B-4C5E-BC5A-8812BEDD9341}"/>
              </a:ext>
            </a:extLst>
          </p:cNvPr>
          <p:cNvSpPr/>
          <p:nvPr/>
        </p:nvSpPr>
        <p:spPr>
          <a:xfrm>
            <a:off x="5740533" y="1499399"/>
            <a:ext cx="155822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73D7B8F0-497D-4292-9F8C-E0111B9E5BF1}"/>
              </a:ext>
            </a:extLst>
          </p:cNvPr>
          <p:cNvGrpSpPr/>
          <p:nvPr/>
        </p:nvGrpSpPr>
        <p:grpSpPr>
          <a:xfrm>
            <a:off x="1279606" y="1490439"/>
            <a:ext cx="2902293" cy="180527"/>
            <a:chOff x="1208287" y="1514945"/>
            <a:chExt cx="2902293" cy="180527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2CB77E35-E495-48AC-933C-78143479AE3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4105991-6501-4168-8BA9-5D85EFD54B0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2F827555-4081-4261-9A9A-2148AC4049B3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01070033-EF9A-4A47-9A9E-D68F061C2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FE848C4E-6177-4ED8-8E14-42C73B29F256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26FC3911-9203-4AAB-9BBC-4B1B8159950D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0DD98797-A83A-434A-AD2E-BE76B395A606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>
                <a:extLst>
                  <a:ext uri="{FF2B5EF4-FFF2-40B4-BE49-F238E27FC236}">
                    <a16:creationId xmlns:a16="http://schemas.microsoft.com/office/drawing/2014/main" id="{CE0F8CC6-8026-4DAE-B6B9-8F986ED1D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0864696-D459-493D-8276-58432E01067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1AEBCD28-21E8-4DCB-9908-E3B3888D7223}"/>
                </a:ext>
              </a:extLst>
            </p:cNvPr>
            <p:cNvSpPr/>
            <p:nvPr/>
          </p:nvSpPr>
          <p:spPr>
            <a:xfrm>
              <a:off x="3266019" y="1539451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64531E9B-E853-4BA8-9C7E-DD96517BE5AB}"/>
                </a:ext>
              </a:extLst>
            </p:cNvPr>
            <p:cNvGrpSpPr/>
            <p:nvPr/>
          </p:nvGrpSpPr>
          <p:grpSpPr>
            <a:xfrm>
              <a:off x="3146780" y="1535796"/>
              <a:ext cx="139353" cy="139353"/>
              <a:chOff x="3468417" y="1522489"/>
              <a:chExt cx="139353" cy="139353"/>
            </a:xfrm>
          </p:grpSpPr>
          <p:sp>
            <p:nvSpPr>
              <p:cNvPr id="27" name="사각형: 둥근 모서리 26">
                <a:extLst>
                  <a:ext uri="{FF2B5EF4-FFF2-40B4-BE49-F238E27FC236}">
                    <a16:creationId xmlns:a16="http://schemas.microsoft.com/office/drawing/2014/main" id="{61CF77A3-2790-4C21-A2D0-8F630BA4D7BC}"/>
                  </a:ext>
                </a:extLst>
              </p:cNvPr>
              <p:cNvSpPr/>
              <p:nvPr/>
            </p:nvSpPr>
            <p:spPr>
              <a:xfrm>
                <a:off x="3468417" y="1522489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29" name="그림 28">
                <a:extLst>
                  <a:ext uri="{FF2B5EF4-FFF2-40B4-BE49-F238E27FC236}">
                    <a16:creationId xmlns:a16="http://schemas.microsoft.com/office/drawing/2014/main" id="{028A3094-E2C4-41A8-9AA0-75EE7D45B7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493980" y="1556351"/>
                <a:ext cx="81910" cy="81910"/>
              </a:xfrm>
              <a:prstGeom prst="rect">
                <a:avLst/>
              </a:prstGeom>
            </p:spPr>
          </p:pic>
        </p:grp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6BC7ADE-7CA8-4D08-BC41-B046D960B4B0}"/>
                </a:ext>
              </a:extLst>
            </p:cNvPr>
            <p:cNvSpPr/>
            <p:nvPr/>
          </p:nvSpPr>
          <p:spPr>
            <a:xfrm>
              <a:off x="1208287" y="1522517"/>
              <a:ext cx="723126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7E22A3D3-8F70-4E7D-995D-32C1C218FF75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3BC5CA5-277D-4189-9026-ABF3CE1116E1}"/>
              </a:ext>
            </a:extLst>
          </p:cNvPr>
          <p:cNvSpPr/>
          <p:nvPr/>
        </p:nvSpPr>
        <p:spPr>
          <a:xfrm>
            <a:off x="1331353" y="1752634"/>
            <a:ext cx="1161087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271AAF07-5108-448C-B231-2D3CCF49DDD9}"/>
              </a:ext>
            </a:extLst>
          </p:cNvPr>
          <p:cNvSpPr/>
          <p:nvPr/>
        </p:nvSpPr>
        <p:spPr>
          <a:xfrm>
            <a:off x="2551283" y="1752634"/>
            <a:ext cx="1534558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D583D71-80BC-44E3-BBBA-468156B8DCEF}"/>
              </a:ext>
            </a:extLst>
          </p:cNvPr>
          <p:cNvGrpSpPr/>
          <p:nvPr/>
        </p:nvGrpSpPr>
        <p:grpSpPr>
          <a:xfrm>
            <a:off x="5740533" y="1745727"/>
            <a:ext cx="2197195" cy="174340"/>
            <a:chOff x="1331353" y="2500672"/>
            <a:chExt cx="2197195" cy="174340"/>
          </a:xfrm>
        </p:grpSpPr>
        <p:grpSp>
          <p:nvGrpSpPr>
            <p:cNvPr id="147" name="그룹 146">
              <a:extLst>
                <a:ext uri="{FF2B5EF4-FFF2-40B4-BE49-F238E27FC236}">
                  <a16:creationId xmlns:a16="http://schemas.microsoft.com/office/drawing/2014/main" id="{F3C9D234-C4EB-4B9F-8BC5-1E6366815967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148" name="직사각형 147">
                <a:extLst>
                  <a:ext uri="{FF2B5EF4-FFF2-40B4-BE49-F238E27FC236}">
                    <a16:creationId xmlns:a16="http://schemas.microsoft.com/office/drawing/2014/main" id="{655AA352-2DA6-431D-AD7F-3223454F19F8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AB1C29A6-4BC2-4430-8B1D-AA43C2E2300F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50" name="그룹 149">
              <a:extLst>
                <a:ext uri="{FF2B5EF4-FFF2-40B4-BE49-F238E27FC236}">
                  <a16:creationId xmlns:a16="http://schemas.microsoft.com/office/drawing/2014/main" id="{7471A3C8-86B5-42D4-834D-CE71FD5DB69B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FEAA70F7-32AC-447F-BAEB-66D8A1BB8B71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8317CF28-A034-4650-93EA-E46363CF0DB8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/>
        </p:nvGraphicFramePr>
        <p:xfrm>
          <a:off x="336268" y="3757182"/>
          <a:ext cx="8650567" cy="16532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7952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61078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794373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45533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708369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649869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469566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722157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830316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649941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721612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</a:tblGrid>
              <a:tr h="298415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01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PE00005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 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페이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E0010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ㆍ녹색성장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본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95" name="그룹 194">
            <a:extLst>
              <a:ext uri="{FF2B5EF4-FFF2-40B4-BE49-F238E27FC236}">
                <a16:creationId xmlns:a16="http://schemas.microsoft.com/office/drawing/2014/main" id="{D2FF3731-BF2B-48FA-A85A-30EEDCB62D51}"/>
              </a:ext>
            </a:extLst>
          </p:cNvPr>
          <p:cNvGrpSpPr/>
          <p:nvPr/>
        </p:nvGrpSpPr>
        <p:grpSpPr>
          <a:xfrm>
            <a:off x="7721704" y="2012797"/>
            <a:ext cx="1065951" cy="172800"/>
            <a:chOff x="1260034" y="1778319"/>
            <a:chExt cx="1065951" cy="172800"/>
          </a:xfrm>
        </p:grpSpPr>
        <p:sp>
          <p:nvSpPr>
            <p:cNvPr id="199" name="직사각형 198">
              <a:extLst>
                <a:ext uri="{FF2B5EF4-FFF2-40B4-BE49-F238E27FC236}">
                  <a16:creationId xmlns:a16="http://schemas.microsoft.com/office/drawing/2014/main" id="{C9EDE0D2-B965-4533-9205-6B2B860E1A71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00" name="직사각형 199">
              <a:extLst>
                <a:ext uri="{FF2B5EF4-FFF2-40B4-BE49-F238E27FC236}">
                  <a16:creationId xmlns:a16="http://schemas.microsoft.com/office/drawing/2014/main" id="{484EBEB5-AE92-423E-82D1-7BEC31B9E660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6FDA2DD1-BABC-494A-BAF4-8B80B9BE78FD}"/>
              </a:ext>
            </a:extLst>
          </p:cNvPr>
          <p:cNvGrpSpPr/>
          <p:nvPr/>
        </p:nvGrpSpPr>
        <p:grpSpPr>
          <a:xfrm>
            <a:off x="1320263" y="2999486"/>
            <a:ext cx="3676989" cy="176294"/>
            <a:chOff x="1334428" y="3000289"/>
            <a:chExt cx="3676989" cy="176294"/>
          </a:xfrm>
        </p:grpSpPr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29405672-7434-45AF-BF2E-91D670F7E03E}"/>
                </a:ext>
              </a:extLst>
            </p:cNvPr>
            <p:cNvSpPr/>
            <p:nvPr/>
          </p:nvSpPr>
          <p:spPr>
            <a:xfrm>
              <a:off x="1334428" y="3003783"/>
              <a:ext cx="346096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grpSp>
          <p:nvGrpSpPr>
            <p:cNvPr id="259" name="그룹 258">
              <a:extLst>
                <a:ext uri="{FF2B5EF4-FFF2-40B4-BE49-F238E27FC236}">
                  <a16:creationId xmlns:a16="http://schemas.microsoft.com/office/drawing/2014/main" id="{BD02B084-ABA8-4A19-9458-9EBFDA5D2560}"/>
                </a:ext>
              </a:extLst>
            </p:cNvPr>
            <p:cNvGrpSpPr/>
            <p:nvPr/>
          </p:nvGrpSpPr>
          <p:grpSpPr>
            <a:xfrm>
              <a:off x="4841945" y="3000289"/>
              <a:ext cx="169472" cy="169472"/>
              <a:chOff x="4841945" y="3000289"/>
              <a:chExt cx="169472" cy="169472"/>
            </a:xfrm>
          </p:grpSpPr>
          <p:sp>
            <p:nvSpPr>
              <p:cNvPr id="234" name="사각형: 둥근 모서리 233">
                <a:extLst>
                  <a:ext uri="{FF2B5EF4-FFF2-40B4-BE49-F238E27FC236}">
                    <a16:creationId xmlns:a16="http://schemas.microsoft.com/office/drawing/2014/main" id="{266CE57E-736D-4302-998F-397D939AEF19}"/>
                  </a:ext>
                </a:extLst>
              </p:cNvPr>
              <p:cNvSpPr/>
              <p:nvPr/>
            </p:nvSpPr>
            <p:spPr>
              <a:xfrm>
                <a:off x="4841945" y="3000289"/>
                <a:ext cx="169472" cy="169472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6" name="그림 235">
                <a:extLst>
                  <a:ext uri="{FF2B5EF4-FFF2-40B4-BE49-F238E27FC236}">
                    <a16:creationId xmlns:a16="http://schemas.microsoft.com/office/drawing/2014/main" id="{CBF49508-31A3-41B9-A7C1-178CE67FCA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57799" y="3008899"/>
                <a:ext cx="144016" cy="144016"/>
              </a:xfrm>
              <a:prstGeom prst="rect">
                <a:avLst/>
              </a:prstGeom>
            </p:spPr>
          </p:pic>
        </p:grpSp>
      </p:grpSp>
      <p:sp>
        <p:nvSpPr>
          <p:cNvPr id="237" name="직사각형 236">
            <a:extLst>
              <a:ext uri="{FF2B5EF4-FFF2-40B4-BE49-F238E27FC236}">
                <a16:creationId xmlns:a16="http://schemas.microsoft.com/office/drawing/2014/main" id="{A2422774-C518-4400-A03E-0B431DC56BB2}"/>
              </a:ext>
            </a:extLst>
          </p:cNvPr>
          <p:cNvSpPr/>
          <p:nvPr/>
        </p:nvSpPr>
        <p:spPr>
          <a:xfrm>
            <a:off x="1331352" y="2005431"/>
            <a:ext cx="159629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E2B63736-1B61-417B-A244-A2169D993191}"/>
              </a:ext>
            </a:extLst>
          </p:cNvPr>
          <p:cNvGrpSpPr/>
          <p:nvPr/>
        </p:nvGrpSpPr>
        <p:grpSpPr>
          <a:xfrm>
            <a:off x="5740533" y="2247017"/>
            <a:ext cx="1065951" cy="172800"/>
            <a:chOff x="1260034" y="1778319"/>
            <a:chExt cx="1065951" cy="172800"/>
          </a:xfrm>
        </p:grpSpPr>
        <p:sp>
          <p:nvSpPr>
            <p:cNvPr id="239" name="직사각형 238">
              <a:extLst>
                <a:ext uri="{FF2B5EF4-FFF2-40B4-BE49-F238E27FC236}">
                  <a16:creationId xmlns:a16="http://schemas.microsoft.com/office/drawing/2014/main" id="{FA4E2223-1DD4-4D4F-8B83-44925D2E5316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0" name="직사각형 239">
              <a:extLst>
                <a:ext uri="{FF2B5EF4-FFF2-40B4-BE49-F238E27FC236}">
                  <a16:creationId xmlns:a16="http://schemas.microsoft.com/office/drawing/2014/main" id="{7257429E-2A65-4FEF-9E79-31FDAAC07625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2CFC1E6E-8F0B-4450-BAF1-84CE7EC64C15}"/>
              </a:ext>
            </a:extLst>
          </p:cNvPr>
          <p:cNvGrpSpPr/>
          <p:nvPr/>
        </p:nvGrpSpPr>
        <p:grpSpPr>
          <a:xfrm>
            <a:off x="7721704" y="2243044"/>
            <a:ext cx="1065951" cy="172800"/>
            <a:chOff x="1260034" y="1778319"/>
            <a:chExt cx="1065951" cy="172800"/>
          </a:xfrm>
        </p:grpSpPr>
        <p:sp>
          <p:nvSpPr>
            <p:cNvPr id="242" name="직사각형 241">
              <a:extLst>
                <a:ext uri="{FF2B5EF4-FFF2-40B4-BE49-F238E27FC236}">
                  <a16:creationId xmlns:a16="http://schemas.microsoft.com/office/drawing/2014/main" id="{7E5A80AB-EA85-49C2-964E-E9E75BCFB6AE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4227F256-3E8D-42EB-9FDA-1674D512A4F2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44" name="표 66">
            <a:extLst>
              <a:ext uri="{FF2B5EF4-FFF2-40B4-BE49-F238E27FC236}">
                <a16:creationId xmlns:a16="http://schemas.microsoft.com/office/drawing/2014/main" id="{5E7F96FF-4465-4360-9046-6A1E4803731A}"/>
              </a:ext>
            </a:extLst>
          </p:cNvPr>
          <p:cNvGraphicFramePr>
            <a:graphicFrameLocks noGrp="1"/>
          </p:cNvGraphicFramePr>
          <p:nvPr/>
        </p:nvGraphicFramePr>
        <p:xfrm>
          <a:off x="841000" y="5530552"/>
          <a:ext cx="8140652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5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257909302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811645">
                  <a:extLst>
                    <a:ext uri="{9D8B030D-6E8A-4147-A177-3AD203B41FA5}">
                      <a16:colId xmlns:a16="http://schemas.microsoft.com/office/drawing/2014/main" val="3370459386"/>
                    </a:ext>
                  </a:extLst>
                </a:gridCol>
                <a:gridCol w="1348595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14256562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30630511"/>
                    </a:ext>
                  </a:extLst>
                </a:gridCol>
                <a:gridCol w="695187">
                  <a:extLst>
                    <a:ext uri="{9D8B030D-6E8A-4147-A177-3AD203B41FA5}">
                      <a16:colId xmlns:a16="http://schemas.microsoft.com/office/drawing/2014/main" val="2911285607"/>
                    </a:ext>
                  </a:extLst>
                </a:gridCol>
                <a:gridCol w="462273">
                  <a:extLst>
                    <a:ext uri="{9D8B030D-6E8A-4147-A177-3AD203B41FA5}">
                      <a16:colId xmlns:a16="http://schemas.microsoft.com/office/drawing/2014/main" val="1371808166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GRI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U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11-25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연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녹색성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245" name="화살표: 오른쪽 244">
            <a:extLst>
              <a:ext uri="{FF2B5EF4-FFF2-40B4-BE49-F238E27FC236}">
                <a16:creationId xmlns:a16="http://schemas.microsoft.com/office/drawing/2014/main" id="{4CBF2E6B-87FD-4AC9-B4FD-0076C6F9614A}"/>
              </a:ext>
            </a:extLst>
          </p:cNvPr>
          <p:cNvSpPr/>
          <p:nvPr/>
        </p:nvSpPr>
        <p:spPr>
          <a:xfrm>
            <a:off x="491484" y="5749067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376372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4108189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4113419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260" name="그룹 259">
            <a:extLst>
              <a:ext uri="{FF2B5EF4-FFF2-40B4-BE49-F238E27FC236}">
                <a16:creationId xmlns:a16="http://schemas.microsoft.com/office/drawing/2014/main" id="{B27B6193-9D81-4543-9504-15BE664E6B59}"/>
              </a:ext>
            </a:extLst>
          </p:cNvPr>
          <p:cNvGrpSpPr/>
          <p:nvPr/>
        </p:nvGrpSpPr>
        <p:grpSpPr>
          <a:xfrm>
            <a:off x="2952232" y="2006831"/>
            <a:ext cx="169472" cy="169472"/>
            <a:chOff x="4841945" y="3000289"/>
            <a:chExt cx="169472" cy="169472"/>
          </a:xfrm>
        </p:grpSpPr>
        <p:sp>
          <p:nvSpPr>
            <p:cNvPr id="261" name="사각형: 둥근 모서리 260">
              <a:extLst>
                <a:ext uri="{FF2B5EF4-FFF2-40B4-BE49-F238E27FC236}">
                  <a16:creationId xmlns:a16="http://schemas.microsoft.com/office/drawing/2014/main" id="{A21F50DD-2919-45C6-954E-E33DC1F7C48B}"/>
                </a:ext>
              </a:extLst>
            </p:cNvPr>
            <p:cNvSpPr/>
            <p:nvPr/>
          </p:nvSpPr>
          <p:spPr>
            <a:xfrm>
              <a:off x="4841945" y="3000289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62" name="그림 261">
              <a:extLst>
                <a:ext uri="{FF2B5EF4-FFF2-40B4-BE49-F238E27FC236}">
                  <a16:creationId xmlns:a16="http://schemas.microsoft.com/office/drawing/2014/main" id="{E19B243E-C650-4BE5-BE9F-2FC72E3FD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57799" y="3008899"/>
              <a:ext cx="144016" cy="144016"/>
            </a:xfrm>
            <a:prstGeom prst="rect">
              <a:avLst/>
            </a:prstGeom>
          </p:spPr>
        </p:pic>
      </p:grpSp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A25D0A63-881B-4E13-8FFD-B401C294364B}"/>
              </a:ext>
            </a:extLst>
          </p:cNvPr>
          <p:cNvGrpSpPr/>
          <p:nvPr/>
        </p:nvGrpSpPr>
        <p:grpSpPr>
          <a:xfrm>
            <a:off x="1325770" y="2245477"/>
            <a:ext cx="2197195" cy="174340"/>
            <a:chOff x="1331353" y="2500672"/>
            <a:chExt cx="2197195" cy="174340"/>
          </a:xfrm>
        </p:grpSpPr>
        <p:grpSp>
          <p:nvGrpSpPr>
            <p:cNvPr id="264" name="그룹 263">
              <a:extLst>
                <a:ext uri="{FF2B5EF4-FFF2-40B4-BE49-F238E27FC236}">
                  <a16:creationId xmlns:a16="http://schemas.microsoft.com/office/drawing/2014/main" id="{C4074594-5306-4BFB-AFCB-C788A7BA59AA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268" name="직사각형 267">
                <a:extLst>
                  <a:ext uri="{FF2B5EF4-FFF2-40B4-BE49-F238E27FC236}">
                    <a16:creationId xmlns:a16="http://schemas.microsoft.com/office/drawing/2014/main" id="{0B445854-7857-4266-8E76-E1BB8D79C420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9" name="직사각형 268">
                <a:extLst>
                  <a:ext uri="{FF2B5EF4-FFF2-40B4-BE49-F238E27FC236}">
                    <a16:creationId xmlns:a16="http://schemas.microsoft.com/office/drawing/2014/main" id="{086DAF83-B2D9-49AE-87C9-F7401679FEDA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265" name="그룹 264">
              <a:extLst>
                <a:ext uri="{FF2B5EF4-FFF2-40B4-BE49-F238E27FC236}">
                  <a16:creationId xmlns:a16="http://schemas.microsoft.com/office/drawing/2014/main" id="{F258107B-C617-455A-8271-DC7E8144FE38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266" name="직사각형 265">
                <a:extLst>
                  <a:ext uri="{FF2B5EF4-FFF2-40B4-BE49-F238E27FC236}">
                    <a16:creationId xmlns:a16="http://schemas.microsoft.com/office/drawing/2014/main" id="{E5104259-D520-4F5B-B718-068A82B5BB1C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7" name="직사각형 266">
                <a:extLst>
                  <a:ext uri="{FF2B5EF4-FFF2-40B4-BE49-F238E27FC236}">
                    <a16:creationId xmlns:a16="http://schemas.microsoft.com/office/drawing/2014/main" id="{46491C19-D344-4AFD-879B-BE5FB1F08ECF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271" name="사각형: 둥근 모서리 270">
            <a:extLst>
              <a:ext uri="{FF2B5EF4-FFF2-40B4-BE49-F238E27FC236}">
                <a16:creationId xmlns:a16="http://schemas.microsoft.com/office/drawing/2014/main" id="{98A9715A-D77F-4BC0-A002-EECE7E330985}"/>
              </a:ext>
            </a:extLst>
          </p:cNvPr>
          <p:cNvSpPr/>
          <p:nvPr/>
        </p:nvSpPr>
        <p:spPr>
          <a:xfrm>
            <a:off x="443824" y="46268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2" name="사각형: 둥근 모서리 271">
            <a:extLst>
              <a:ext uri="{FF2B5EF4-FFF2-40B4-BE49-F238E27FC236}">
                <a16:creationId xmlns:a16="http://schemas.microsoft.com/office/drawing/2014/main" id="{C21EF9C1-0EDA-4694-84B7-376355ED2FF0}"/>
              </a:ext>
            </a:extLst>
          </p:cNvPr>
          <p:cNvSpPr/>
          <p:nvPr/>
        </p:nvSpPr>
        <p:spPr>
          <a:xfrm>
            <a:off x="443824" y="5048569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3" name="사각형: 둥근 모서리 272">
            <a:extLst>
              <a:ext uri="{FF2B5EF4-FFF2-40B4-BE49-F238E27FC236}">
                <a16:creationId xmlns:a16="http://schemas.microsoft.com/office/drawing/2014/main" id="{F1BF2076-BF45-4989-A3B3-9AC3C1AA753C}"/>
              </a:ext>
            </a:extLst>
          </p:cNvPr>
          <p:cNvSpPr/>
          <p:nvPr/>
        </p:nvSpPr>
        <p:spPr>
          <a:xfrm>
            <a:off x="443824" y="48422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B705B3E0-8595-4AB6-BF6A-E598A59A65A7}"/>
              </a:ext>
            </a:extLst>
          </p:cNvPr>
          <p:cNvSpPr/>
          <p:nvPr/>
        </p:nvSpPr>
        <p:spPr>
          <a:xfrm>
            <a:off x="443824" y="526057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5" name="사각형: 둥근 모서리 274">
            <a:extLst>
              <a:ext uri="{FF2B5EF4-FFF2-40B4-BE49-F238E27FC236}">
                <a16:creationId xmlns:a16="http://schemas.microsoft.com/office/drawing/2014/main" id="{81ED1F1B-7A87-48F3-839C-9DC9B3A967AC}"/>
              </a:ext>
            </a:extLst>
          </p:cNvPr>
          <p:cNvSpPr/>
          <p:nvPr/>
        </p:nvSpPr>
        <p:spPr>
          <a:xfrm>
            <a:off x="8232954" y="3822780"/>
            <a:ext cx="671358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태변경</a:t>
            </a:r>
          </a:p>
        </p:txBody>
      </p:sp>
      <p:grpSp>
        <p:nvGrpSpPr>
          <p:cNvPr id="276" name="그룹 275">
            <a:extLst>
              <a:ext uri="{FF2B5EF4-FFF2-40B4-BE49-F238E27FC236}">
                <a16:creationId xmlns:a16="http://schemas.microsoft.com/office/drawing/2014/main" id="{AF3F1031-5831-414E-91D5-AC0D4231195D}"/>
              </a:ext>
            </a:extLst>
          </p:cNvPr>
          <p:cNvGrpSpPr/>
          <p:nvPr/>
        </p:nvGrpSpPr>
        <p:grpSpPr>
          <a:xfrm>
            <a:off x="7477874" y="3818717"/>
            <a:ext cx="696669" cy="172800"/>
            <a:chOff x="1260033" y="1778319"/>
            <a:chExt cx="696669" cy="172800"/>
          </a:xfrm>
        </p:grpSpPr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01EC4F23-92CE-4F5C-AAD1-4F9A2F49675E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비공개</a:t>
              </a:r>
            </a:p>
          </p:txBody>
        </p:sp>
        <p:sp>
          <p:nvSpPr>
            <p:cNvPr id="278" name="직사각형 277">
              <a:extLst>
                <a:ext uri="{FF2B5EF4-FFF2-40B4-BE49-F238E27FC236}">
                  <a16:creationId xmlns:a16="http://schemas.microsoft.com/office/drawing/2014/main" id="{924BC30D-9662-4D5E-A0B5-BB84C023CB0E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6167D580-BED1-4C6A-9F13-6B0C15EECDCF}"/>
              </a:ext>
            </a:extLst>
          </p:cNvPr>
          <p:cNvSpPr/>
          <p:nvPr/>
        </p:nvSpPr>
        <p:spPr>
          <a:xfrm>
            <a:off x="335820" y="613069"/>
            <a:ext cx="8659717" cy="6063912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AA9C9DEA-473C-4E3B-9F41-445ABE86D84A}"/>
              </a:ext>
            </a:extLst>
          </p:cNvPr>
          <p:cNvGrpSpPr/>
          <p:nvPr/>
        </p:nvGrpSpPr>
        <p:grpSpPr>
          <a:xfrm>
            <a:off x="1517359" y="2154868"/>
            <a:ext cx="983380" cy="172800"/>
            <a:chOff x="1260034" y="1778319"/>
            <a:chExt cx="983380" cy="172800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FB11BC6B-F3A0-4A31-93FA-C8838B8BDF14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378C91FA-71B0-4C0F-B3B5-960E3377323A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59DA8D23-56BC-4374-95F9-8977EDF45CD7}"/>
              </a:ext>
            </a:extLst>
          </p:cNvPr>
          <p:cNvSpPr/>
          <p:nvPr/>
        </p:nvSpPr>
        <p:spPr>
          <a:xfrm>
            <a:off x="1503502" y="1619563"/>
            <a:ext cx="457977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ttps://url.kr/vgp92r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2C3F1AA2-101D-46FE-ADBF-C63E8352E80D}"/>
              </a:ext>
            </a:extLst>
          </p:cNvPr>
          <p:cNvSpPr/>
          <p:nvPr/>
        </p:nvSpPr>
        <p:spPr>
          <a:xfrm>
            <a:off x="1513734" y="1880694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6652001C-4C08-4874-B953-760D661C93B3}"/>
              </a:ext>
            </a:extLst>
          </p:cNvPr>
          <p:cNvSpPr/>
          <p:nvPr/>
        </p:nvSpPr>
        <p:spPr>
          <a:xfrm>
            <a:off x="3360557" y="1879704"/>
            <a:ext cx="169472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8" name="그림 97">
            <a:extLst>
              <a:ext uri="{FF2B5EF4-FFF2-40B4-BE49-F238E27FC236}">
                <a16:creationId xmlns:a16="http://schemas.microsoft.com/office/drawing/2014/main" id="{E511A56B-88AF-41A4-97B1-98C77C6F9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76411" y="1888314"/>
            <a:ext cx="144016" cy="144016"/>
          </a:xfrm>
          <a:prstGeom prst="rect">
            <a:avLst/>
          </a:prstGeom>
        </p:spPr>
      </p:pic>
      <p:grpSp>
        <p:nvGrpSpPr>
          <p:cNvPr id="99" name="그룹 98">
            <a:extLst>
              <a:ext uri="{FF2B5EF4-FFF2-40B4-BE49-F238E27FC236}">
                <a16:creationId xmlns:a16="http://schemas.microsoft.com/office/drawing/2014/main" id="{CC06B9F3-8B6E-4431-AAD0-5888EDF47775}"/>
              </a:ext>
            </a:extLst>
          </p:cNvPr>
          <p:cNvGrpSpPr/>
          <p:nvPr/>
        </p:nvGrpSpPr>
        <p:grpSpPr>
          <a:xfrm>
            <a:off x="2557641" y="2152770"/>
            <a:ext cx="1067418" cy="172800"/>
            <a:chOff x="1260034" y="1778319"/>
            <a:chExt cx="1067418" cy="172800"/>
          </a:xfrm>
        </p:grpSpPr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A18AA7BE-8D64-4D94-B0A6-03C86CCA3F5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82EAE134-3561-4DFE-9241-11597801EDC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8D177732-ABB6-4955-BCF1-A1DD0332F462}"/>
              </a:ext>
            </a:extLst>
          </p:cNvPr>
          <p:cNvSpPr/>
          <p:nvPr/>
        </p:nvSpPr>
        <p:spPr>
          <a:xfrm>
            <a:off x="1155954" y="975708"/>
            <a:ext cx="7183959" cy="554962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2453A24F-CC26-4BBD-B74F-DD677F9EDDDE}"/>
              </a:ext>
            </a:extLst>
          </p:cNvPr>
          <p:cNvSpPr/>
          <p:nvPr/>
        </p:nvSpPr>
        <p:spPr>
          <a:xfrm>
            <a:off x="1155954" y="759198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상세 조회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4" name="표 12">
            <a:extLst>
              <a:ext uri="{FF2B5EF4-FFF2-40B4-BE49-F238E27FC236}">
                <a16:creationId xmlns:a16="http://schemas.microsoft.com/office/drawing/2014/main" id="{06E4FAD8-8B7A-4205-9C11-D74B15263D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0396044"/>
              </p:ext>
            </p:extLst>
          </p:nvPr>
        </p:nvGraphicFramePr>
        <p:xfrm>
          <a:off x="1209259" y="1105312"/>
          <a:ext cx="7008463" cy="26035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800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183852">
                  <a:extLst>
                    <a:ext uri="{9D8B030D-6E8A-4147-A177-3AD203B41FA5}">
                      <a16:colId xmlns:a16="http://schemas.microsoft.com/office/drawing/2014/main" val="713958032"/>
                    </a:ext>
                  </a:extLst>
                </a:gridCol>
                <a:gridCol w="887803">
                  <a:extLst>
                    <a:ext uri="{9D8B030D-6E8A-4147-A177-3AD203B41FA5}">
                      <a16:colId xmlns:a16="http://schemas.microsoft.com/office/drawing/2014/main" val="1632271762"/>
                    </a:ext>
                  </a:extLst>
                </a:gridCol>
                <a:gridCol w="130855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574205">
                  <a:extLst>
                    <a:ext uri="{9D8B030D-6E8A-4147-A177-3AD203B41FA5}">
                      <a16:colId xmlns:a16="http://schemas.microsoft.com/office/drawing/2014/main" val="614263173"/>
                    </a:ext>
                  </a:extLst>
                </a:gridCol>
                <a:gridCol w="891845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653217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735474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  <a:gridCol w="678392">
                  <a:extLst>
                    <a:ext uri="{9D8B030D-6E8A-4147-A177-3AD203B41FA5}">
                      <a16:colId xmlns:a16="http://schemas.microsoft.com/office/drawing/2014/main" val="1801343721"/>
                    </a:ext>
                  </a:extLst>
                </a:gridCol>
                <a:gridCol w="392819">
                  <a:extLst>
                    <a:ext uri="{9D8B030D-6E8A-4147-A177-3AD203B41FA5}">
                      <a16:colId xmlns:a16="http://schemas.microsoft.com/office/drawing/2014/main" val="4291524393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둥록방식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DIA0001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235077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로드 파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형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 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6641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 분류 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en-US" altLang="ko-KR" sz="800" dirty="0"/>
                        <a:t>ESG</a:t>
                      </a:r>
                      <a:r>
                        <a:rPr lang="ko-KR" altLang="en-US" sz="800" dirty="0"/>
                        <a:t>일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48766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열람허용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 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 가능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2585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경영보고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SR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3F35BE15-2520-45CC-8D33-6AFCEEFCA209}"/>
              </a:ext>
            </a:extLst>
          </p:cNvPr>
          <p:cNvSpPr/>
          <p:nvPr/>
        </p:nvSpPr>
        <p:spPr>
          <a:xfrm>
            <a:off x="2180658" y="1696780"/>
            <a:ext cx="28165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1_Foundation 2021.pdf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7484738A-0DD4-4571-8216-831883C18413}"/>
              </a:ext>
            </a:extLst>
          </p:cNvPr>
          <p:cNvSpPr/>
          <p:nvPr/>
        </p:nvSpPr>
        <p:spPr>
          <a:xfrm>
            <a:off x="5034564" y="1696335"/>
            <a:ext cx="606037" cy="17844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선택</a:t>
            </a: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AC8ACF09-04F3-417D-B11E-2D3CAA95C435}"/>
              </a:ext>
            </a:extLst>
          </p:cNvPr>
          <p:cNvSpPr/>
          <p:nvPr/>
        </p:nvSpPr>
        <p:spPr>
          <a:xfrm>
            <a:off x="6494227" y="1694510"/>
            <a:ext cx="50310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DF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95A262DE-A193-4E80-BE32-7A338295C14A}"/>
              </a:ext>
            </a:extLst>
          </p:cNvPr>
          <p:cNvSpPr/>
          <p:nvPr/>
        </p:nvSpPr>
        <p:spPr>
          <a:xfrm>
            <a:off x="7885239" y="1696780"/>
            <a:ext cx="262409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C42775B7-06D7-467D-953E-BC23FB502812}"/>
              </a:ext>
            </a:extLst>
          </p:cNvPr>
          <p:cNvSpPr/>
          <p:nvPr/>
        </p:nvSpPr>
        <p:spPr>
          <a:xfrm>
            <a:off x="2177163" y="1424890"/>
            <a:ext cx="347240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1_Foundation 2021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B286242F-04F3-4A95-B808-632EDE63734E}"/>
              </a:ext>
            </a:extLst>
          </p:cNvPr>
          <p:cNvGrpSpPr/>
          <p:nvPr/>
        </p:nvGrpSpPr>
        <p:grpSpPr>
          <a:xfrm>
            <a:off x="2172367" y="2225136"/>
            <a:ext cx="1573996" cy="178503"/>
            <a:chOff x="6534977" y="1948717"/>
            <a:chExt cx="1573996" cy="178503"/>
          </a:xfrm>
        </p:grpSpPr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112F7305-1215-48A4-B037-1E684701A965}"/>
                </a:ext>
              </a:extLst>
            </p:cNvPr>
            <p:cNvGrpSpPr/>
            <p:nvPr/>
          </p:nvGrpSpPr>
          <p:grpSpPr>
            <a:xfrm>
              <a:off x="6534977" y="1954420"/>
              <a:ext cx="589035" cy="172800"/>
              <a:chOff x="1260034" y="1778319"/>
              <a:chExt cx="589035" cy="172800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2D8A0290-317D-4023-AA70-3102C7993AE3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373011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선택</a:t>
                </a: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04744306-8C78-4014-9BD4-FC78D2B2EDBA}"/>
                  </a:ext>
                </a:extLst>
              </p:cNvPr>
              <p:cNvSpPr/>
              <p:nvPr/>
            </p:nvSpPr>
            <p:spPr>
              <a:xfrm>
                <a:off x="1633045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169ED6AB-A268-46F6-97B8-56311D1D15F5}"/>
                </a:ext>
              </a:extLst>
            </p:cNvPr>
            <p:cNvSpPr/>
            <p:nvPr/>
          </p:nvSpPr>
          <p:spPr>
            <a:xfrm>
              <a:off x="7176340" y="1948717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F43185CC-8F18-4268-8EA9-2F83EEA88FE4}"/>
                </a:ext>
              </a:extLst>
            </p:cNvPr>
            <p:cNvSpPr/>
            <p:nvPr/>
          </p:nvSpPr>
          <p:spPr>
            <a:xfrm>
              <a:off x="7578871" y="1948717"/>
              <a:ext cx="247012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09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6" name="직사각형 115">
              <a:extLst>
                <a:ext uri="{FF2B5EF4-FFF2-40B4-BE49-F238E27FC236}">
                  <a16:creationId xmlns:a16="http://schemas.microsoft.com/office/drawing/2014/main" id="{E4B9708C-8C77-4298-95C5-4C349DE0A312}"/>
                </a:ext>
              </a:extLst>
            </p:cNvPr>
            <p:cNvSpPr/>
            <p:nvPr/>
          </p:nvSpPr>
          <p:spPr>
            <a:xfrm>
              <a:off x="7861961" y="1948717"/>
              <a:ext cx="247012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0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D60B3830-207A-47F5-8601-C55711AA7AC6}"/>
              </a:ext>
            </a:extLst>
          </p:cNvPr>
          <p:cNvSpPr/>
          <p:nvPr/>
        </p:nvSpPr>
        <p:spPr>
          <a:xfrm>
            <a:off x="2175577" y="1963742"/>
            <a:ext cx="122385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0" name="그룹 119">
            <a:extLst>
              <a:ext uri="{FF2B5EF4-FFF2-40B4-BE49-F238E27FC236}">
                <a16:creationId xmlns:a16="http://schemas.microsoft.com/office/drawing/2014/main" id="{6DC0992A-B5C6-4F16-A9DC-3FB3D6394528}"/>
              </a:ext>
            </a:extLst>
          </p:cNvPr>
          <p:cNvGrpSpPr/>
          <p:nvPr/>
        </p:nvGrpSpPr>
        <p:grpSpPr>
          <a:xfrm>
            <a:off x="3421975" y="1963203"/>
            <a:ext cx="169472" cy="169472"/>
            <a:chOff x="3180922" y="2352202"/>
            <a:chExt cx="169472" cy="169472"/>
          </a:xfrm>
        </p:grpSpPr>
        <p:sp>
          <p:nvSpPr>
            <p:cNvPr id="121" name="사각형: 둥근 모서리 120">
              <a:extLst>
                <a:ext uri="{FF2B5EF4-FFF2-40B4-BE49-F238E27FC236}">
                  <a16:creationId xmlns:a16="http://schemas.microsoft.com/office/drawing/2014/main" id="{9CA4321F-C82C-4CBB-87A2-9574FA29F18D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22" name="그림 121">
              <a:extLst>
                <a:ext uri="{FF2B5EF4-FFF2-40B4-BE49-F238E27FC236}">
                  <a16:creationId xmlns:a16="http://schemas.microsoft.com/office/drawing/2014/main" id="{E5B1750D-A4CE-4693-ADA3-615B910F82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3453809A-5A54-4C89-9EDE-A49FFB3C5AFF}"/>
              </a:ext>
            </a:extLst>
          </p:cNvPr>
          <p:cNvGrpSpPr/>
          <p:nvPr/>
        </p:nvGrpSpPr>
        <p:grpSpPr>
          <a:xfrm>
            <a:off x="6485874" y="1966665"/>
            <a:ext cx="1065951" cy="172800"/>
            <a:chOff x="1260034" y="1778319"/>
            <a:chExt cx="1065951" cy="172800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90C317B3-BBA0-4172-8651-08E56617FB3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D08DF1B3-6E22-494C-A29E-78EC385732DB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F2590DB0-774A-4A8F-A06D-7ECCF9858635}"/>
              </a:ext>
            </a:extLst>
          </p:cNvPr>
          <p:cNvGrpSpPr/>
          <p:nvPr/>
        </p:nvGrpSpPr>
        <p:grpSpPr>
          <a:xfrm>
            <a:off x="4913711" y="2784633"/>
            <a:ext cx="2690918" cy="387313"/>
            <a:chOff x="4535523" y="2685237"/>
            <a:chExt cx="2690918" cy="387313"/>
          </a:xfrm>
        </p:grpSpPr>
        <p:grpSp>
          <p:nvGrpSpPr>
            <p:cNvPr id="127" name="그룹 126">
              <a:extLst>
                <a:ext uri="{FF2B5EF4-FFF2-40B4-BE49-F238E27FC236}">
                  <a16:creationId xmlns:a16="http://schemas.microsoft.com/office/drawing/2014/main" id="{CF94A234-9326-4275-9324-CD18AD11CE5C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40" name="그룹 139">
                <a:extLst>
                  <a:ext uri="{FF2B5EF4-FFF2-40B4-BE49-F238E27FC236}">
                    <a16:creationId xmlns:a16="http://schemas.microsoft.com/office/drawing/2014/main" id="{E2C4E60B-1A9C-441B-8A71-DF9B580B2D61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46" name="직사각형 145">
                  <a:extLst>
                    <a:ext uri="{FF2B5EF4-FFF2-40B4-BE49-F238E27FC236}">
                      <a16:creationId xmlns:a16="http://schemas.microsoft.com/office/drawing/2014/main" id="{08C317B3-1058-4E84-8EBF-1497C7ECE5C6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53" name="직사각형 152">
                  <a:extLst>
                    <a:ext uri="{FF2B5EF4-FFF2-40B4-BE49-F238E27FC236}">
                      <a16:creationId xmlns:a16="http://schemas.microsoft.com/office/drawing/2014/main" id="{4D9F4B59-EF73-4BDA-B1F6-4B2AFA0C5112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54" name="그림 153">
                  <a:extLst>
                    <a:ext uri="{FF2B5EF4-FFF2-40B4-BE49-F238E27FC236}">
                      <a16:creationId xmlns:a16="http://schemas.microsoft.com/office/drawing/2014/main" id="{1A0892AB-05C0-4493-A59B-70619CEEFD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41" name="직사각형 140">
                <a:extLst>
                  <a:ext uri="{FF2B5EF4-FFF2-40B4-BE49-F238E27FC236}">
                    <a16:creationId xmlns:a16="http://schemas.microsoft.com/office/drawing/2014/main" id="{F2A0A2A4-D5EE-467B-B872-BE2B046ABEBE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42" name="직사각형 141">
                <a:extLst>
                  <a:ext uri="{FF2B5EF4-FFF2-40B4-BE49-F238E27FC236}">
                    <a16:creationId xmlns:a16="http://schemas.microsoft.com/office/drawing/2014/main" id="{319B190E-034B-44CA-AF2E-447EE7A5E03A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908CC37C-E285-454D-BFAC-AA9CDC743E76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53419FE7-13A1-4055-9258-4AAD6239FF2C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FE681D80-2F1F-47E7-993B-973570B48C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8" name="그룹 127">
              <a:extLst>
                <a:ext uri="{FF2B5EF4-FFF2-40B4-BE49-F238E27FC236}">
                  <a16:creationId xmlns:a16="http://schemas.microsoft.com/office/drawing/2014/main" id="{7B6FB4CF-EE55-410F-B75B-E50FB278CDE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32" name="그룹 131">
                <a:extLst>
                  <a:ext uri="{FF2B5EF4-FFF2-40B4-BE49-F238E27FC236}">
                    <a16:creationId xmlns:a16="http://schemas.microsoft.com/office/drawing/2014/main" id="{799F9A00-6712-49E6-9AFD-944FADD206FF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37" name="직사각형 136">
                  <a:extLst>
                    <a:ext uri="{FF2B5EF4-FFF2-40B4-BE49-F238E27FC236}">
                      <a16:creationId xmlns:a16="http://schemas.microsoft.com/office/drawing/2014/main" id="{382B2836-464A-402D-B646-0FC0EE3BC66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38" name="직사각형 137">
                  <a:extLst>
                    <a:ext uri="{FF2B5EF4-FFF2-40B4-BE49-F238E27FC236}">
                      <a16:creationId xmlns:a16="http://schemas.microsoft.com/office/drawing/2014/main" id="{31C8660C-A723-43C7-B531-683C10C405E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39" name="그림 138">
                  <a:extLst>
                    <a:ext uri="{FF2B5EF4-FFF2-40B4-BE49-F238E27FC236}">
                      <a16:creationId xmlns:a16="http://schemas.microsoft.com/office/drawing/2014/main" id="{ED3B4726-8BE0-4F67-8699-9374631AF6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BCE92AD9-DCA4-4613-83EF-581A263F0A3F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A84BD1C8-BC7A-46E1-B0EF-F7287E73868A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48B3CCB7-F183-4318-BC5E-E58ABD6BC92F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6" name="직사각형 135">
                <a:extLst>
                  <a:ext uri="{FF2B5EF4-FFF2-40B4-BE49-F238E27FC236}">
                    <a16:creationId xmlns:a16="http://schemas.microsoft.com/office/drawing/2014/main" id="{3E857AD3-1A21-4F62-999B-28A665C2750B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FE47809C-2B43-48BE-95F5-1AE2C8228552}"/>
                </a:ext>
              </a:extLst>
            </p:cNvPr>
            <p:cNvSpPr/>
            <p:nvPr/>
          </p:nvSpPr>
          <p:spPr>
            <a:xfrm>
              <a:off x="4677166" y="2685237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30" name="사각형: 둥근 모서리 129">
              <a:extLst>
                <a:ext uri="{FF2B5EF4-FFF2-40B4-BE49-F238E27FC236}">
                  <a16:creationId xmlns:a16="http://schemas.microsoft.com/office/drawing/2014/main" id="{CBE7BEA6-4EEF-49E9-8AF6-3E00B19C7AD0}"/>
                </a:ext>
              </a:extLst>
            </p:cNvPr>
            <p:cNvSpPr/>
            <p:nvPr/>
          </p:nvSpPr>
          <p:spPr>
            <a:xfrm>
              <a:off x="4596024" y="2689073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1" name="그림 130">
              <a:extLst>
                <a:ext uri="{FF2B5EF4-FFF2-40B4-BE49-F238E27FC236}">
                  <a16:creationId xmlns:a16="http://schemas.microsoft.com/office/drawing/2014/main" id="{765F1F28-C269-4CCA-90CC-A18D67084F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21587" y="2722935"/>
              <a:ext cx="81910" cy="81910"/>
            </a:xfrm>
            <a:prstGeom prst="rect">
              <a:avLst/>
            </a:prstGeom>
          </p:spPr>
        </p:pic>
      </p:grpSp>
      <p:grpSp>
        <p:nvGrpSpPr>
          <p:cNvPr id="3" name="그룹 2">
            <a:extLst>
              <a:ext uri="{FF2B5EF4-FFF2-40B4-BE49-F238E27FC236}">
                <a16:creationId xmlns:a16="http://schemas.microsoft.com/office/drawing/2014/main" id="{701BE380-96BF-46A0-A48C-FDC69FD70A6E}"/>
              </a:ext>
            </a:extLst>
          </p:cNvPr>
          <p:cNvGrpSpPr/>
          <p:nvPr/>
        </p:nvGrpSpPr>
        <p:grpSpPr>
          <a:xfrm>
            <a:off x="2376359" y="5590523"/>
            <a:ext cx="1343377" cy="574781"/>
            <a:chOff x="1941366" y="5622598"/>
            <a:chExt cx="1343377" cy="574781"/>
          </a:xfrm>
        </p:grpSpPr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E39D813D-E305-49A2-803B-C7F7A246E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01734" y="5632052"/>
              <a:ext cx="1283009" cy="565327"/>
            </a:xfrm>
            <a:prstGeom prst="rect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</p:pic>
        <p:sp>
          <p:nvSpPr>
            <p:cNvPr id="156" name="직사각형 155">
              <a:extLst>
                <a:ext uri="{FF2B5EF4-FFF2-40B4-BE49-F238E27FC236}">
                  <a16:creationId xmlns:a16="http://schemas.microsoft.com/office/drawing/2014/main" id="{B488CEB3-51D8-46F0-B60F-2CBE07E8E8AD}"/>
                </a:ext>
              </a:extLst>
            </p:cNvPr>
            <p:cNvSpPr/>
            <p:nvPr/>
          </p:nvSpPr>
          <p:spPr>
            <a:xfrm>
              <a:off x="1941366" y="5622598"/>
              <a:ext cx="1301582" cy="574781"/>
            </a:xfrm>
            <a:prstGeom prst="rect">
              <a:avLst/>
            </a:prstGeom>
            <a:solidFill>
              <a:srgbClr val="FFFFFF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157" name="그룹 156">
              <a:extLst>
                <a:ext uri="{FF2B5EF4-FFF2-40B4-BE49-F238E27FC236}">
                  <a16:creationId xmlns:a16="http://schemas.microsoft.com/office/drawing/2014/main" id="{C3D80FF5-B96A-456B-88C2-1315E642889D}"/>
                </a:ext>
              </a:extLst>
            </p:cNvPr>
            <p:cNvGrpSpPr/>
            <p:nvPr/>
          </p:nvGrpSpPr>
          <p:grpSpPr>
            <a:xfrm>
              <a:off x="2483678" y="5671970"/>
              <a:ext cx="292384" cy="246968"/>
              <a:chOff x="2527622" y="5858437"/>
              <a:chExt cx="292384" cy="246968"/>
            </a:xfrm>
          </p:grpSpPr>
          <p:sp>
            <p:nvSpPr>
              <p:cNvPr id="158" name="사각형: 둥근 모서리 157">
                <a:extLst>
                  <a:ext uri="{FF2B5EF4-FFF2-40B4-BE49-F238E27FC236}">
                    <a16:creationId xmlns:a16="http://schemas.microsoft.com/office/drawing/2014/main" id="{0E46D434-31E3-48A8-AEC6-8A6066CDEB4D}"/>
                  </a:ext>
                </a:extLst>
              </p:cNvPr>
              <p:cNvSpPr/>
              <p:nvPr/>
            </p:nvSpPr>
            <p:spPr>
              <a:xfrm>
                <a:off x="2527622" y="5858437"/>
                <a:ext cx="292384" cy="246968"/>
              </a:xfrm>
              <a:prstGeom prst="roundRect">
                <a:avLst>
                  <a:gd name="adj" fmla="val 10496"/>
                </a:avLst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159" name="그림 158">
                <a:extLst>
                  <a:ext uri="{FF2B5EF4-FFF2-40B4-BE49-F238E27FC236}">
                    <a16:creationId xmlns:a16="http://schemas.microsoft.com/office/drawing/2014/main" id="{424E9216-2099-474B-BA39-44D5AAD6CB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561893" y="5875091"/>
                <a:ext cx="228288" cy="218205"/>
              </a:xfrm>
              <a:prstGeom prst="rect">
                <a:avLst/>
              </a:prstGeom>
            </p:spPr>
          </p:pic>
        </p:grpSp>
        <p:sp>
          <p:nvSpPr>
            <p:cNvPr id="160" name="직사각형 159">
              <a:extLst>
                <a:ext uri="{FF2B5EF4-FFF2-40B4-BE49-F238E27FC236}">
                  <a16:creationId xmlns:a16="http://schemas.microsoft.com/office/drawing/2014/main" id="{46FA0CAA-CAC1-4138-94DD-8577A17B11A9}"/>
                </a:ext>
              </a:extLst>
            </p:cNvPr>
            <p:cNvSpPr/>
            <p:nvPr/>
          </p:nvSpPr>
          <p:spPr>
            <a:xfrm>
              <a:off x="2135823" y="5935838"/>
              <a:ext cx="988094" cy="18006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표이미지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변경</a:t>
              </a:r>
            </a:p>
          </p:txBody>
        </p:sp>
      </p:grpSp>
      <p:sp>
        <p:nvSpPr>
          <p:cNvPr id="161" name="사각형: 둥근 모서리 160">
            <a:extLst>
              <a:ext uri="{FF2B5EF4-FFF2-40B4-BE49-F238E27FC236}">
                <a16:creationId xmlns:a16="http://schemas.microsoft.com/office/drawing/2014/main" id="{93BA0CEC-E23D-46F1-889C-53F8CABC8BBC}"/>
              </a:ext>
            </a:extLst>
          </p:cNvPr>
          <p:cNvSpPr/>
          <p:nvPr/>
        </p:nvSpPr>
        <p:spPr>
          <a:xfrm>
            <a:off x="3735761" y="6299906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62" name="사각형: 둥근 모서리 161">
            <a:extLst>
              <a:ext uri="{FF2B5EF4-FFF2-40B4-BE49-F238E27FC236}">
                <a16:creationId xmlns:a16="http://schemas.microsoft.com/office/drawing/2014/main" id="{84E0FA3F-961F-47DB-9F85-573F4CA5AD2D}"/>
              </a:ext>
            </a:extLst>
          </p:cNvPr>
          <p:cNvSpPr/>
          <p:nvPr/>
        </p:nvSpPr>
        <p:spPr>
          <a:xfrm>
            <a:off x="5163621" y="6299906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</a:p>
        </p:txBody>
      </p:sp>
      <p:sp>
        <p:nvSpPr>
          <p:cNvPr id="163" name="사각형: 둥근 모서리 162">
            <a:extLst>
              <a:ext uri="{FF2B5EF4-FFF2-40B4-BE49-F238E27FC236}">
                <a16:creationId xmlns:a16="http://schemas.microsoft.com/office/drawing/2014/main" id="{53BA7398-79CC-4989-B046-8A5A3049ED3E}"/>
              </a:ext>
            </a:extLst>
          </p:cNvPr>
          <p:cNvSpPr/>
          <p:nvPr/>
        </p:nvSpPr>
        <p:spPr>
          <a:xfrm>
            <a:off x="4447535" y="6299906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복사</a:t>
            </a: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7BD0306B-4B45-4721-BA3B-179B6B1EEFF8}"/>
              </a:ext>
            </a:extLst>
          </p:cNvPr>
          <p:cNvSpPr/>
          <p:nvPr/>
        </p:nvSpPr>
        <p:spPr>
          <a:xfrm>
            <a:off x="4932071" y="1959875"/>
            <a:ext cx="741302" cy="1728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외</a:t>
            </a:r>
          </a:p>
        </p:txBody>
      </p:sp>
      <p:grpSp>
        <p:nvGrpSpPr>
          <p:cNvPr id="165" name="그룹 164">
            <a:extLst>
              <a:ext uri="{FF2B5EF4-FFF2-40B4-BE49-F238E27FC236}">
                <a16:creationId xmlns:a16="http://schemas.microsoft.com/office/drawing/2014/main" id="{F760E396-3C63-4DA7-B9A4-247137213256}"/>
              </a:ext>
            </a:extLst>
          </p:cNvPr>
          <p:cNvGrpSpPr/>
          <p:nvPr/>
        </p:nvGrpSpPr>
        <p:grpSpPr>
          <a:xfrm>
            <a:off x="6483496" y="1420526"/>
            <a:ext cx="1065951" cy="172800"/>
            <a:chOff x="1260034" y="1778319"/>
            <a:chExt cx="1065951" cy="172800"/>
          </a:xfrm>
        </p:grpSpPr>
        <p:sp>
          <p:nvSpPr>
            <p:cNvPr id="167" name="직사각형 166">
              <a:extLst>
                <a:ext uri="{FF2B5EF4-FFF2-40B4-BE49-F238E27FC236}">
                  <a16:creationId xmlns:a16="http://schemas.microsoft.com/office/drawing/2014/main" id="{B92FC971-0375-4395-8122-2FAFC8F7832D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용중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8" name="직사각형 167">
              <a:extLst>
                <a:ext uri="{FF2B5EF4-FFF2-40B4-BE49-F238E27FC236}">
                  <a16:creationId xmlns:a16="http://schemas.microsoft.com/office/drawing/2014/main" id="{3114A6C9-37E5-4229-9FD1-039CE16EA467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69" name="사각형: 둥근 모서리 168">
            <a:extLst>
              <a:ext uri="{FF2B5EF4-FFF2-40B4-BE49-F238E27FC236}">
                <a16:creationId xmlns:a16="http://schemas.microsoft.com/office/drawing/2014/main" id="{646E46B3-E46E-4EE5-86EB-A0150D66ECF6}"/>
              </a:ext>
            </a:extLst>
          </p:cNvPr>
          <p:cNvSpPr/>
          <p:nvPr/>
        </p:nvSpPr>
        <p:spPr>
          <a:xfrm>
            <a:off x="5702637" y="14002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F567D148-658D-431D-AFA9-B62B5823CE50}"/>
              </a:ext>
            </a:extLst>
          </p:cNvPr>
          <p:cNvSpPr/>
          <p:nvPr/>
        </p:nvSpPr>
        <p:spPr>
          <a:xfrm>
            <a:off x="3692468" y="62379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5" name="사각형: 둥근 모서리 174">
            <a:extLst>
              <a:ext uri="{FF2B5EF4-FFF2-40B4-BE49-F238E27FC236}">
                <a16:creationId xmlns:a16="http://schemas.microsoft.com/office/drawing/2014/main" id="{F2065639-6F5A-4005-B235-C09AFC52A77F}"/>
              </a:ext>
            </a:extLst>
          </p:cNvPr>
          <p:cNvSpPr/>
          <p:nvPr/>
        </p:nvSpPr>
        <p:spPr>
          <a:xfrm>
            <a:off x="4428044" y="62457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6" name="사각형: 둥근 모서리 175">
            <a:extLst>
              <a:ext uri="{FF2B5EF4-FFF2-40B4-BE49-F238E27FC236}">
                <a16:creationId xmlns:a16="http://schemas.microsoft.com/office/drawing/2014/main" id="{9413F58C-2BF1-4571-815B-CFD18FDF38BB}"/>
              </a:ext>
            </a:extLst>
          </p:cNvPr>
          <p:cNvSpPr/>
          <p:nvPr/>
        </p:nvSpPr>
        <p:spPr>
          <a:xfrm>
            <a:off x="5122583" y="62457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1" name="직사각형 170">
            <a:extLst>
              <a:ext uri="{FF2B5EF4-FFF2-40B4-BE49-F238E27FC236}">
                <a16:creationId xmlns:a16="http://schemas.microsoft.com/office/drawing/2014/main" id="{858C2A8F-C014-4640-AD5A-B1B10FBB9921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형</a:t>
            </a:r>
          </a:p>
        </p:txBody>
      </p:sp>
      <p:sp>
        <p:nvSpPr>
          <p:cNvPr id="172" name="직사각형 171">
            <a:extLst>
              <a:ext uri="{FF2B5EF4-FFF2-40B4-BE49-F238E27FC236}">
                <a16:creationId xmlns:a16="http://schemas.microsoft.com/office/drawing/2014/main" id="{86D90857-66EE-4CDF-86E3-AB7FDDDBA843}"/>
              </a:ext>
            </a:extLst>
          </p:cNvPr>
          <p:cNvSpPr/>
          <p:nvPr/>
        </p:nvSpPr>
        <p:spPr>
          <a:xfrm>
            <a:off x="1207860" y="1099144"/>
            <a:ext cx="7025094" cy="814124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70" name="직사각형 169">
            <a:extLst>
              <a:ext uri="{FF2B5EF4-FFF2-40B4-BE49-F238E27FC236}">
                <a16:creationId xmlns:a16="http://schemas.microsoft.com/office/drawing/2014/main" id="{CC5D8FE6-D6CD-4A06-9CE3-B18B0008564E}"/>
              </a:ext>
            </a:extLst>
          </p:cNvPr>
          <p:cNvSpPr/>
          <p:nvPr/>
        </p:nvSpPr>
        <p:spPr>
          <a:xfrm>
            <a:off x="8966920" y="256686"/>
            <a:ext cx="3218221" cy="687264"/>
          </a:xfrm>
          <a:prstGeom prst="rect">
            <a:avLst/>
          </a:prstGeom>
          <a:solidFill>
            <a:srgbClr val="DB536A">
              <a:lumMod val="40000"/>
              <a:lumOff val="60000"/>
            </a:srgb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03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 오류 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  <p:graphicFrame>
        <p:nvGraphicFramePr>
          <p:cNvPr id="164" name="표 163">
            <a:extLst>
              <a:ext uri="{FF2B5EF4-FFF2-40B4-BE49-F238E27FC236}">
                <a16:creationId xmlns:a16="http://schemas.microsoft.com/office/drawing/2014/main" id="{7015B726-D6A9-4826-8611-224155137E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878748"/>
              </p:ext>
            </p:extLst>
          </p:nvPr>
        </p:nvGraphicFramePr>
        <p:xfrm>
          <a:off x="1209259" y="5517232"/>
          <a:ext cx="7008465" cy="6807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1054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433334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206800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2647277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6807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173" name="표 172">
            <a:extLst>
              <a:ext uri="{FF2B5EF4-FFF2-40B4-BE49-F238E27FC236}">
                <a16:creationId xmlns:a16="http://schemas.microsoft.com/office/drawing/2014/main" id="{0075BFDD-33A7-4C27-B862-7800A5F303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822659"/>
              </p:ext>
            </p:extLst>
          </p:nvPr>
        </p:nvGraphicFramePr>
        <p:xfrm>
          <a:off x="1209259" y="3755496"/>
          <a:ext cx="7008461" cy="17150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1054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898201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898201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898201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898201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898201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898201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898201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171C0B84-EA25-4943-B51E-B721E6A5AAC8}"/>
              </a:ext>
            </a:extLst>
          </p:cNvPr>
          <p:cNvSpPr/>
          <p:nvPr/>
        </p:nvSpPr>
        <p:spPr>
          <a:xfrm>
            <a:off x="8960685" y="1029643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39942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8490A13D-E245-4820-A23E-91F0069022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1663663"/>
              </p:ext>
            </p:extLst>
          </p:nvPr>
        </p:nvGraphicFramePr>
        <p:xfrm>
          <a:off x="335360" y="822058"/>
          <a:ext cx="11521280" cy="49538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64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35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63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64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17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날짜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er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1345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7.28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차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2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차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통합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작성 완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0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8927"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66985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3] :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상태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“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완료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”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변경 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고객 이메일로 문의 답변 완료 메시지 자동 발송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666985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답변 완료 처리 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 자동 발송 양식 화면 추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965">
                <a:tc>
                  <a:txBody>
                    <a:bodyPr/>
                    <a:lstStyle/>
                    <a:p>
                      <a:pPr marL="0" marR="0" lvl="0" indent="0" algn="ctr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입력모듈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배치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오류 수정</a:t>
                      </a:r>
                      <a:endParaRPr lang="en-US" altLang="ko-KR" sz="800" b="0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96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7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워딩오류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수정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996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0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28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검색 결과 목록이 길 경우 스크롤 처리 </a:t>
                      </a:r>
                      <a:endParaRPr lang="en-US" altLang="ko-KR" sz="800" b="0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8927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2]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 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“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열람허용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”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값 추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 화면 전체 반영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9]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중 보고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 → 보고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로 </a:t>
                      </a:r>
                      <a:r>
                        <a:rPr lang="ko-KR" altLang="en-US" sz="800" b="0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워딩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수정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 화면 전체 반영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996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1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24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문가 리스트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미지 첨부 기능 추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9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1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별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ermission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능 제거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3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99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2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40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PI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동하여 신규 연구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자료 조회화면 신규 추가</a:t>
                      </a:r>
                      <a:endParaRPr lang="en-US" altLang="ko-KR" sz="800" b="0" kern="120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4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9313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8.3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4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3]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승인 기능 삭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승인 버튼도 삭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7] ‘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’ 항목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값에서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‘가입신청’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‘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신청‘ 삭제</a:t>
                      </a: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시 고객 식별 정보는 삭제되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식별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정보는 유지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의 탈퇴 정책 박스 참고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5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5365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상세조회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indent="0">
                        <a:lnSpc>
                          <a:spcPct val="120000"/>
                        </a:lnSpc>
                        <a:buFontTx/>
                        <a:buNone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[4] 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활동 진단결과 보기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[6] CSRD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상 진단결과 보기 버튼 클릭 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FO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별도 로그인 없이 해당 화면 호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존 요건 명확하게 정의하였음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225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요화면관리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〮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2]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명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좌측 전시제어 기능 삭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defTabSz="914400">
                        <a:lnSpc>
                          <a:spcPct val="110000"/>
                        </a:lnSpc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〮 메뉴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정보 섹션에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입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 기능을 우측 메뉴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로 이동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 삭제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좌측 전시여부 기능과 중복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9313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3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규 입수 뉴스 조회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]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발간일자 조회조건 당일이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</a:t>
                      </a: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2]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뉴스 컨텐츠 등록여부 컬럼 추가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6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263352" y="330861"/>
            <a:ext cx="765830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정이력</a:t>
            </a:r>
          </a:p>
        </p:txBody>
      </p:sp>
    </p:spTree>
    <p:extLst>
      <p:ext uri="{BB962C8B-B14F-4D97-AF65-F5344CB8AC3E}">
        <p14:creationId xmlns:p14="http://schemas.microsoft.com/office/powerpoint/2010/main" val="711354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324775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웃링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1982301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/>
        </p:nvGraphicFramePr>
        <p:xfrm>
          <a:off x="345126" y="1459939"/>
          <a:ext cx="8630652" cy="20758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29954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719818">
                  <a:extLst>
                    <a:ext uri="{9D8B030D-6E8A-4147-A177-3AD203B41FA5}">
                      <a16:colId xmlns:a16="http://schemas.microsoft.com/office/drawing/2014/main" val="3010769140"/>
                    </a:ext>
                  </a:extLst>
                </a:gridCol>
                <a:gridCol w="1295602">
                  <a:extLst>
                    <a:ext uri="{9D8B030D-6E8A-4147-A177-3AD203B41FA5}">
                      <a16:colId xmlns:a16="http://schemas.microsoft.com/office/drawing/2014/main" val="328249262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명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국내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언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1702917"/>
                  </a:ext>
                </a:extLst>
              </a:tr>
              <a:tr h="2409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3200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83089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토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6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5" name="직사각형 84">
            <a:extLst>
              <a:ext uri="{FF2B5EF4-FFF2-40B4-BE49-F238E27FC236}">
                <a16:creationId xmlns:a16="http://schemas.microsoft.com/office/drawing/2014/main" id="{C3E5D00F-CF4B-4C5E-BC5A-8812BEDD9341}"/>
              </a:ext>
            </a:extLst>
          </p:cNvPr>
          <p:cNvSpPr/>
          <p:nvPr/>
        </p:nvSpPr>
        <p:spPr>
          <a:xfrm>
            <a:off x="5740533" y="1499399"/>
            <a:ext cx="155822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73D7B8F0-497D-4292-9F8C-E0111B9E5BF1}"/>
              </a:ext>
            </a:extLst>
          </p:cNvPr>
          <p:cNvGrpSpPr/>
          <p:nvPr/>
        </p:nvGrpSpPr>
        <p:grpSpPr>
          <a:xfrm>
            <a:off x="1279606" y="1490439"/>
            <a:ext cx="2902293" cy="180527"/>
            <a:chOff x="1208287" y="1514945"/>
            <a:chExt cx="2902293" cy="180527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2CB77E35-E495-48AC-933C-78143479AE3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4105991-6501-4168-8BA9-5D85EFD54B0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2F827555-4081-4261-9A9A-2148AC4049B3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01070033-EF9A-4A47-9A9E-D68F061C2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FE848C4E-6177-4ED8-8E14-42C73B29F256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26FC3911-9203-4AAB-9BBC-4B1B8159950D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0DD98797-A83A-434A-AD2E-BE76B395A606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>
                <a:extLst>
                  <a:ext uri="{FF2B5EF4-FFF2-40B4-BE49-F238E27FC236}">
                    <a16:creationId xmlns:a16="http://schemas.microsoft.com/office/drawing/2014/main" id="{CE0F8CC6-8026-4DAE-B6B9-8F986ED1D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0864696-D459-493D-8276-58432E01067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1AEBCD28-21E8-4DCB-9908-E3B3888D7223}"/>
                </a:ext>
              </a:extLst>
            </p:cNvPr>
            <p:cNvSpPr/>
            <p:nvPr/>
          </p:nvSpPr>
          <p:spPr>
            <a:xfrm>
              <a:off x="3266019" y="1539451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64531E9B-E853-4BA8-9C7E-DD96517BE5AB}"/>
                </a:ext>
              </a:extLst>
            </p:cNvPr>
            <p:cNvGrpSpPr/>
            <p:nvPr/>
          </p:nvGrpSpPr>
          <p:grpSpPr>
            <a:xfrm>
              <a:off x="3146780" y="1535796"/>
              <a:ext cx="139353" cy="139353"/>
              <a:chOff x="3468417" y="1522489"/>
              <a:chExt cx="139353" cy="139353"/>
            </a:xfrm>
          </p:grpSpPr>
          <p:sp>
            <p:nvSpPr>
              <p:cNvPr id="27" name="사각형: 둥근 모서리 26">
                <a:extLst>
                  <a:ext uri="{FF2B5EF4-FFF2-40B4-BE49-F238E27FC236}">
                    <a16:creationId xmlns:a16="http://schemas.microsoft.com/office/drawing/2014/main" id="{61CF77A3-2790-4C21-A2D0-8F630BA4D7BC}"/>
                  </a:ext>
                </a:extLst>
              </p:cNvPr>
              <p:cNvSpPr/>
              <p:nvPr/>
            </p:nvSpPr>
            <p:spPr>
              <a:xfrm>
                <a:off x="3468417" y="1522489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29" name="그림 28">
                <a:extLst>
                  <a:ext uri="{FF2B5EF4-FFF2-40B4-BE49-F238E27FC236}">
                    <a16:creationId xmlns:a16="http://schemas.microsoft.com/office/drawing/2014/main" id="{028A3094-E2C4-41A8-9AA0-75EE7D45B7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493980" y="1556351"/>
                <a:ext cx="81910" cy="81910"/>
              </a:xfrm>
              <a:prstGeom prst="rect">
                <a:avLst/>
              </a:prstGeom>
            </p:spPr>
          </p:pic>
        </p:grp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6BC7ADE-7CA8-4D08-BC41-B046D960B4B0}"/>
                </a:ext>
              </a:extLst>
            </p:cNvPr>
            <p:cNvSpPr/>
            <p:nvPr/>
          </p:nvSpPr>
          <p:spPr>
            <a:xfrm>
              <a:off x="1208287" y="1522517"/>
              <a:ext cx="723126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7E22A3D3-8F70-4E7D-995D-32C1C218FF75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3BC5CA5-277D-4189-9026-ABF3CE1116E1}"/>
              </a:ext>
            </a:extLst>
          </p:cNvPr>
          <p:cNvSpPr/>
          <p:nvPr/>
        </p:nvSpPr>
        <p:spPr>
          <a:xfrm>
            <a:off x="1331353" y="1752634"/>
            <a:ext cx="1161087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271AAF07-5108-448C-B231-2D3CCF49DDD9}"/>
              </a:ext>
            </a:extLst>
          </p:cNvPr>
          <p:cNvSpPr/>
          <p:nvPr/>
        </p:nvSpPr>
        <p:spPr>
          <a:xfrm>
            <a:off x="2551283" y="1752634"/>
            <a:ext cx="1534558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D583D71-80BC-44E3-BBBA-468156B8DCEF}"/>
              </a:ext>
            </a:extLst>
          </p:cNvPr>
          <p:cNvGrpSpPr/>
          <p:nvPr/>
        </p:nvGrpSpPr>
        <p:grpSpPr>
          <a:xfrm>
            <a:off x="5740533" y="1745727"/>
            <a:ext cx="2197195" cy="174340"/>
            <a:chOff x="1331353" y="2500672"/>
            <a:chExt cx="2197195" cy="174340"/>
          </a:xfrm>
        </p:grpSpPr>
        <p:grpSp>
          <p:nvGrpSpPr>
            <p:cNvPr id="147" name="그룹 146">
              <a:extLst>
                <a:ext uri="{FF2B5EF4-FFF2-40B4-BE49-F238E27FC236}">
                  <a16:creationId xmlns:a16="http://schemas.microsoft.com/office/drawing/2014/main" id="{F3C9D234-C4EB-4B9F-8BC5-1E6366815967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148" name="직사각형 147">
                <a:extLst>
                  <a:ext uri="{FF2B5EF4-FFF2-40B4-BE49-F238E27FC236}">
                    <a16:creationId xmlns:a16="http://schemas.microsoft.com/office/drawing/2014/main" id="{655AA352-2DA6-431D-AD7F-3223454F19F8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AB1C29A6-4BC2-4430-8B1D-AA43C2E2300F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50" name="그룹 149">
              <a:extLst>
                <a:ext uri="{FF2B5EF4-FFF2-40B4-BE49-F238E27FC236}">
                  <a16:creationId xmlns:a16="http://schemas.microsoft.com/office/drawing/2014/main" id="{7471A3C8-86B5-42D4-834D-CE71FD5DB69B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FEAA70F7-32AC-447F-BAEB-66D8A1BB8B71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8317CF28-A034-4650-93EA-E46363CF0DB8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/>
        </p:nvGraphicFramePr>
        <p:xfrm>
          <a:off x="336268" y="3757182"/>
          <a:ext cx="8650567" cy="16532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7952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61078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794373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45533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708369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649869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469566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722157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830316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649941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721612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</a:tblGrid>
              <a:tr h="298415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01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PE00005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 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페이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E0010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ㆍ녹색성장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본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95" name="그룹 194">
            <a:extLst>
              <a:ext uri="{FF2B5EF4-FFF2-40B4-BE49-F238E27FC236}">
                <a16:creationId xmlns:a16="http://schemas.microsoft.com/office/drawing/2014/main" id="{D2FF3731-BF2B-48FA-A85A-30EEDCB62D51}"/>
              </a:ext>
            </a:extLst>
          </p:cNvPr>
          <p:cNvGrpSpPr/>
          <p:nvPr/>
        </p:nvGrpSpPr>
        <p:grpSpPr>
          <a:xfrm>
            <a:off x="7721704" y="2012797"/>
            <a:ext cx="1065951" cy="172800"/>
            <a:chOff x="1260034" y="1778319"/>
            <a:chExt cx="1065951" cy="172800"/>
          </a:xfrm>
        </p:grpSpPr>
        <p:sp>
          <p:nvSpPr>
            <p:cNvPr id="199" name="직사각형 198">
              <a:extLst>
                <a:ext uri="{FF2B5EF4-FFF2-40B4-BE49-F238E27FC236}">
                  <a16:creationId xmlns:a16="http://schemas.microsoft.com/office/drawing/2014/main" id="{C9EDE0D2-B965-4533-9205-6B2B860E1A71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00" name="직사각형 199">
              <a:extLst>
                <a:ext uri="{FF2B5EF4-FFF2-40B4-BE49-F238E27FC236}">
                  <a16:creationId xmlns:a16="http://schemas.microsoft.com/office/drawing/2014/main" id="{484EBEB5-AE92-423E-82D1-7BEC31B9E660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6FDA2DD1-BABC-494A-BAF4-8B80B9BE78FD}"/>
              </a:ext>
            </a:extLst>
          </p:cNvPr>
          <p:cNvGrpSpPr/>
          <p:nvPr/>
        </p:nvGrpSpPr>
        <p:grpSpPr>
          <a:xfrm>
            <a:off x="1320263" y="2999486"/>
            <a:ext cx="3676989" cy="176294"/>
            <a:chOff x="1334428" y="3000289"/>
            <a:chExt cx="3676989" cy="176294"/>
          </a:xfrm>
        </p:grpSpPr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29405672-7434-45AF-BF2E-91D670F7E03E}"/>
                </a:ext>
              </a:extLst>
            </p:cNvPr>
            <p:cNvSpPr/>
            <p:nvPr/>
          </p:nvSpPr>
          <p:spPr>
            <a:xfrm>
              <a:off x="1334428" y="3003783"/>
              <a:ext cx="346096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grpSp>
          <p:nvGrpSpPr>
            <p:cNvPr id="259" name="그룹 258">
              <a:extLst>
                <a:ext uri="{FF2B5EF4-FFF2-40B4-BE49-F238E27FC236}">
                  <a16:creationId xmlns:a16="http://schemas.microsoft.com/office/drawing/2014/main" id="{BD02B084-ABA8-4A19-9458-9EBFDA5D2560}"/>
                </a:ext>
              </a:extLst>
            </p:cNvPr>
            <p:cNvGrpSpPr/>
            <p:nvPr/>
          </p:nvGrpSpPr>
          <p:grpSpPr>
            <a:xfrm>
              <a:off x="4841945" y="3000289"/>
              <a:ext cx="169472" cy="169472"/>
              <a:chOff x="4841945" y="3000289"/>
              <a:chExt cx="169472" cy="169472"/>
            </a:xfrm>
          </p:grpSpPr>
          <p:sp>
            <p:nvSpPr>
              <p:cNvPr id="234" name="사각형: 둥근 모서리 233">
                <a:extLst>
                  <a:ext uri="{FF2B5EF4-FFF2-40B4-BE49-F238E27FC236}">
                    <a16:creationId xmlns:a16="http://schemas.microsoft.com/office/drawing/2014/main" id="{266CE57E-736D-4302-998F-397D939AEF19}"/>
                  </a:ext>
                </a:extLst>
              </p:cNvPr>
              <p:cNvSpPr/>
              <p:nvPr/>
            </p:nvSpPr>
            <p:spPr>
              <a:xfrm>
                <a:off x="4841945" y="3000289"/>
                <a:ext cx="169472" cy="169472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6" name="그림 235">
                <a:extLst>
                  <a:ext uri="{FF2B5EF4-FFF2-40B4-BE49-F238E27FC236}">
                    <a16:creationId xmlns:a16="http://schemas.microsoft.com/office/drawing/2014/main" id="{CBF49508-31A3-41B9-A7C1-178CE67FCA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57799" y="3008899"/>
                <a:ext cx="144016" cy="144016"/>
              </a:xfrm>
              <a:prstGeom prst="rect">
                <a:avLst/>
              </a:prstGeom>
            </p:spPr>
          </p:pic>
        </p:grpSp>
      </p:grpSp>
      <p:sp>
        <p:nvSpPr>
          <p:cNvPr id="237" name="직사각형 236">
            <a:extLst>
              <a:ext uri="{FF2B5EF4-FFF2-40B4-BE49-F238E27FC236}">
                <a16:creationId xmlns:a16="http://schemas.microsoft.com/office/drawing/2014/main" id="{A2422774-C518-4400-A03E-0B431DC56BB2}"/>
              </a:ext>
            </a:extLst>
          </p:cNvPr>
          <p:cNvSpPr/>
          <p:nvPr/>
        </p:nvSpPr>
        <p:spPr>
          <a:xfrm>
            <a:off x="1331352" y="2005431"/>
            <a:ext cx="159629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E2B63736-1B61-417B-A244-A2169D993191}"/>
              </a:ext>
            </a:extLst>
          </p:cNvPr>
          <p:cNvGrpSpPr/>
          <p:nvPr/>
        </p:nvGrpSpPr>
        <p:grpSpPr>
          <a:xfrm>
            <a:off x="5740533" y="2247017"/>
            <a:ext cx="1065951" cy="172800"/>
            <a:chOff x="1260034" y="1778319"/>
            <a:chExt cx="1065951" cy="172800"/>
          </a:xfrm>
        </p:grpSpPr>
        <p:sp>
          <p:nvSpPr>
            <p:cNvPr id="239" name="직사각형 238">
              <a:extLst>
                <a:ext uri="{FF2B5EF4-FFF2-40B4-BE49-F238E27FC236}">
                  <a16:creationId xmlns:a16="http://schemas.microsoft.com/office/drawing/2014/main" id="{FA4E2223-1DD4-4D4F-8B83-44925D2E5316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0" name="직사각형 239">
              <a:extLst>
                <a:ext uri="{FF2B5EF4-FFF2-40B4-BE49-F238E27FC236}">
                  <a16:creationId xmlns:a16="http://schemas.microsoft.com/office/drawing/2014/main" id="{7257429E-2A65-4FEF-9E79-31FDAAC07625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2CFC1E6E-8F0B-4450-BAF1-84CE7EC64C15}"/>
              </a:ext>
            </a:extLst>
          </p:cNvPr>
          <p:cNvGrpSpPr/>
          <p:nvPr/>
        </p:nvGrpSpPr>
        <p:grpSpPr>
          <a:xfrm>
            <a:off x="7721704" y="2243044"/>
            <a:ext cx="1065951" cy="172800"/>
            <a:chOff x="1260034" y="1778319"/>
            <a:chExt cx="1065951" cy="172800"/>
          </a:xfrm>
        </p:grpSpPr>
        <p:sp>
          <p:nvSpPr>
            <p:cNvPr id="242" name="직사각형 241">
              <a:extLst>
                <a:ext uri="{FF2B5EF4-FFF2-40B4-BE49-F238E27FC236}">
                  <a16:creationId xmlns:a16="http://schemas.microsoft.com/office/drawing/2014/main" id="{7E5A80AB-EA85-49C2-964E-E9E75BCFB6AE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4227F256-3E8D-42EB-9FDA-1674D512A4F2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44" name="표 66">
            <a:extLst>
              <a:ext uri="{FF2B5EF4-FFF2-40B4-BE49-F238E27FC236}">
                <a16:creationId xmlns:a16="http://schemas.microsoft.com/office/drawing/2014/main" id="{5E7F96FF-4465-4360-9046-6A1E4803731A}"/>
              </a:ext>
            </a:extLst>
          </p:cNvPr>
          <p:cNvGraphicFramePr>
            <a:graphicFrameLocks noGrp="1"/>
          </p:cNvGraphicFramePr>
          <p:nvPr/>
        </p:nvGraphicFramePr>
        <p:xfrm>
          <a:off x="841000" y="5530552"/>
          <a:ext cx="8140652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5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257909302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811645">
                  <a:extLst>
                    <a:ext uri="{9D8B030D-6E8A-4147-A177-3AD203B41FA5}">
                      <a16:colId xmlns:a16="http://schemas.microsoft.com/office/drawing/2014/main" val="3370459386"/>
                    </a:ext>
                  </a:extLst>
                </a:gridCol>
                <a:gridCol w="1348595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14256562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30630511"/>
                    </a:ext>
                  </a:extLst>
                </a:gridCol>
                <a:gridCol w="695187">
                  <a:extLst>
                    <a:ext uri="{9D8B030D-6E8A-4147-A177-3AD203B41FA5}">
                      <a16:colId xmlns:a16="http://schemas.microsoft.com/office/drawing/2014/main" val="2911285607"/>
                    </a:ext>
                  </a:extLst>
                </a:gridCol>
                <a:gridCol w="462273">
                  <a:extLst>
                    <a:ext uri="{9D8B030D-6E8A-4147-A177-3AD203B41FA5}">
                      <a16:colId xmlns:a16="http://schemas.microsoft.com/office/drawing/2014/main" val="1371808166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GRI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U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11-25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연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녹색성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245" name="화살표: 오른쪽 244">
            <a:extLst>
              <a:ext uri="{FF2B5EF4-FFF2-40B4-BE49-F238E27FC236}">
                <a16:creationId xmlns:a16="http://schemas.microsoft.com/office/drawing/2014/main" id="{4CBF2E6B-87FD-4AC9-B4FD-0076C6F9614A}"/>
              </a:ext>
            </a:extLst>
          </p:cNvPr>
          <p:cNvSpPr/>
          <p:nvPr/>
        </p:nvSpPr>
        <p:spPr>
          <a:xfrm>
            <a:off x="491484" y="5749067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376372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4108189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4113419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260" name="그룹 259">
            <a:extLst>
              <a:ext uri="{FF2B5EF4-FFF2-40B4-BE49-F238E27FC236}">
                <a16:creationId xmlns:a16="http://schemas.microsoft.com/office/drawing/2014/main" id="{B27B6193-9D81-4543-9504-15BE664E6B59}"/>
              </a:ext>
            </a:extLst>
          </p:cNvPr>
          <p:cNvGrpSpPr/>
          <p:nvPr/>
        </p:nvGrpSpPr>
        <p:grpSpPr>
          <a:xfrm>
            <a:off x="2952232" y="2006831"/>
            <a:ext cx="169472" cy="169472"/>
            <a:chOff x="4841945" y="3000289"/>
            <a:chExt cx="169472" cy="169472"/>
          </a:xfrm>
        </p:grpSpPr>
        <p:sp>
          <p:nvSpPr>
            <p:cNvPr id="261" name="사각형: 둥근 모서리 260">
              <a:extLst>
                <a:ext uri="{FF2B5EF4-FFF2-40B4-BE49-F238E27FC236}">
                  <a16:creationId xmlns:a16="http://schemas.microsoft.com/office/drawing/2014/main" id="{A21F50DD-2919-45C6-954E-E33DC1F7C48B}"/>
                </a:ext>
              </a:extLst>
            </p:cNvPr>
            <p:cNvSpPr/>
            <p:nvPr/>
          </p:nvSpPr>
          <p:spPr>
            <a:xfrm>
              <a:off x="4841945" y="3000289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62" name="그림 261">
              <a:extLst>
                <a:ext uri="{FF2B5EF4-FFF2-40B4-BE49-F238E27FC236}">
                  <a16:creationId xmlns:a16="http://schemas.microsoft.com/office/drawing/2014/main" id="{E19B243E-C650-4BE5-BE9F-2FC72E3FD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57799" y="3008899"/>
              <a:ext cx="144016" cy="144016"/>
            </a:xfrm>
            <a:prstGeom prst="rect">
              <a:avLst/>
            </a:prstGeom>
          </p:spPr>
        </p:pic>
      </p:grpSp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A25D0A63-881B-4E13-8FFD-B401C294364B}"/>
              </a:ext>
            </a:extLst>
          </p:cNvPr>
          <p:cNvGrpSpPr/>
          <p:nvPr/>
        </p:nvGrpSpPr>
        <p:grpSpPr>
          <a:xfrm>
            <a:off x="1325770" y="2245477"/>
            <a:ext cx="2197195" cy="174340"/>
            <a:chOff x="1331353" y="2500672"/>
            <a:chExt cx="2197195" cy="174340"/>
          </a:xfrm>
        </p:grpSpPr>
        <p:grpSp>
          <p:nvGrpSpPr>
            <p:cNvPr id="264" name="그룹 263">
              <a:extLst>
                <a:ext uri="{FF2B5EF4-FFF2-40B4-BE49-F238E27FC236}">
                  <a16:creationId xmlns:a16="http://schemas.microsoft.com/office/drawing/2014/main" id="{C4074594-5306-4BFB-AFCB-C788A7BA59AA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268" name="직사각형 267">
                <a:extLst>
                  <a:ext uri="{FF2B5EF4-FFF2-40B4-BE49-F238E27FC236}">
                    <a16:creationId xmlns:a16="http://schemas.microsoft.com/office/drawing/2014/main" id="{0B445854-7857-4266-8E76-E1BB8D79C420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9" name="직사각형 268">
                <a:extLst>
                  <a:ext uri="{FF2B5EF4-FFF2-40B4-BE49-F238E27FC236}">
                    <a16:creationId xmlns:a16="http://schemas.microsoft.com/office/drawing/2014/main" id="{086DAF83-B2D9-49AE-87C9-F7401679FEDA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265" name="그룹 264">
              <a:extLst>
                <a:ext uri="{FF2B5EF4-FFF2-40B4-BE49-F238E27FC236}">
                  <a16:creationId xmlns:a16="http://schemas.microsoft.com/office/drawing/2014/main" id="{F258107B-C617-455A-8271-DC7E8144FE38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266" name="직사각형 265">
                <a:extLst>
                  <a:ext uri="{FF2B5EF4-FFF2-40B4-BE49-F238E27FC236}">
                    <a16:creationId xmlns:a16="http://schemas.microsoft.com/office/drawing/2014/main" id="{E5104259-D520-4F5B-B718-068A82B5BB1C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7" name="직사각형 266">
                <a:extLst>
                  <a:ext uri="{FF2B5EF4-FFF2-40B4-BE49-F238E27FC236}">
                    <a16:creationId xmlns:a16="http://schemas.microsoft.com/office/drawing/2014/main" id="{46491C19-D344-4AFD-879B-BE5FB1F08ECF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271" name="사각형: 둥근 모서리 270">
            <a:extLst>
              <a:ext uri="{FF2B5EF4-FFF2-40B4-BE49-F238E27FC236}">
                <a16:creationId xmlns:a16="http://schemas.microsoft.com/office/drawing/2014/main" id="{98A9715A-D77F-4BC0-A002-EECE7E330985}"/>
              </a:ext>
            </a:extLst>
          </p:cNvPr>
          <p:cNvSpPr/>
          <p:nvPr/>
        </p:nvSpPr>
        <p:spPr>
          <a:xfrm>
            <a:off x="443824" y="46268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2" name="사각형: 둥근 모서리 271">
            <a:extLst>
              <a:ext uri="{FF2B5EF4-FFF2-40B4-BE49-F238E27FC236}">
                <a16:creationId xmlns:a16="http://schemas.microsoft.com/office/drawing/2014/main" id="{C21EF9C1-0EDA-4694-84B7-376355ED2FF0}"/>
              </a:ext>
            </a:extLst>
          </p:cNvPr>
          <p:cNvSpPr/>
          <p:nvPr/>
        </p:nvSpPr>
        <p:spPr>
          <a:xfrm>
            <a:off x="443824" y="5048569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3" name="사각형: 둥근 모서리 272">
            <a:extLst>
              <a:ext uri="{FF2B5EF4-FFF2-40B4-BE49-F238E27FC236}">
                <a16:creationId xmlns:a16="http://schemas.microsoft.com/office/drawing/2014/main" id="{F1BF2076-BF45-4989-A3B3-9AC3C1AA753C}"/>
              </a:ext>
            </a:extLst>
          </p:cNvPr>
          <p:cNvSpPr/>
          <p:nvPr/>
        </p:nvSpPr>
        <p:spPr>
          <a:xfrm>
            <a:off x="443824" y="48422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B705B3E0-8595-4AB6-BF6A-E598A59A65A7}"/>
              </a:ext>
            </a:extLst>
          </p:cNvPr>
          <p:cNvSpPr/>
          <p:nvPr/>
        </p:nvSpPr>
        <p:spPr>
          <a:xfrm>
            <a:off x="443824" y="526057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5" name="사각형: 둥근 모서리 274">
            <a:extLst>
              <a:ext uri="{FF2B5EF4-FFF2-40B4-BE49-F238E27FC236}">
                <a16:creationId xmlns:a16="http://schemas.microsoft.com/office/drawing/2014/main" id="{81ED1F1B-7A87-48F3-839C-9DC9B3A967AC}"/>
              </a:ext>
            </a:extLst>
          </p:cNvPr>
          <p:cNvSpPr/>
          <p:nvPr/>
        </p:nvSpPr>
        <p:spPr>
          <a:xfrm>
            <a:off x="8232954" y="3822780"/>
            <a:ext cx="671358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태변경</a:t>
            </a:r>
          </a:p>
        </p:txBody>
      </p:sp>
      <p:grpSp>
        <p:nvGrpSpPr>
          <p:cNvPr id="276" name="그룹 275">
            <a:extLst>
              <a:ext uri="{FF2B5EF4-FFF2-40B4-BE49-F238E27FC236}">
                <a16:creationId xmlns:a16="http://schemas.microsoft.com/office/drawing/2014/main" id="{AF3F1031-5831-414E-91D5-AC0D4231195D}"/>
              </a:ext>
            </a:extLst>
          </p:cNvPr>
          <p:cNvGrpSpPr/>
          <p:nvPr/>
        </p:nvGrpSpPr>
        <p:grpSpPr>
          <a:xfrm>
            <a:off x="7477874" y="3818717"/>
            <a:ext cx="696669" cy="172800"/>
            <a:chOff x="1260033" y="1778319"/>
            <a:chExt cx="696669" cy="172800"/>
          </a:xfrm>
        </p:grpSpPr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01EC4F23-92CE-4F5C-AAD1-4F9A2F49675E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비공개</a:t>
              </a:r>
            </a:p>
          </p:txBody>
        </p:sp>
        <p:sp>
          <p:nvSpPr>
            <p:cNvPr id="278" name="직사각형 277">
              <a:extLst>
                <a:ext uri="{FF2B5EF4-FFF2-40B4-BE49-F238E27FC236}">
                  <a16:creationId xmlns:a16="http://schemas.microsoft.com/office/drawing/2014/main" id="{924BC30D-9662-4D5E-A0B5-BB84C023CB0E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6167D580-BED1-4C6A-9F13-6B0C15EECDCF}"/>
              </a:ext>
            </a:extLst>
          </p:cNvPr>
          <p:cNvSpPr/>
          <p:nvPr/>
        </p:nvSpPr>
        <p:spPr>
          <a:xfrm>
            <a:off x="335820" y="613069"/>
            <a:ext cx="8659717" cy="6063912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AA9C9DEA-473C-4E3B-9F41-445ABE86D84A}"/>
              </a:ext>
            </a:extLst>
          </p:cNvPr>
          <p:cNvGrpSpPr/>
          <p:nvPr/>
        </p:nvGrpSpPr>
        <p:grpSpPr>
          <a:xfrm>
            <a:off x="1517359" y="2154868"/>
            <a:ext cx="983380" cy="172800"/>
            <a:chOff x="1260034" y="1778319"/>
            <a:chExt cx="983380" cy="172800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FB11BC6B-F3A0-4A31-93FA-C8838B8BDF14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378C91FA-71B0-4C0F-B3B5-960E3377323A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59DA8D23-56BC-4374-95F9-8977EDF45CD7}"/>
              </a:ext>
            </a:extLst>
          </p:cNvPr>
          <p:cNvSpPr/>
          <p:nvPr/>
        </p:nvSpPr>
        <p:spPr>
          <a:xfrm>
            <a:off x="1503502" y="1619563"/>
            <a:ext cx="457977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ttps://url.kr/vgp92r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2C3F1AA2-101D-46FE-ADBF-C63E8352E80D}"/>
              </a:ext>
            </a:extLst>
          </p:cNvPr>
          <p:cNvSpPr/>
          <p:nvPr/>
        </p:nvSpPr>
        <p:spPr>
          <a:xfrm>
            <a:off x="1513734" y="1880694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6652001C-4C08-4874-B953-760D661C93B3}"/>
              </a:ext>
            </a:extLst>
          </p:cNvPr>
          <p:cNvSpPr/>
          <p:nvPr/>
        </p:nvSpPr>
        <p:spPr>
          <a:xfrm>
            <a:off x="3360557" y="1879704"/>
            <a:ext cx="169472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8" name="그림 97">
            <a:extLst>
              <a:ext uri="{FF2B5EF4-FFF2-40B4-BE49-F238E27FC236}">
                <a16:creationId xmlns:a16="http://schemas.microsoft.com/office/drawing/2014/main" id="{E511A56B-88AF-41A4-97B1-98C77C6F9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76411" y="1888314"/>
            <a:ext cx="144016" cy="144016"/>
          </a:xfrm>
          <a:prstGeom prst="rect">
            <a:avLst/>
          </a:prstGeom>
        </p:spPr>
      </p:pic>
      <p:grpSp>
        <p:nvGrpSpPr>
          <p:cNvPr id="99" name="그룹 98">
            <a:extLst>
              <a:ext uri="{FF2B5EF4-FFF2-40B4-BE49-F238E27FC236}">
                <a16:creationId xmlns:a16="http://schemas.microsoft.com/office/drawing/2014/main" id="{CC06B9F3-8B6E-4431-AAD0-5888EDF47775}"/>
              </a:ext>
            </a:extLst>
          </p:cNvPr>
          <p:cNvGrpSpPr/>
          <p:nvPr/>
        </p:nvGrpSpPr>
        <p:grpSpPr>
          <a:xfrm>
            <a:off x="2557641" y="2152770"/>
            <a:ext cx="1067418" cy="172800"/>
            <a:chOff x="1260034" y="1778319"/>
            <a:chExt cx="1067418" cy="172800"/>
          </a:xfrm>
        </p:grpSpPr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A18AA7BE-8D64-4D94-B0A6-03C86CCA3F5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82EAE134-3561-4DFE-9241-11597801EDC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8D177732-ABB6-4955-BCF1-A1DD0332F462}"/>
              </a:ext>
            </a:extLst>
          </p:cNvPr>
          <p:cNvSpPr/>
          <p:nvPr/>
        </p:nvSpPr>
        <p:spPr>
          <a:xfrm>
            <a:off x="1155954" y="975708"/>
            <a:ext cx="7183959" cy="554962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2453A24F-CC26-4BBD-B74F-DD677F9EDDDE}"/>
              </a:ext>
            </a:extLst>
          </p:cNvPr>
          <p:cNvSpPr/>
          <p:nvPr/>
        </p:nvSpPr>
        <p:spPr>
          <a:xfrm>
            <a:off x="1155954" y="759198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상세 조회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4" name="표 12">
            <a:extLst>
              <a:ext uri="{FF2B5EF4-FFF2-40B4-BE49-F238E27FC236}">
                <a16:creationId xmlns:a16="http://schemas.microsoft.com/office/drawing/2014/main" id="{06E4FAD8-8B7A-4205-9C11-D74B15263D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403249"/>
              </p:ext>
            </p:extLst>
          </p:nvPr>
        </p:nvGraphicFramePr>
        <p:xfrm>
          <a:off x="1209262" y="1105312"/>
          <a:ext cx="7091948" cy="26284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290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253525">
                  <a:extLst>
                    <a:ext uri="{9D8B030D-6E8A-4147-A177-3AD203B41FA5}">
                      <a16:colId xmlns:a16="http://schemas.microsoft.com/office/drawing/2014/main" val="192505568"/>
                    </a:ext>
                  </a:extLst>
                </a:gridCol>
                <a:gridCol w="690691">
                  <a:extLst>
                    <a:ext uri="{9D8B030D-6E8A-4147-A177-3AD203B41FA5}">
                      <a16:colId xmlns:a16="http://schemas.microsoft.com/office/drawing/2014/main" val="1632271762"/>
                    </a:ext>
                  </a:extLst>
                </a:gridCol>
                <a:gridCol w="349666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442422">
                  <a:extLst>
                    <a:ext uri="{9D8B030D-6E8A-4147-A177-3AD203B41FA5}">
                      <a16:colId xmlns:a16="http://schemas.microsoft.com/office/drawing/2014/main" val="614263173"/>
                    </a:ext>
                  </a:extLst>
                </a:gridCol>
                <a:gridCol w="989053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667131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1845170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endParaRPr lang="ko-KR" altLang="en-US" sz="80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둥록방식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DOA0001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235077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URL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6641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en-US" altLang="ko-KR" sz="800" dirty="0"/>
                        <a:t>ESG</a:t>
                      </a:r>
                      <a:r>
                        <a:rPr lang="ko-KR" altLang="en-US" sz="800" dirty="0"/>
                        <a:t>일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40142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전체열람허용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일부공개    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05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 가능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2585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경영보고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SR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3F35BE15-2520-45CC-8D33-6AFCEEFCA209}"/>
              </a:ext>
            </a:extLst>
          </p:cNvPr>
          <p:cNvSpPr/>
          <p:nvPr/>
        </p:nvSpPr>
        <p:spPr>
          <a:xfrm>
            <a:off x="2152150" y="1685950"/>
            <a:ext cx="28165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Https://url.kr/vgp92r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7484738A-0DD4-4571-8216-831883C18413}"/>
              </a:ext>
            </a:extLst>
          </p:cNvPr>
          <p:cNvSpPr/>
          <p:nvPr/>
        </p:nvSpPr>
        <p:spPr>
          <a:xfrm>
            <a:off x="5034564" y="1685950"/>
            <a:ext cx="606037" cy="17844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선택</a:t>
            </a: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C42775B7-06D7-467D-953E-BC23FB502812}"/>
              </a:ext>
            </a:extLst>
          </p:cNvPr>
          <p:cNvSpPr/>
          <p:nvPr/>
        </p:nvSpPr>
        <p:spPr>
          <a:xfrm>
            <a:off x="2157224" y="1424890"/>
            <a:ext cx="347240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녹색성장 기본법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B286242F-04F3-4A95-B808-632EDE63734E}"/>
              </a:ext>
            </a:extLst>
          </p:cNvPr>
          <p:cNvGrpSpPr/>
          <p:nvPr/>
        </p:nvGrpSpPr>
        <p:grpSpPr>
          <a:xfrm>
            <a:off x="2156383" y="2283343"/>
            <a:ext cx="1573996" cy="178503"/>
            <a:chOff x="6534977" y="1948717"/>
            <a:chExt cx="1573996" cy="178503"/>
          </a:xfrm>
        </p:grpSpPr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112F7305-1215-48A4-B037-1E684701A965}"/>
                </a:ext>
              </a:extLst>
            </p:cNvPr>
            <p:cNvGrpSpPr/>
            <p:nvPr/>
          </p:nvGrpSpPr>
          <p:grpSpPr>
            <a:xfrm>
              <a:off x="6534977" y="1954420"/>
              <a:ext cx="589035" cy="172800"/>
              <a:chOff x="1260034" y="1778319"/>
              <a:chExt cx="589035" cy="172800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2D8A0290-317D-4023-AA70-3102C7993AE3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373011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선택</a:t>
                </a: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04744306-8C78-4014-9BD4-FC78D2B2EDBA}"/>
                  </a:ext>
                </a:extLst>
              </p:cNvPr>
              <p:cNvSpPr/>
              <p:nvPr/>
            </p:nvSpPr>
            <p:spPr>
              <a:xfrm>
                <a:off x="1633045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169ED6AB-A268-46F6-97B8-56311D1D15F5}"/>
                </a:ext>
              </a:extLst>
            </p:cNvPr>
            <p:cNvSpPr/>
            <p:nvPr/>
          </p:nvSpPr>
          <p:spPr>
            <a:xfrm>
              <a:off x="7176340" y="1948717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F43185CC-8F18-4268-8EA9-2F83EEA88FE4}"/>
                </a:ext>
              </a:extLst>
            </p:cNvPr>
            <p:cNvSpPr/>
            <p:nvPr/>
          </p:nvSpPr>
          <p:spPr>
            <a:xfrm>
              <a:off x="7578871" y="1948717"/>
              <a:ext cx="247012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09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6" name="직사각형 115">
              <a:extLst>
                <a:ext uri="{FF2B5EF4-FFF2-40B4-BE49-F238E27FC236}">
                  <a16:creationId xmlns:a16="http://schemas.microsoft.com/office/drawing/2014/main" id="{E4B9708C-8C77-4298-95C5-4C349DE0A312}"/>
                </a:ext>
              </a:extLst>
            </p:cNvPr>
            <p:cNvSpPr/>
            <p:nvPr/>
          </p:nvSpPr>
          <p:spPr>
            <a:xfrm>
              <a:off x="7861961" y="1948717"/>
              <a:ext cx="247012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0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D60B3830-207A-47F5-8601-C55711AA7AC6}"/>
              </a:ext>
            </a:extLst>
          </p:cNvPr>
          <p:cNvSpPr/>
          <p:nvPr/>
        </p:nvSpPr>
        <p:spPr>
          <a:xfrm>
            <a:off x="2175577" y="1963742"/>
            <a:ext cx="122385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0" name="그룹 119">
            <a:extLst>
              <a:ext uri="{FF2B5EF4-FFF2-40B4-BE49-F238E27FC236}">
                <a16:creationId xmlns:a16="http://schemas.microsoft.com/office/drawing/2014/main" id="{6DC0992A-B5C6-4F16-A9DC-3FB3D6394528}"/>
              </a:ext>
            </a:extLst>
          </p:cNvPr>
          <p:cNvGrpSpPr/>
          <p:nvPr/>
        </p:nvGrpSpPr>
        <p:grpSpPr>
          <a:xfrm>
            <a:off x="3421975" y="1963203"/>
            <a:ext cx="169472" cy="169472"/>
            <a:chOff x="3180922" y="2352202"/>
            <a:chExt cx="169472" cy="169472"/>
          </a:xfrm>
        </p:grpSpPr>
        <p:sp>
          <p:nvSpPr>
            <p:cNvPr id="121" name="사각형: 둥근 모서리 120">
              <a:extLst>
                <a:ext uri="{FF2B5EF4-FFF2-40B4-BE49-F238E27FC236}">
                  <a16:creationId xmlns:a16="http://schemas.microsoft.com/office/drawing/2014/main" id="{9CA4321F-C82C-4CBB-87A2-9574FA29F18D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22" name="그림 121">
              <a:extLst>
                <a:ext uri="{FF2B5EF4-FFF2-40B4-BE49-F238E27FC236}">
                  <a16:creationId xmlns:a16="http://schemas.microsoft.com/office/drawing/2014/main" id="{E5B1750D-A4CE-4693-ADA3-615B910F82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3453809A-5A54-4C89-9EDE-A49FFB3C5AFF}"/>
              </a:ext>
            </a:extLst>
          </p:cNvPr>
          <p:cNvGrpSpPr/>
          <p:nvPr/>
        </p:nvGrpSpPr>
        <p:grpSpPr>
          <a:xfrm>
            <a:off x="6508217" y="1977776"/>
            <a:ext cx="1065951" cy="172800"/>
            <a:chOff x="1260034" y="1778319"/>
            <a:chExt cx="1065951" cy="172800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90C317B3-BBA0-4172-8651-08E56617FB3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D08DF1B3-6E22-494C-A29E-78EC385732DB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F2590DB0-774A-4A8F-A06D-7ECCF9858635}"/>
              </a:ext>
            </a:extLst>
          </p:cNvPr>
          <p:cNvGrpSpPr/>
          <p:nvPr/>
        </p:nvGrpSpPr>
        <p:grpSpPr>
          <a:xfrm>
            <a:off x="4815838" y="2837821"/>
            <a:ext cx="2690918" cy="363903"/>
            <a:chOff x="4535523" y="2708647"/>
            <a:chExt cx="2690918" cy="363903"/>
          </a:xfrm>
        </p:grpSpPr>
        <p:grpSp>
          <p:nvGrpSpPr>
            <p:cNvPr id="127" name="그룹 126">
              <a:extLst>
                <a:ext uri="{FF2B5EF4-FFF2-40B4-BE49-F238E27FC236}">
                  <a16:creationId xmlns:a16="http://schemas.microsoft.com/office/drawing/2014/main" id="{CF94A234-9326-4275-9324-CD18AD11CE5C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40" name="그룹 139">
                <a:extLst>
                  <a:ext uri="{FF2B5EF4-FFF2-40B4-BE49-F238E27FC236}">
                    <a16:creationId xmlns:a16="http://schemas.microsoft.com/office/drawing/2014/main" id="{E2C4E60B-1A9C-441B-8A71-DF9B580B2D61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46" name="직사각형 145">
                  <a:extLst>
                    <a:ext uri="{FF2B5EF4-FFF2-40B4-BE49-F238E27FC236}">
                      <a16:creationId xmlns:a16="http://schemas.microsoft.com/office/drawing/2014/main" id="{08C317B3-1058-4E84-8EBF-1497C7ECE5C6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53" name="직사각형 152">
                  <a:extLst>
                    <a:ext uri="{FF2B5EF4-FFF2-40B4-BE49-F238E27FC236}">
                      <a16:creationId xmlns:a16="http://schemas.microsoft.com/office/drawing/2014/main" id="{4D9F4B59-EF73-4BDA-B1F6-4B2AFA0C5112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54" name="그림 153">
                  <a:extLst>
                    <a:ext uri="{FF2B5EF4-FFF2-40B4-BE49-F238E27FC236}">
                      <a16:creationId xmlns:a16="http://schemas.microsoft.com/office/drawing/2014/main" id="{1A0892AB-05C0-4493-A59B-70619CEEFD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41" name="직사각형 140">
                <a:extLst>
                  <a:ext uri="{FF2B5EF4-FFF2-40B4-BE49-F238E27FC236}">
                    <a16:creationId xmlns:a16="http://schemas.microsoft.com/office/drawing/2014/main" id="{F2A0A2A4-D5EE-467B-B872-BE2B046ABEBE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42" name="직사각형 141">
                <a:extLst>
                  <a:ext uri="{FF2B5EF4-FFF2-40B4-BE49-F238E27FC236}">
                    <a16:creationId xmlns:a16="http://schemas.microsoft.com/office/drawing/2014/main" id="{319B190E-034B-44CA-AF2E-447EE7A5E03A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908CC37C-E285-454D-BFAC-AA9CDC743E76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53419FE7-13A1-4055-9258-4AAD6239FF2C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FE681D80-2F1F-47E7-993B-973570B48C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8" name="그룹 127">
              <a:extLst>
                <a:ext uri="{FF2B5EF4-FFF2-40B4-BE49-F238E27FC236}">
                  <a16:creationId xmlns:a16="http://schemas.microsoft.com/office/drawing/2014/main" id="{7B6FB4CF-EE55-410F-B75B-E50FB278CDE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32" name="그룹 131">
                <a:extLst>
                  <a:ext uri="{FF2B5EF4-FFF2-40B4-BE49-F238E27FC236}">
                    <a16:creationId xmlns:a16="http://schemas.microsoft.com/office/drawing/2014/main" id="{799F9A00-6712-49E6-9AFD-944FADD206FF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37" name="직사각형 136">
                  <a:extLst>
                    <a:ext uri="{FF2B5EF4-FFF2-40B4-BE49-F238E27FC236}">
                      <a16:creationId xmlns:a16="http://schemas.microsoft.com/office/drawing/2014/main" id="{382B2836-464A-402D-B646-0FC0EE3BC66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38" name="직사각형 137">
                  <a:extLst>
                    <a:ext uri="{FF2B5EF4-FFF2-40B4-BE49-F238E27FC236}">
                      <a16:creationId xmlns:a16="http://schemas.microsoft.com/office/drawing/2014/main" id="{31C8660C-A723-43C7-B531-683C10C405E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39" name="그림 138">
                  <a:extLst>
                    <a:ext uri="{FF2B5EF4-FFF2-40B4-BE49-F238E27FC236}">
                      <a16:creationId xmlns:a16="http://schemas.microsoft.com/office/drawing/2014/main" id="{ED3B4726-8BE0-4F67-8699-9374631AF6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BCE92AD9-DCA4-4613-83EF-581A263F0A3F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A84BD1C8-BC7A-46E1-B0EF-F7287E73868A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48B3CCB7-F183-4318-BC5E-E58ABD6BC92F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6" name="직사각형 135">
                <a:extLst>
                  <a:ext uri="{FF2B5EF4-FFF2-40B4-BE49-F238E27FC236}">
                    <a16:creationId xmlns:a16="http://schemas.microsoft.com/office/drawing/2014/main" id="{3E857AD3-1A21-4F62-999B-28A665C2750B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FE47809C-2B43-48BE-95F5-1AE2C8228552}"/>
                </a:ext>
              </a:extLst>
            </p:cNvPr>
            <p:cNvSpPr/>
            <p:nvPr/>
          </p:nvSpPr>
          <p:spPr>
            <a:xfrm>
              <a:off x="4671835" y="2708647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30" name="사각형: 둥근 모서리 129">
              <a:extLst>
                <a:ext uri="{FF2B5EF4-FFF2-40B4-BE49-F238E27FC236}">
                  <a16:creationId xmlns:a16="http://schemas.microsoft.com/office/drawing/2014/main" id="{CBE7BEA6-4EEF-49E9-8AF6-3E00B19C7AD0}"/>
                </a:ext>
              </a:extLst>
            </p:cNvPr>
            <p:cNvSpPr/>
            <p:nvPr/>
          </p:nvSpPr>
          <p:spPr>
            <a:xfrm>
              <a:off x="4590693" y="2712483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1" name="그림 130">
              <a:extLst>
                <a:ext uri="{FF2B5EF4-FFF2-40B4-BE49-F238E27FC236}">
                  <a16:creationId xmlns:a16="http://schemas.microsoft.com/office/drawing/2014/main" id="{765F1F28-C269-4CCA-90CC-A18D67084F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16256" y="2746345"/>
              <a:ext cx="81910" cy="81910"/>
            </a:xfrm>
            <a:prstGeom prst="rect">
              <a:avLst/>
            </a:prstGeom>
          </p:spPr>
        </p:pic>
      </p:grpSp>
      <p:sp>
        <p:nvSpPr>
          <p:cNvPr id="161" name="사각형: 둥근 모서리 160">
            <a:extLst>
              <a:ext uri="{FF2B5EF4-FFF2-40B4-BE49-F238E27FC236}">
                <a16:creationId xmlns:a16="http://schemas.microsoft.com/office/drawing/2014/main" id="{93BA0CEC-E23D-46F1-889C-53F8CABC8BBC}"/>
              </a:ext>
            </a:extLst>
          </p:cNvPr>
          <p:cNvSpPr/>
          <p:nvPr/>
        </p:nvSpPr>
        <p:spPr>
          <a:xfrm>
            <a:off x="3735761" y="631497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62" name="사각형: 둥근 모서리 161">
            <a:extLst>
              <a:ext uri="{FF2B5EF4-FFF2-40B4-BE49-F238E27FC236}">
                <a16:creationId xmlns:a16="http://schemas.microsoft.com/office/drawing/2014/main" id="{84E0FA3F-961F-47DB-9F85-573F4CA5AD2D}"/>
              </a:ext>
            </a:extLst>
          </p:cNvPr>
          <p:cNvSpPr/>
          <p:nvPr/>
        </p:nvSpPr>
        <p:spPr>
          <a:xfrm>
            <a:off x="5163621" y="631497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</a:p>
        </p:txBody>
      </p:sp>
      <p:sp>
        <p:nvSpPr>
          <p:cNvPr id="163" name="사각형: 둥근 모서리 162">
            <a:extLst>
              <a:ext uri="{FF2B5EF4-FFF2-40B4-BE49-F238E27FC236}">
                <a16:creationId xmlns:a16="http://schemas.microsoft.com/office/drawing/2014/main" id="{53BA7398-79CC-4989-B046-8A5A3049ED3E}"/>
              </a:ext>
            </a:extLst>
          </p:cNvPr>
          <p:cNvSpPr/>
          <p:nvPr/>
        </p:nvSpPr>
        <p:spPr>
          <a:xfrm>
            <a:off x="4447535" y="631497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복사</a:t>
            </a: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7BD0306B-4B45-4721-BA3B-179B6B1EEFF8}"/>
              </a:ext>
            </a:extLst>
          </p:cNvPr>
          <p:cNvSpPr/>
          <p:nvPr/>
        </p:nvSpPr>
        <p:spPr>
          <a:xfrm>
            <a:off x="4859081" y="1962776"/>
            <a:ext cx="827215" cy="1728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외</a:t>
            </a:r>
          </a:p>
        </p:txBody>
      </p:sp>
      <p:grpSp>
        <p:nvGrpSpPr>
          <p:cNvPr id="165" name="그룹 164">
            <a:extLst>
              <a:ext uri="{FF2B5EF4-FFF2-40B4-BE49-F238E27FC236}">
                <a16:creationId xmlns:a16="http://schemas.microsoft.com/office/drawing/2014/main" id="{F760E396-3C63-4DA7-B9A4-247137213256}"/>
              </a:ext>
            </a:extLst>
          </p:cNvPr>
          <p:cNvGrpSpPr/>
          <p:nvPr/>
        </p:nvGrpSpPr>
        <p:grpSpPr>
          <a:xfrm>
            <a:off x="6508217" y="1408277"/>
            <a:ext cx="1065951" cy="172800"/>
            <a:chOff x="1260034" y="1778319"/>
            <a:chExt cx="1065951" cy="172800"/>
          </a:xfrm>
        </p:grpSpPr>
        <p:sp>
          <p:nvSpPr>
            <p:cNvPr id="167" name="직사각형 166">
              <a:extLst>
                <a:ext uri="{FF2B5EF4-FFF2-40B4-BE49-F238E27FC236}">
                  <a16:creationId xmlns:a16="http://schemas.microsoft.com/office/drawing/2014/main" id="{B92FC971-0375-4395-8122-2FAFC8F7832D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용중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8" name="직사각형 167">
              <a:extLst>
                <a:ext uri="{FF2B5EF4-FFF2-40B4-BE49-F238E27FC236}">
                  <a16:creationId xmlns:a16="http://schemas.microsoft.com/office/drawing/2014/main" id="{3114A6C9-37E5-4229-9FD1-039CE16EA467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72" name="직사각형 171">
            <a:extLst>
              <a:ext uri="{FF2B5EF4-FFF2-40B4-BE49-F238E27FC236}">
                <a16:creationId xmlns:a16="http://schemas.microsoft.com/office/drawing/2014/main" id="{86D90857-66EE-4CDF-86E3-AB7FDDDBA843}"/>
              </a:ext>
            </a:extLst>
          </p:cNvPr>
          <p:cNvSpPr/>
          <p:nvPr/>
        </p:nvSpPr>
        <p:spPr>
          <a:xfrm>
            <a:off x="1205065" y="1084314"/>
            <a:ext cx="7085735" cy="814124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D7D1A858-6B17-41DB-A0F4-ABFFD31D4635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B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웃링크</a:t>
            </a:r>
          </a:p>
        </p:txBody>
      </p:sp>
      <p:sp>
        <p:nvSpPr>
          <p:cNvPr id="169" name="직사각형 168">
            <a:extLst>
              <a:ext uri="{FF2B5EF4-FFF2-40B4-BE49-F238E27FC236}">
                <a16:creationId xmlns:a16="http://schemas.microsoft.com/office/drawing/2014/main" id="{029AAB78-9581-40C5-A3DD-E5F38D473406}"/>
              </a:ext>
            </a:extLst>
          </p:cNvPr>
          <p:cNvSpPr/>
          <p:nvPr/>
        </p:nvSpPr>
        <p:spPr>
          <a:xfrm>
            <a:off x="8973779" y="0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aphicFrame>
        <p:nvGraphicFramePr>
          <p:cNvPr id="178" name="표 177">
            <a:extLst>
              <a:ext uri="{FF2B5EF4-FFF2-40B4-BE49-F238E27FC236}">
                <a16:creationId xmlns:a16="http://schemas.microsoft.com/office/drawing/2014/main" id="{73E8D821-0FE9-4C12-B0F2-E34291EC5F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1222536"/>
              </p:ext>
            </p:extLst>
          </p:nvPr>
        </p:nvGraphicFramePr>
        <p:xfrm>
          <a:off x="1209259" y="5556516"/>
          <a:ext cx="7091955" cy="6807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9644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462322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221176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2678813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6807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179" name="표 178">
            <a:extLst>
              <a:ext uri="{FF2B5EF4-FFF2-40B4-BE49-F238E27FC236}">
                <a16:creationId xmlns:a16="http://schemas.microsoft.com/office/drawing/2014/main" id="{C2D29CA1-9912-48E6-AE91-FFE5752D7C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36320"/>
              </p:ext>
            </p:extLst>
          </p:nvPr>
        </p:nvGraphicFramePr>
        <p:xfrm>
          <a:off x="1209259" y="3787593"/>
          <a:ext cx="7091951" cy="17150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9644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grpSp>
        <p:nvGrpSpPr>
          <p:cNvPr id="170" name="그룹 169">
            <a:extLst>
              <a:ext uri="{FF2B5EF4-FFF2-40B4-BE49-F238E27FC236}">
                <a16:creationId xmlns:a16="http://schemas.microsoft.com/office/drawing/2014/main" id="{B25F0EDB-6ECF-43EB-9FFC-22BAB6D73D50}"/>
              </a:ext>
            </a:extLst>
          </p:cNvPr>
          <p:cNvGrpSpPr/>
          <p:nvPr/>
        </p:nvGrpSpPr>
        <p:grpSpPr>
          <a:xfrm>
            <a:off x="2376359" y="5629807"/>
            <a:ext cx="1343377" cy="574781"/>
            <a:chOff x="1941366" y="5622598"/>
            <a:chExt cx="1343377" cy="574781"/>
          </a:xfrm>
        </p:grpSpPr>
        <p:pic>
          <p:nvPicPr>
            <p:cNvPr id="171" name="그림 170">
              <a:extLst>
                <a:ext uri="{FF2B5EF4-FFF2-40B4-BE49-F238E27FC236}">
                  <a16:creationId xmlns:a16="http://schemas.microsoft.com/office/drawing/2014/main" id="{D48D2C80-B68D-4C3C-9E9D-195DD3F1B68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01734" y="5632052"/>
              <a:ext cx="1283009" cy="565327"/>
            </a:xfrm>
            <a:prstGeom prst="rect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</p:pic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4EB09705-EC80-4E86-820B-36A3236730D5}"/>
                </a:ext>
              </a:extLst>
            </p:cNvPr>
            <p:cNvSpPr/>
            <p:nvPr/>
          </p:nvSpPr>
          <p:spPr>
            <a:xfrm>
              <a:off x="1941366" y="5622598"/>
              <a:ext cx="1301582" cy="574781"/>
            </a:xfrm>
            <a:prstGeom prst="rect">
              <a:avLst/>
            </a:prstGeom>
            <a:solidFill>
              <a:srgbClr val="FFFFFF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174" name="그룹 173">
              <a:extLst>
                <a:ext uri="{FF2B5EF4-FFF2-40B4-BE49-F238E27FC236}">
                  <a16:creationId xmlns:a16="http://schemas.microsoft.com/office/drawing/2014/main" id="{C8D2F3A3-8941-42FA-9DC9-26386FB73830}"/>
                </a:ext>
              </a:extLst>
            </p:cNvPr>
            <p:cNvGrpSpPr/>
            <p:nvPr/>
          </p:nvGrpSpPr>
          <p:grpSpPr>
            <a:xfrm>
              <a:off x="2483678" y="5671970"/>
              <a:ext cx="292384" cy="246968"/>
              <a:chOff x="2527622" y="5858437"/>
              <a:chExt cx="292384" cy="246968"/>
            </a:xfrm>
          </p:grpSpPr>
          <p:sp>
            <p:nvSpPr>
              <p:cNvPr id="176" name="사각형: 둥근 모서리 175">
                <a:extLst>
                  <a:ext uri="{FF2B5EF4-FFF2-40B4-BE49-F238E27FC236}">
                    <a16:creationId xmlns:a16="http://schemas.microsoft.com/office/drawing/2014/main" id="{0CCC2DF1-DD95-4998-9317-B80F4E8A4EAD}"/>
                  </a:ext>
                </a:extLst>
              </p:cNvPr>
              <p:cNvSpPr/>
              <p:nvPr/>
            </p:nvSpPr>
            <p:spPr>
              <a:xfrm>
                <a:off x="2527622" y="5858437"/>
                <a:ext cx="292384" cy="246968"/>
              </a:xfrm>
              <a:prstGeom prst="roundRect">
                <a:avLst>
                  <a:gd name="adj" fmla="val 10496"/>
                </a:avLst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177" name="그림 176">
                <a:extLst>
                  <a:ext uri="{FF2B5EF4-FFF2-40B4-BE49-F238E27FC236}">
                    <a16:creationId xmlns:a16="http://schemas.microsoft.com/office/drawing/2014/main" id="{CB09C877-9854-40DA-A3FB-A10EEB1329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561893" y="5875091"/>
                <a:ext cx="228288" cy="218205"/>
              </a:xfrm>
              <a:prstGeom prst="rect">
                <a:avLst/>
              </a:prstGeom>
            </p:spPr>
          </p:pic>
        </p:grpSp>
        <p:sp>
          <p:nvSpPr>
            <p:cNvPr id="175" name="직사각형 174">
              <a:extLst>
                <a:ext uri="{FF2B5EF4-FFF2-40B4-BE49-F238E27FC236}">
                  <a16:creationId xmlns:a16="http://schemas.microsoft.com/office/drawing/2014/main" id="{E7FAC319-A3BB-413B-A3B0-C0019D455A24}"/>
                </a:ext>
              </a:extLst>
            </p:cNvPr>
            <p:cNvSpPr/>
            <p:nvPr/>
          </p:nvSpPr>
          <p:spPr>
            <a:xfrm>
              <a:off x="2135823" y="5935838"/>
              <a:ext cx="988094" cy="18006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표이미지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변경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81450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340283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/>
        </p:nvGraphicFramePr>
        <p:xfrm>
          <a:off x="345126" y="1459939"/>
          <a:ext cx="8630652" cy="20758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29954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719818">
                  <a:extLst>
                    <a:ext uri="{9D8B030D-6E8A-4147-A177-3AD203B41FA5}">
                      <a16:colId xmlns:a16="http://schemas.microsoft.com/office/drawing/2014/main" val="3010769140"/>
                    </a:ext>
                  </a:extLst>
                </a:gridCol>
                <a:gridCol w="1295602">
                  <a:extLst>
                    <a:ext uri="{9D8B030D-6E8A-4147-A177-3AD203B41FA5}">
                      <a16:colId xmlns:a16="http://schemas.microsoft.com/office/drawing/2014/main" val="328249262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명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국내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언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1702917"/>
                  </a:ext>
                </a:extLst>
              </a:tr>
              <a:tr h="2409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3200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83089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토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6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5" name="직사각형 84">
            <a:extLst>
              <a:ext uri="{FF2B5EF4-FFF2-40B4-BE49-F238E27FC236}">
                <a16:creationId xmlns:a16="http://schemas.microsoft.com/office/drawing/2014/main" id="{C3E5D00F-CF4B-4C5E-BC5A-8812BEDD9341}"/>
              </a:ext>
            </a:extLst>
          </p:cNvPr>
          <p:cNvSpPr/>
          <p:nvPr/>
        </p:nvSpPr>
        <p:spPr>
          <a:xfrm>
            <a:off x="5740533" y="1499399"/>
            <a:ext cx="155822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73D7B8F0-497D-4292-9F8C-E0111B9E5BF1}"/>
              </a:ext>
            </a:extLst>
          </p:cNvPr>
          <p:cNvGrpSpPr/>
          <p:nvPr/>
        </p:nvGrpSpPr>
        <p:grpSpPr>
          <a:xfrm>
            <a:off x="1279606" y="1490439"/>
            <a:ext cx="2902293" cy="180527"/>
            <a:chOff x="1208287" y="1514945"/>
            <a:chExt cx="2902293" cy="180527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2CB77E35-E495-48AC-933C-78143479AE3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4105991-6501-4168-8BA9-5D85EFD54B0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2F827555-4081-4261-9A9A-2148AC4049B3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01070033-EF9A-4A47-9A9E-D68F061C2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FE848C4E-6177-4ED8-8E14-42C73B29F256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26FC3911-9203-4AAB-9BBC-4B1B8159950D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0DD98797-A83A-434A-AD2E-BE76B395A606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>
                <a:extLst>
                  <a:ext uri="{FF2B5EF4-FFF2-40B4-BE49-F238E27FC236}">
                    <a16:creationId xmlns:a16="http://schemas.microsoft.com/office/drawing/2014/main" id="{CE0F8CC6-8026-4DAE-B6B9-8F986ED1D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0864696-D459-493D-8276-58432E01067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1AEBCD28-21E8-4DCB-9908-E3B3888D7223}"/>
                </a:ext>
              </a:extLst>
            </p:cNvPr>
            <p:cNvSpPr/>
            <p:nvPr/>
          </p:nvSpPr>
          <p:spPr>
            <a:xfrm>
              <a:off x="3266019" y="1539451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64531E9B-E853-4BA8-9C7E-DD96517BE5AB}"/>
                </a:ext>
              </a:extLst>
            </p:cNvPr>
            <p:cNvGrpSpPr/>
            <p:nvPr/>
          </p:nvGrpSpPr>
          <p:grpSpPr>
            <a:xfrm>
              <a:off x="3146780" y="1535796"/>
              <a:ext cx="139353" cy="139353"/>
              <a:chOff x="3468417" y="1522489"/>
              <a:chExt cx="139353" cy="139353"/>
            </a:xfrm>
          </p:grpSpPr>
          <p:sp>
            <p:nvSpPr>
              <p:cNvPr id="27" name="사각형: 둥근 모서리 26">
                <a:extLst>
                  <a:ext uri="{FF2B5EF4-FFF2-40B4-BE49-F238E27FC236}">
                    <a16:creationId xmlns:a16="http://schemas.microsoft.com/office/drawing/2014/main" id="{61CF77A3-2790-4C21-A2D0-8F630BA4D7BC}"/>
                  </a:ext>
                </a:extLst>
              </p:cNvPr>
              <p:cNvSpPr/>
              <p:nvPr/>
            </p:nvSpPr>
            <p:spPr>
              <a:xfrm>
                <a:off x="3468417" y="1522489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29" name="그림 28">
                <a:extLst>
                  <a:ext uri="{FF2B5EF4-FFF2-40B4-BE49-F238E27FC236}">
                    <a16:creationId xmlns:a16="http://schemas.microsoft.com/office/drawing/2014/main" id="{028A3094-E2C4-41A8-9AA0-75EE7D45B7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493980" y="1556351"/>
                <a:ext cx="81910" cy="81910"/>
              </a:xfrm>
              <a:prstGeom prst="rect">
                <a:avLst/>
              </a:prstGeom>
            </p:spPr>
          </p:pic>
        </p:grp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6BC7ADE-7CA8-4D08-BC41-B046D960B4B0}"/>
                </a:ext>
              </a:extLst>
            </p:cNvPr>
            <p:cNvSpPr/>
            <p:nvPr/>
          </p:nvSpPr>
          <p:spPr>
            <a:xfrm>
              <a:off x="1208287" y="1522517"/>
              <a:ext cx="723126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7E22A3D3-8F70-4E7D-995D-32C1C218FF75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3BC5CA5-277D-4189-9026-ABF3CE1116E1}"/>
              </a:ext>
            </a:extLst>
          </p:cNvPr>
          <p:cNvSpPr/>
          <p:nvPr/>
        </p:nvSpPr>
        <p:spPr>
          <a:xfrm>
            <a:off x="1331353" y="1752634"/>
            <a:ext cx="1161087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271AAF07-5108-448C-B231-2D3CCF49DDD9}"/>
              </a:ext>
            </a:extLst>
          </p:cNvPr>
          <p:cNvSpPr/>
          <p:nvPr/>
        </p:nvSpPr>
        <p:spPr>
          <a:xfrm>
            <a:off x="2551283" y="1752634"/>
            <a:ext cx="1534558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D583D71-80BC-44E3-BBBA-468156B8DCEF}"/>
              </a:ext>
            </a:extLst>
          </p:cNvPr>
          <p:cNvGrpSpPr/>
          <p:nvPr/>
        </p:nvGrpSpPr>
        <p:grpSpPr>
          <a:xfrm>
            <a:off x="5740533" y="1745727"/>
            <a:ext cx="2197195" cy="174340"/>
            <a:chOff x="1331353" y="2500672"/>
            <a:chExt cx="2197195" cy="174340"/>
          </a:xfrm>
        </p:grpSpPr>
        <p:grpSp>
          <p:nvGrpSpPr>
            <p:cNvPr id="147" name="그룹 146">
              <a:extLst>
                <a:ext uri="{FF2B5EF4-FFF2-40B4-BE49-F238E27FC236}">
                  <a16:creationId xmlns:a16="http://schemas.microsoft.com/office/drawing/2014/main" id="{F3C9D234-C4EB-4B9F-8BC5-1E6366815967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148" name="직사각형 147">
                <a:extLst>
                  <a:ext uri="{FF2B5EF4-FFF2-40B4-BE49-F238E27FC236}">
                    <a16:creationId xmlns:a16="http://schemas.microsoft.com/office/drawing/2014/main" id="{655AA352-2DA6-431D-AD7F-3223454F19F8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AB1C29A6-4BC2-4430-8B1D-AA43C2E2300F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50" name="그룹 149">
              <a:extLst>
                <a:ext uri="{FF2B5EF4-FFF2-40B4-BE49-F238E27FC236}">
                  <a16:creationId xmlns:a16="http://schemas.microsoft.com/office/drawing/2014/main" id="{7471A3C8-86B5-42D4-834D-CE71FD5DB69B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FEAA70F7-32AC-447F-BAEB-66D8A1BB8B71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8317CF28-A034-4650-93EA-E46363CF0DB8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/>
        </p:nvGraphicFramePr>
        <p:xfrm>
          <a:off x="336268" y="3757182"/>
          <a:ext cx="8650567" cy="16532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7952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61078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794373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45533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708369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649869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469566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722157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830316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649941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721612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</a:tblGrid>
              <a:tr h="298415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01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PE00005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 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페이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E0010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ㆍ녹색성장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본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95" name="그룹 194">
            <a:extLst>
              <a:ext uri="{FF2B5EF4-FFF2-40B4-BE49-F238E27FC236}">
                <a16:creationId xmlns:a16="http://schemas.microsoft.com/office/drawing/2014/main" id="{D2FF3731-BF2B-48FA-A85A-30EEDCB62D51}"/>
              </a:ext>
            </a:extLst>
          </p:cNvPr>
          <p:cNvGrpSpPr/>
          <p:nvPr/>
        </p:nvGrpSpPr>
        <p:grpSpPr>
          <a:xfrm>
            <a:off x="7721704" y="2012797"/>
            <a:ext cx="1065951" cy="172800"/>
            <a:chOff x="1260034" y="1778319"/>
            <a:chExt cx="1065951" cy="172800"/>
          </a:xfrm>
        </p:grpSpPr>
        <p:sp>
          <p:nvSpPr>
            <p:cNvPr id="199" name="직사각형 198">
              <a:extLst>
                <a:ext uri="{FF2B5EF4-FFF2-40B4-BE49-F238E27FC236}">
                  <a16:creationId xmlns:a16="http://schemas.microsoft.com/office/drawing/2014/main" id="{C9EDE0D2-B965-4533-9205-6B2B860E1A71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00" name="직사각형 199">
              <a:extLst>
                <a:ext uri="{FF2B5EF4-FFF2-40B4-BE49-F238E27FC236}">
                  <a16:creationId xmlns:a16="http://schemas.microsoft.com/office/drawing/2014/main" id="{484EBEB5-AE92-423E-82D1-7BEC31B9E660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6FDA2DD1-BABC-494A-BAF4-8B80B9BE78FD}"/>
              </a:ext>
            </a:extLst>
          </p:cNvPr>
          <p:cNvGrpSpPr/>
          <p:nvPr/>
        </p:nvGrpSpPr>
        <p:grpSpPr>
          <a:xfrm>
            <a:off x="1320263" y="2999486"/>
            <a:ext cx="3676989" cy="176294"/>
            <a:chOff x="1334428" y="3000289"/>
            <a:chExt cx="3676989" cy="176294"/>
          </a:xfrm>
        </p:grpSpPr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29405672-7434-45AF-BF2E-91D670F7E03E}"/>
                </a:ext>
              </a:extLst>
            </p:cNvPr>
            <p:cNvSpPr/>
            <p:nvPr/>
          </p:nvSpPr>
          <p:spPr>
            <a:xfrm>
              <a:off x="1334428" y="3003783"/>
              <a:ext cx="346096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grpSp>
          <p:nvGrpSpPr>
            <p:cNvPr id="259" name="그룹 258">
              <a:extLst>
                <a:ext uri="{FF2B5EF4-FFF2-40B4-BE49-F238E27FC236}">
                  <a16:creationId xmlns:a16="http://schemas.microsoft.com/office/drawing/2014/main" id="{BD02B084-ABA8-4A19-9458-9EBFDA5D2560}"/>
                </a:ext>
              </a:extLst>
            </p:cNvPr>
            <p:cNvGrpSpPr/>
            <p:nvPr/>
          </p:nvGrpSpPr>
          <p:grpSpPr>
            <a:xfrm>
              <a:off x="4841945" y="3000289"/>
              <a:ext cx="169472" cy="169472"/>
              <a:chOff x="4841945" y="3000289"/>
              <a:chExt cx="169472" cy="169472"/>
            </a:xfrm>
          </p:grpSpPr>
          <p:sp>
            <p:nvSpPr>
              <p:cNvPr id="234" name="사각형: 둥근 모서리 233">
                <a:extLst>
                  <a:ext uri="{FF2B5EF4-FFF2-40B4-BE49-F238E27FC236}">
                    <a16:creationId xmlns:a16="http://schemas.microsoft.com/office/drawing/2014/main" id="{266CE57E-736D-4302-998F-397D939AEF19}"/>
                  </a:ext>
                </a:extLst>
              </p:cNvPr>
              <p:cNvSpPr/>
              <p:nvPr/>
            </p:nvSpPr>
            <p:spPr>
              <a:xfrm>
                <a:off x="4841945" y="3000289"/>
                <a:ext cx="169472" cy="169472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6" name="그림 235">
                <a:extLst>
                  <a:ext uri="{FF2B5EF4-FFF2-40B4-BE49-F238E27FC236}">
                    <a16:creationId xmlns:a16="http://schemas.microsoft.com/office/drawing/2014/main" id="{CBF49508-31A3-41B9-A7C1-178CE67FCA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57799" y="3008899"/>
                <a:ext cx="144016" cy="144016"/>
              </a:xfrm>
              <a:prstGeom prst="rect">
                <a:avLst/>
              </a:prstGeom>
            </p:spPr>
          </p:pic>
        </p:grpSp>
      </p:grpSp>
      <p:sp>
        <p:nvSpPr>
          <p:cNvPr id="237" name="직사각형 236">
            <a:extLst>
              <a:ext uri="{FF2B5EF4-FFF2-40B4-BE49-F238E27FC236}">
                <a16:creationId xmlns:a16="http://schemas.microsoft.com/office/drawing/2014/main" id="{A2422774-C518-4400-A03E-0B431DC56BB2}"/>
              </a:ext>
            </a:extLst>
          </p:cNvPr>
          <p:cNvSpPr/>
          <p:nvPr/>
        </p:nvSpPr>
        <p:spPr>
          <a:xfrm>
            <a:off x="1331352" y="2005431"/>
            <a:ext cx="159629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E2B63736-1B61-417B-A244-A2169D993191}"/>
              </a:ext>
            </a:extLst>
          </p:cNvPr>
          <p:cNvGrpSpPr/>
          <p:nvPr/>
        </p:nvGrpSpPr>
        <p:grpSpPr>
          <a:xfrm>
            <a:off x="5740533" y="2247017"/>
            <a:ext cx="1065951" cy="172800"/>
            <a:chOff x="1260034" y="1778319"/>
            <a:chExt cx="1065951" cy="172800"/>
          </a:xfrm>
        </p:grpSpPr>
        <p:sp>
          <p:nvSpPr>
            <p:cNvPr id="239" name="직사각형 238">
              <a:extLst>
                <a:ext uri="{FF2B5EF4-FFF2-40B4-BE49-F238E27FC236}">
                  <a16:creationId xmlns:a16="http://schemas.microsoft.com/office/drawing/2014/main" id="{FA4E2223-1DD4-4D4F-8B83-44925D2E5316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0" name="직사각형 239">
              <a:extLst>
                <a:ext uri="{FF2B5EF4-FFF2-40B4-BE49-F238E27FC236}">
                  <a16:creationId xmlns:a16="http://schemas.microsoft.com/office/drawing/2014/main" id="{7257429E-2A65-4FEF-9E79-31FDAAC07625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2CFC1E6E-8F0B-4450-BAF1-84CE7EC64C15}"/>
              </a:ext>
            </a:extLst>
          </p:cNvPr>
          <p:cNvGrpSpPr/>
          <p:nvPr/>
        </p:nvGrpSpPr>
        <p:grpSpPr>
          <a:xfrm>
            <a:off x="7721704" y="2243044"/>
            <a:ext cx="1065951" cy="172800"/>
            <a:chOff x="1260034" y="1778319"/>
            <a:chExt cx="1065951" cy="172800"/>
          </a:xfrm>
        </p:grpSpPr>
        <p:sp>
          <p:nvSpPr>
            <p:cNvPr id="242" name="직사각형 241">
              <a:extLst>
                <a:ext uri="{FF2B5EF4-FFF2-40B4-BE49-F238E27FC236}">
                  <a16:creationId xmlns:a16="http://schemas.microsoft.com/office/drawing/2014/main" id="{7E5A80AB-EA85-49C2-964E-E9E75BCFB6AE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4227F256-3E8D-42EB-9FDA-1674D512A4F2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44" name="표 66">
            <a:extLst>
              <a:ext uri="{FF2B5EF4-FFF2-40B4-BE49-F238E27FC236}">
                <a16:creationId xmlns:a16="http://schemas.microsoft.com/office/drawing/2014/main" id="{5E7F96FF-4465-4360-9046-6A1E4803731A}"/>
              </a:ext>
            </a:extLst>
          </p:cNvPr>
          <p:cNvGraphicFramePr>
            <a:graphicFrameLocks noGrp="1"/>
          </p:cNvGraphicFramePr>
          <p:nvPr/>
        </p:nvGraphicFramePr>
        <p:xfrm>
          <a:off x="841000" y="5530552"/>
          <a:ext cx="8140652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5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257909302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811645">
                  <a:extLst>
                    <a:ext uri="{9D8B030D-6E8A-4147-A177-3AD203B41FA5}">
                      <a16:colId xmlns:a16="http://schemas.microsoft.com/office/drawing/2014/main" val="3370459386"/>
                    </a:ext>
                  </a:extLst>
                </a:gridCol>
                <a:gridCol w="1348595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14256562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30630511"/>
                    </a:ext>
                  </a:extLst>
                </a:gridCol>
                <a:gridCol w="695187">
                  <a:extLst>
                    <a:ext uri="{9D8B030D-6E8A-4147-A177-3AD203B41FA5}">
                      <a16:colId xmlns:a16="http://schemas.microsoft.com/office/drawing/2014/main" val="2911285607"/>
                    </a:ext>
                  </a:extLst>
                </a:gridCol>
                <a:gridCol w="462273">
                  <a:extLst>
                    <a:ext uri="{9D8B030D-6E8A-4147-A177-3AD203B41FA5}">
                      <a16:colId xmlns:a16="http://schemas.microsoft.com/office/drawing/2014/main" val="1371808166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GRI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U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11-25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연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녹색성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245" name="화살표: 오른쪽 244">
            <a:extLst>
              <a:ext uri="{FF2B5EF4-FFF2-40B4-BE49-F238E27FC236}">
                <a16:creationId xmlns:a16="http://schemas.microsoft.com/office/drawing/2014/main" id="{4CBF2E6B-87FD-4AC9-B4FD-0076C6F9614A}"/>
              </a:ext>
            </a:extLst>
          </p:cNvPr>
          <p:cNvSpPr/>
          <p:nvPr/>
        </p:nvSpPr>
        <p:spPr>
          <a:xfrm>
            <a:off x="491484" y="5749067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376372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4108189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4113419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260" name="그룹 259">
            <a:extLst>
              <a:ext uri="{FF2B5EF4-FFF2-40B4-BE49-F238E27FC236}">
                <a16:creationId xmlns:a16="http://schemas.microsoft.com/office/drawing/2014/main" id="{B27B6193-9D81-4543-9504-15BE664E6B59}"/>
              </a:ext>
            </a:extLst>
          </p:cNvPr>
          <p:cNvGrpSpPr/>
          <p:nvPr/>
        </p:nvGrpSpPr>
        <p:grpSpPr>
          <a:xfrm>
            <a:off x="2952232" y="2006831"/>
            <a:ext cx="169472" cy="169472"/>
            <a:chOff x="4841945" y="3000289"/>
            <a:chExt cx="169472" cy="169472"/>
          </a:xfrm>
        </p:grpSpPr>
        <p:sp>
          <p:nvSpPr>
            <p:cNvPr id="261" name="사각형: 둥근 모서리 260">
              <a:extLst>
                <a:ext uri="{FF2B5EF4-FFF2-40B4-BE49-F238E27FC236}">
                  <a16:creationId xmlns:a16="http://schemas.microsoft.com/office/drawing/2014/main" id="{A21F50DD-2919-45C6-954E-E33DC1F7C48B}"/>
                </a:ext>
              </a:extLst>
            </p:cNvPr>
            <p:cNvSpPr/>
            <p:nvPr/>
          </p:nvSpPr>
          <p:spPr>
            <a:xfrm>
              <a:off x="4841945" y="3000289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62" name="그림 261">
              <a:extLst>
                <a:ext uri="{FF2B5EF4-FFF2-40B4-BE49-F238E27FC236}">
                  <a16:creationId xmlns:a16="http://schemas.microsoft.com/office/drawing/2014/main" id="{E19B243E-C650-4BE5-BE9F-2FC72E3FD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57799" y="3008899"/>
              <a:ext cx="144016" cy="144016"/>
            </a:xfrm>
            <a:prstGeom prst="rect">
              <a:avLst/>
            </a:prstGeom>
          </p:spPr>
        </p:pic>
      </p:grpSp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A25D0A63-881B-4E13-8FFD-B401C294364B}"/>
              </a:ext>
            </a:extLst>
          </p:cNvPr>
          <p:cNvGrpSpPr/>
          <p:nvPr/>
        </p:nvGrpSpPr>
        <p:grpSpPr>
          <a:xfrm>
            <a:off x="1325770" y="2245477"/>
            <a:ext cx="2197195" cy="174340"/>
            <a:chOff x="1331353" y="2500672"/>
            <a:chExt cx="2197195" cy="174340"/>
          </a:xfrm>
        </p:grpSpPr>
        <p:grpSp>
          <p:nvGrpSpPr>
            <p:cNvPr id="264" name="그룹 263">
              <a:extLst>
                <a:ext uri="{FF2B5EF4-FFF2-40B4-BE49-F238E27FC236}">
                  <a16:creationId xmlns:a16="http://schemas.microsoft.com/office/drawing/2014/main" id="{C4074594-5306-4BFB-AFCB-C788A7BA59AA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268" name="직사각형 267">
                <a:extLst>
                  <a:ext uri="{FF2B5EF4-FFF2-40B4-BE49-F238E27FC236}">
                    <a16:creationId xmlns:a16="http://schemas.microsoft.com/office/drawing/2014/main" id="{0B445854-7857-4266-8E76-E1BB8D79C420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9" name="직사각형 268">
                <a:extLst>
                  <a:ext uri="{FF2B5EF4-FFF2-40B4-BE49-F238E27FC236}">
                    <a16:creationId xmlns:a16="http://schemas.microsoft.com/office/drawing/2014/main" id="{086DAF83-B2D9-49AE-87C9-F7401679FEDA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265" name="그룹 264">
              <a:extLst>
                <a:ext uri="{FF2B5EF4-FFF2-40B4-BE49-F238E27FC236}">
                  <a16:creationId xmlns:a16="http://schemas.microsoft.com/office/drawing/2014/main" id="{F258107B-C617-455A-8271-DC7E8144FE38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266" name="직사각형 265">
                <a:extLst>
                  <a:ext uri="{FF2B5EF4-FFF2-40B4-BE49-F238E27FC236}">
                    <a16:creationId xmlns:a16="http://schemas.microsoft.com/office/drawing/2014/main" id="{E5104259-D520-4F5B-B718-068A82B5BB1C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7" name="직사각형 266">
                <a:extLst>
                  <a:ext uri="{FF2B5EF4-FFF2-40B4-BE49-F238E27FC236}">
                    <a16:creationId xmlns:a16="http://schemas.microsoft.com/office/drawing/2014/main" id="{46491C19-D344-4AFD-879B-BE5FB1F08ECF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271" name="사각형: 둥근 모서리 270">
            <a:extLst>
              <a:ext uri="{FF2B5EF4-FFF2-40B4-BE49-F238E27FC236}">
                <a16:creationId xmlns:a16="http://schemas.microsoft.com/office/drawing/2014/main" id="{98A9715A-D77F-4BC0-A002-EECE7E330985}"/>
              </a:ext>
            </a:extLst>
          </p:cNvPr>
          <p:cNvSpPr/>
          <p:nvPr/>
        </p:nvSpPr>
        <p:spPr>
          <a:xfrm>
            <a:off x="443824" y="46268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2" name="사각형: 둥근 모서리 271">
            <a:extLst>
              <a:ext uri="{FF2B5EF4-FFF2-40B4-BE49-F238E27FC236}">
                <a16:creationId xmlns:a16="http://schemas.microsoft.com/office/drawing/2014/main" id="{C21EF9C1-0EDA-4694-84B7-376355ED2FF0}"/>
              </a:ext>
            </a:extLst>
          </p:cNvPr>
          <p:cNvSpPr/>
          <p:nvPr/>
        </p:nvSpPr>
        <p:spPr>
          <a:xfrm>
            <a:off x="443824" y="5048569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3" name="사각형: 둥근 모서리 272">
            <a:extLst>
              <a:ext uri="{FF2B5EF4-FFF2-40B4-BE49-F238E27FC236}">
                <a16:creationId xmlns:a16="http://schemas.microsoft.com/office/drawing/2014/main" id="{F1BF2076-BF45-4989-A3B3-9AC3C1AA753C}"/>
              </a:ext>
            </a:extLst>
          </p:cNvPr>
          <p:cNvSpPr/>
          <p:nvPr/>
        </p:nvSpPr>
        <p:spPr>
          <a:xfrm>
            <a:off x="443824" y="48422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B705B3E0-8595-4AB6-BF6A-E598A59A65A7}"/>
              </a:ext>
            </a:extLst>
          </p:cNvPr>
          <p:cNvSpPr/>
          <p:nvPr/>
        </p:nvSpPr>
        <p:spPr>
          <a:xfrm>
            <a:off x="443824" y="526057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5" name="사각형: 둥근 모서리 274">
            <a:extLst>
              <a:ext uri="{FF2B5EF4-FFF2-40B4-BE49-F238E27FC236}">
                <a16:creationId xmlns:a16="http://schemas.microsoft.com/office/drawing/2014/main" id="{81ED1F1B-7A87-48F3-839C-9DC9B3A967AC}"/>
              </a:ext>
            </a:extLst>
          </p:cNvPr>
          <p:cNvSpPr/>
          <p:nvPr/>
        </p:nvSpPr>
        <p:spPr>
          <a:xfrm>
            <a:off x="8232954" y="3822780"/>
            <a:ext cx="671358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태변경</a:t>
            </a:r>
          </a:p>
        </p:txBody>
      </p:sp>
      <p:grpSp>
        <p:nvGrpSpPr>
          <p:cNvPr id="276" name="그룹 275">
            <a:extLst>
              <a:ext uri="{FF2B5EF4-FFF2-40B4-BE49-F238E27FC236}">
                <a16:creationId xmlns:a16="http://schemas.microsoft.com/office/drawing/2014/main" id="{AF3F1031-5831-414E-91D5-AC0D4231195D}"/>
              </a:ext>
            </a:extLst>
          </p:cNvPr>
          <p:cNvGrpSpPr/>
          <p:nvPr/>
        </p:nvGrpSpPr>
        <p:grpSpPr>
          <a:xfrm>
            <a:off x="7477874" y="3818717"/>
            <a:ext cx="696669" cy="172800"/>
            <a:chOff x="1260033" y="1778319"/>
            <a:chExt cx="696669" cy="172800"/>
          </a:xfrm>
        </p:grpSpPr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01EC4F23-92CE-4F5C-AAD1-4F9A2F49675E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비공개</a:t>
              </a:r>
            </a:p>
          </p:txBody>
        </p:sp>
        <p:sp>
          <p:nvSpPr>
            <p:cNvPr id="278" name="직사각형 277">
              <a:extLst>
                <a:ext uri="{FF2B5EF4-FFF2-40B4-BE49-F238E27FC236}">
                  <a16:creationId xmlns:a16="http://schemas.microsoft.com/office/drawing/2014/main" id="{924BC30D-9662-4D5E-A0B5-BB84C023CB0E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6167D580-BED1-4C6A-9F13-6B0C15EECDCF}"/>
              </a:ext>
            </a:extLst>
          </p:cNvPr>
          <p:cNvSpPr/>
          <p:nvPr/>
        </p:nvSpPr>
        <p:spPr>
          <a:xfrm>
            <a:off x="335820" y="613069"/>
            <a:ext cx="8659717" cy="6063912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AA9C9DEA-473C-4E3B-9F41-445ABE86D84A}"/>
              </a:ext>
            </a:extLst>
          </p:cNvPr>
          <p:cNvGrpSpPr/>
          <p:nvPr/>
        </p:nvGrpSpPr>
        <p:grpSpPr>
          <a:xfrm>
            <a:off x="1517359" y="2154868"/>
            <a:ext cx="983380" cy="172800"/>
            <a:chOff x="1260034" y="1778319"/>
            <a:chExt cx="983380" cy="172800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FB11BC6B-F3A0-4A31-93FA-C8838B8BDF14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378C91FA-71B0-4C0F-B3B5-960E3377323A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59DA8D23-56BC-4374-95F9-8977EDF45CD7}"/>
              </a:ext>
            </a:extLst>
          </p:cNvPr>
          <p:cNvSpPr/>
          <p:nvPr/>
        </p:nvSpPr>
        <p:spPr>
          <a:xfrm>
            <a:off x="1503502" y="1619563"/>
            <a:ext cx="457977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ttps://url.kr/vgp92r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2C3F1AA2-101D-46FE-ADBF-C63E8352E80D}"/>
              </a:ext>
            </a:extLst>
          </p:cNvPr>
          <p:cNvSpPr/>
          <p:nvPr/>
        </p:nvSpPr>
        <p:spPr>
          <a:xfrm>
            <a:off x="1513734" y="1880694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6652001C-4C08-4874-B953-760D661C93B3}"/>
              </a:ext>
            </a:extLst>
          </p:cNvPr>
          <p:cNvSpPr/>
          <p:nvPr/>
        </p:nvSpPr>
        <p:spPr>
          <a:xfrm>
            <a:off x="3360557" y="1879704"/>
            <a:ext cx="169472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8" name="그림 97">
            <a:extLst>
              <a:ext uri="{FF2B5EF4-FFF2-40B4-BE49-F238E27FC236}">
                <a16:creationId xmlns:a16="http://schemas.microsoft.com/office/drawing/2014/main" id="{E511A56B-88AF-41A4-97B1-98C77C6F9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76411" y="1888314"/>
            <a:ext cx="144016" cy="144016"/>
          </a:xfrm>
          <a:prstGeom prst="rect">
            <a:avLst/>
          </a:prstGeom>
        </p:spPr>
      </p:pic>
      <p:grpSp>
        <p:nvGrpSpPr>
          <p:cNvPr id="99" name="그룹 98">
            <a:extLst>
              <a:ext uri="{FF2B5EF4-FFF2-40B4-BE49-F238E27FC236}">
                <a16:creationId xmlns:a16="http://schemas.microsoft.com/office/drawing/2014/main" id="{CC06B9F3-8B6E-4431-AAD0-5888EDF47775}"/>
              </a:ext>
            </a:extLst>
          </p:cNvPr>
          <p:cNvGrpSpPr/>
          <p:nvPr/>
        </p:nvGrpSpPr>
        <p:grpSpPr>
          <a:xfrm>
            <a:off x="2557641" y="2152770"/>
            <a:ext cx="1067418" cy="172800"/>
            <a:chOff x="1260034" y="1778319"/>
            <a:chExt cx="1067418" cy="172800"/>
          </a:xfrm>
        </p:grpSpPr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A18AA7BE-8D64-4D94-B0A6-03C86CCA3F5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82EAE134-3561-4DFE-9241-11597801EDC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8D177732-ABB6-4955-BCF1-A1DD0332F462}"/>
              </a:ext>
            </a:extLst>
          </p:cNvPr>
          <p:cNvSpPr/>
          <p:nvPr/>
        </p:nvSpPr>
        <p:spPr>
          <a:xfrm>
            <a:off x="1155954" y="975708"/>
            <a:ext cx="7183959" cy="554962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2453A24F-CC26-4BBD-B74F-DD677F9EDDDE}"/>
              </a:ext>
            </a:extLst>
          </p:cNvPr>
          <p:cNvSpPr/>
          <p:nvPr/>
        </p:nvSpPr>
        <p:spPr>
          <a:xfrm>
            <a:off x="1155954" y="759198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상세 조회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4" name="표 12">
            <a:extLst>
              <a:ext uri="{FF2B5EF4-FFF2-40B4-BE49-F238E27FC236}">
                <a16:creationId xmlns:a16="http://schemas.microsoft.com/office/drawing/2014/main" id="{06E4FAD8-8B7A-4205-9C11-D74B15263D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4117458"/>
              </p:ext>
            </p:extLst>
          </p:nvPr>
        </p:nvGraphicFramePr>
        <p:xfrm>
          <a:off x="1209262" y="1105312"/>
          <a:ext cx="7118986" cy="260847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8747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209068">
                  <a:extLst>
                    <a:ext uri="{9D8B030D-6E8A-4147-A177-3AD203B41FA5}">
                      <a16:colId xmlns:a16="http://schemas.microsoft.com/office/drawing/2014/main" val="713958032"/>
                    </a:ext>
                  </a:extLst>
                </a:gridCol>
                <a:gridCol w="762699">
                  <a:extLst>
                    <a:ext uri="{9D8B030D-6E8A-4147-A177-3AD203B41FA5}">
                      <a16:colId xmlns:a16="http://schemas.microsoft.com/office/drawing/2014/main" val="1632271762"/>
                    </a:ext>
                  </a:extLst>
                </a:gridCol>
                <a:gridCol w="277658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442422">
                  <a:extLst>
                    <a:ext uri="{9D8B030D-6E8A-4147-A177-3AD203B41FA5}">
                      <a16:colId xmlns:a16="http://schemas.microsoft.com/office/drawing/2014/main" val="614263173"/>
                    </a:ext>
                  </a:extLst>
                </a:gridCol>
                <a:gridCol w="989053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667131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  <a:gridCol w="486000">
                  <a:extLst>
                    <a:ext uri="{9D8B030D-6E8A-4147-A177-3AD203B41FA5}">
                      <a16:colId xmlns:a16="http://schemas.microsoft.com/office/drawing/2014/main" val="1801343721"/>
                    </a:ext>
                  </a:extLst>
                </a:gridCol>
                <a:gridCol w="954208">
                  <a:extLst>
                    <a:ext uri="{9D8B030D-6E8A-4147-A177-3AD203B41FA5}">
                      <a16:colId xmlns:a16="http://schemas.microsoft.com/office/drawing/2014/main" val="4291524393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둥록방식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MIP0001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235077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로드 파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형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6641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32561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en-US" altLang="ko-KR" sz="800" dirty="0"/>
                        <a:t>ESG</a:t>
                      </a:r>
                      <a:r>
                        <a:rPr lang="ko-KR" altLang="en-US" sz="800" dirty="0"/>
                        <a:t>일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전체열람허용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일부공개    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 가능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2585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경영보고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SR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3F35BE15-2520-45CC-8D33-6AFCEEFCA209}"/>
              </a:ext>
            </a:extLst>
          </p:cNvPr>
          <p:cNvSpPr/>
          <p:nvPr/>
        </p:nvSpPr>
        <p:spPr>
          <a:xfrm>
            <a:off x="2180658" y="1696780"/>
            <a:ext cx="28165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중립의 이해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mp4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7484738A-0DD4-4571-8216-831883C18413}"/>
              </a:ext>
            </a:extLst>
          </p:cNvPr>
          <p:cNvSpPr/>
          <p:nvPr/>
        </p:nvSpPr>
        <p:spPr>
          <a:xfrm>
            <a:off x="5034564" y="1696335"/>
            <a:ext cx="606037" cy="17844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파일선택</a:t>
            </a: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AC8ACF09-04F3-417D-B11E-2D3CAA95C435}"/>
              </a:ext>
            </a:extLst>
          </p:cNvPr>
          <p:cNvSpPr/>
          <p:nvPr/>
        </p:nvSpPr>
        <p:spPr>
          <a:xfrm>
            <a:off x="6501580" y="1696330"/>
            <a:ext cx="348293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mp4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C42775B7-06D7-467D-953E-BC23FB502812}"/>
              </a:ext>
            </a:extLst>
          </p:cNvPr>
          <p:cNvSpPr/>
          <p:nvPr/>
        </p:nvSpPr>
        <p:spPr>
          <a:xfrm>
            <a:off x="2177163" y="1424890"/>
            <a:ext cx="347240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중립의 이해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B286242F-04F3-4A95-B808-632EDE63734E}"/>
              </a:ext>
            </a:extLst>
          </p:cNvPr>
          <p:cNvGrpSpPr/>
          <p:nvPr/>
        </p:nvGrpSpPr>
        <p:grpSpPr>
          <a:xfrm>
            <a:off x="2172367" y="2225136"/>
            <a:ext cx="1573996" cy="178503"/>
            <a:chOff x="6534977" y="1948717"/>
            <a:chExt cx="1573996" cy="178503"/>
          </a:xfrm>
        </p:grpSpPr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112F7305-1215-48A4-B037-1E684701A965}"/>
                </a:ext>
              </a:extLst>
            </p:cNvPr>
            <p:cNvGrpSpPr/>
            <p:nvPr/>
          </p:nvGrpSpPr>
          <p:grpSpPr>
            <a:xfrm>
              <a:off x="6534977" y="1954420"/>
              <a:ext cx="589035" cy="172800"/>
              <a:chOff x="1260034" y="1778319"/>
              <a:chExt cx="589035" cy="172800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2D8A0290-317D-4023-AA70-3102C7993AE3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373011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선택</a:t>
                </a: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04744306-8C78-4014-9BD4-FC78D2B2EDBA}"/>
                  </a:ext>
                </a:extLst>
              </p:cNvPr>
              <p:cNvSpPr/>
              <p:nvPr/>
            </p:nvSpPr>
            <p:spPr>
              <a:xfrm>
                <a:off x="1633045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169ED6AB-A268-46F6-97B8-56311D1D15F5}"/>
                </a:ext>
              </a:extLst>
            </p:cNvPr>
            <p:cNvSpPr/>
            <p:nvPr/>
          </p:nvSpPr>
          <p:spPr>
            <a:xfrm>
              <a:off x="7176340" y="1948717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F43185CC-8F18-4268-8EA9-2F83EEA88FE4}"/>
                </a:ext>
              </a:extLst>
            </p:cNvPr>
            <p:cNvSpPr/>
            <p:nvPr/>
          </p:nvSpPr>
          <p:spPr>
            <a:xfrm>
              <a:off x="7578871" y="1948717"/>
              <a:ext cx="247012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09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6" name="직사각형 115">
              <a:extLst>
                <a:ext uri="{FF2B5EF4-FFF2-40B4-BE49-F238E27FC236}">
                  <a16:creationId xmlns:a16="http://schemas.microsoft.com/office/drawing/2014/main" id="{E4B9708C-8C77-4298-95C5-4C349DE0A312}"/>
                </a:ext>
              </a:extLst>
            </p:cNvPr>
            <p:cNvSpPr/>
            <p:nvPr/>
          </p:nvSpPr>
          <p:spPr>
            <a:xfrm>
              <a:off x="7861961" y="1948717"/>
              <a:ext cx="247012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0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D60B3830-207A-47F5-8601-C55711AA7AC6}"/>
              </a:ext>
            </a:extLst>
          </p:cNvPr>
          <p:cNvSpPr/>
          <p:nvPr/>
        </p:nvSpPr>
        <p:spPr>
          <a:xfrm>
            <a:off x="2175577" y="1963742"/>
            <a:ext cx="122385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0" name="그룹 119">
            <a:extLst>
              <a:ext uri="{FF2B5EF4-FFF2-40B4-BE49-F238E27FC236}">
                <a16:creationId xmlns:a16="http://schemas.microsoft.com/office/drawing/2014/main" id="{6DC0992A-B5C6-4F16-A9DC-3FB3D6394528}"/>
              </a:ext>
            </a:extLst>
          </p:cNvPr>
          <p:cNvGrpSpPr/>
          <p:nvPr/>
        </p:nvGrpSpPr>
        <p:grpSpPr>
          <a:xfrm>
            <a:off x="3421975" y="1963203"/>
            <a:ext cx="169472" cy="169472"/>
            <a:chOff x="3180922" y="2352202"/>
            <a:chExt cx="169472" cy="169472"/>
          </a:xfrm>
        </p:grpSpPr>
        <p:sp>
          <p:nvSpPr>
            <p:cNvPr id="121" name="사각형: 둥근 모서리 120">
              <a:extLst>
                <a:ext uri="{FF2B5EF4-FFF2-40B4-BE49-F238E27FC236}">
                  <a16:creationId xmlns:a16="http://schemas.microsoft.com/office/drawing/2014/main" id="{9CA4321F-C82C-4CBB-87A2-9574FA29F18D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22" name="그림 121">
              <a:extLst>
                <a:ext uri="{FF2B5EF4-FFF2-40B4-BE49-F238E27FC236}">
                  <a16:creationId xmlns:a16="http://schemas.microsoft.com/office/drawing/2014/main" id="{E5B1750D-A4CE-4693-ADA3-615B910F82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3453809A-5A54-4C89-9EDE-A49FFB3C5AFF}"/>
              </a:ext>
            </a:extLst>
          </p:cNvPr>
          <p:cNvGrpSpPr/>
          <p:nvPr/>
        </p:nvGrpSpPr>
        <p:grpSpPr>
          <a:xfrm>
            <a:off x="6506870" y="1959073"/>
            <a:ext cx="1065951" cy="172800"/>
            <a:chOff x="1260034" y="1778319"/>
            <a:chExt cx="1065951" cy="172800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90C317B3-BBA0-4172-8651-08E56617FB3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D08DF1B3-6E22-494C-A29E-78EC385732DB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F2590DB0-774A-4A8F-A06D-7ECCF9858635}"/>
              </a:ext>
            </a:extLst>
          </p:cNvPr>
          <p:cNvGrpSpPr/>
          <p:nvPr/>
        </p:nvGrpSpPr>
        <p:grpSpPr>
          <a:xfrm>
            <a:off x="4827780" y="2819231"/>
            <a:ext cx="2690918" cy="344110"/>
            <a:chOff x="4535523" y="2728440"/>
            <a:chExt cx="2690918" cy="344110"/>
          </a:xfrm>
        </p:grpSpPr>
        <p:grpSp>
          <p:nvGrpSpPr>
            <p:cNvPr id="127" name="그룹 126">
              <a:extLst>
                <a:ext uri="{FF2B5EF4-FFF2-40B4-BE49-F238E27FC236}">
                  <a16:creationId xmlns:a16="http://schemas.microsoft.com/office/drawing/2014/main" id="{CF94A234-9326-4275-9324-CD18AD11CE5C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40" name="그룹 139">
                <a:extLst>
                  <a:ext uri="{FF2B5EF4-FFF2-40B4-BE49-F238E27FC236}">
                    <a16:creationId xmlns:a16="http://schemas.microsoft.com/office/drawing/2014/main" id="{E2C4E60B-1A9C-441B-8A71-DF9B580B2D61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46" name="직사각형 145">
                  <a:extLst>
                    <a:ext uri="{FF2B5EF4-FFF2-40B4-BE49-F238E27FC236}">
                      <a16:creationId xmlns:a16="http://schemas.microsoft.com/office/drawing/2014/main" id="{08C317B3-1058-4E84-8EBF-1497C7ECE5C6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53" name="직사각형 152">
                  <a:extLst>
                    <a:ext uri="{FF2B5EF4-FFF2-40B4-BE49-F238E27FC236}">
                      <a16:creationId xmlns:a16="http://schemas.microsoft.com/office/drawing/2014/main" id="{4D9F4B59-EF73-4BDA-B1F6-4B2AFA0C5112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54" name="그림 153">
                  <a:extLst>
                    <a:ext uri="{FF2B5EF4-FFF2-40B4-BE49-F238E27FC236}">
                      <a16:creationId xmlns:a16="http://schemas.microsoft.com/office/drawing/2014/main" id="{1A0892AB-05C0-4493-A59B-70619CEEFD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41" name="직사각형 140">
                <a:extLst>
                  <a:ext uri="{FF2B5EF4-FFF2-40B4-BE49-F238E27FC236}">
                    <a16:creationId xmlns:a16="http://schemas.microsoft.com/office/drawing/2014/main" id="{F2A0A2A4-D5EE-467B-B872-BE2B046ABEBE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42" name="직사각형 141">
                <a:extLst>
                  <a:ext uri="{FF2B5EF4-FFF2-40B4-BE49-F238E27FC236}">
                    <a16:creationId xmlns:a16="http://schemas.microsoft.com/office/drawing/2014/main" id="{319B190E-034B-44CA-AF2E-447EE7A5E03A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908CC37C-E285-454D-BFAC-AA9CDC743E76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53419FE7-13A1-4055-9258-4AAD6239FF2C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FE681D80-2F1F-47E7-993B-973570B48C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8" name="그룹 127">
              <a:extLst>
                <a:ext uri="{FF2B5EF4-FFF2-40B4-BE49-F238E27FC236}">
                  <a16:creationId xmlns:a16="http://schemas.microsoft.com/office/drawing/2014/main" id="{7B6FB4CF-EE55-410F-B75B-E50FB278CDE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32" name="그룹 131">
                <a:extLst>
                  <a:ext uri="{FF2B5EF4-FFF2-40B4-BE49-F238E27FC236}">
                    <a16:creationId xmlns:a16="http://schemas.microsoft.com/office/drawing/2014/main" id="{799F9A00-6712-49E6-9AFD-944FADD206FF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37" name="직사각형 136">
                  <a:extLst>
                    <a:ext uri="{FF2B5EF4-FFF2-40B4-BE49-F238E27FC236}">
                      <a16:creationId xmlns:a16="http://schemas.microsoft.com/office/drawing/2014/main" id="{382B2836-464A-402D-B646-0FC0EE3BC66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38" name="직사각형 137">
                  <a:extLst>
                    <a:ext uri="{FF2B5EF4-FFF2-40B4-BE49-F238E27FC236}">
                      <a16:creationId xmlns:a16="http://schemas.microsoft.com/office/drawing/2014/main" id="{31C8660C-A723-43C7-B531-683C10C405E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39" name="그림 138">
                  <a:extLst>
                    <a:ext uri="{FF2B5EF4-FFF2-40B4-BE49-F238E27FC236}">
                      <a16:creationId xmlns:a16="http://schemas.microsoft.com/office/drawing/2014/main" id="{ED3B4726-8BE0-4F67-8699-9374631AF6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BCE92AD9-DCA4-4613-83EF-581A263F0A3F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A84BD1C8-BC7A-46E1-B0EF-F7287E73868A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48B3CCB7-F183-4318-BC5E-E58ABD6BC92F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6" name="직사각형 135">
                <a:extLst>
                  <a:ext uri="{FF2B5EF4-FFF2-40B4-BE49-F238E27FC236}">
                    <a16:creationId xmlns:a16="http://schemas.microsoft.com/office/drawing/2014/main" id="{3E857AD3-1A21-4F62-999B-28A665C2750B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FE47809C-2B43-48BE-95F5-1AE2C8228552}"/>
                </a:ext>
              </a:extLst>
            </p:cNvPr>
            <p:cNvSpPr/>
            <p:nvPr/>
          </p:nvSpPr>
          <p:spPr>
            <a:xfrm>
              <a:off x="4679338" y="2728440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30" name="사각형: 둥근 모서리 129">
              <a:extLst>
                <a:ext uri="{FF2B5EF4-FFF2-40B4-BE49-F238E27FC236}">
                  <a16:creationId xmlns:a16="http://schemas.microsoft.com/office/drawing/2014/main" id="{CBE7BEA6-4EEF-49E9-8AF6-3E00B19C7AD0}"/>
                </a:ext>
              </a:extLst>
            </p:cNvPr>
            <p:cNvSpPr/>
            <p:nvPr/>
          </p:nvSpPr>
          <p:spPr>
            <a:xfrm>
              <a:off x="4598196" y="2732276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1" name="그림 130">
              <a:extLst>
                <a:ext uri="{FF2B5EF4-FFF2-40B4-BE49-F238E27FC236}">
                  <a16:creationId xmlns:a16="http://schemas.microsoft.com/office/drawing/2014/main" id="{765F1F28-C269-4CCA-90CC-A18D67084F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23759" y="2766138"/>
              <a:ext cx="81910" cy="81910"/>
            </a:xfrm>
            <a:prstGeom prst="rect">
              <a:avLst/>
            </a:prstGeom>
          </p:spPr>
        </p:pic>
      </p:grp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7BD0306B-4B45-4721-BA3B-179B6B1EEFF8}"/>
              </a:ext>
            </a:extLst>
          </p:cNvPr>
          <p:cNvSpPr/>
          <p:nvPr/>
        </p:nvSpPr>
        <p:spPr>
          <a:xfrm>
            <a:off x="4879527" y="1959875"/>
            <a:ext cx="793846" cy="1728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외</a:t>
            </a:r>
          </a:p>
        </p:txBody>
      </p:sp>
      <p:grpSp>
        <p:nvGrpSpPr>
          <p:cNvPr id="165" name="그룹 164">
            <a:extLst>
              <a:ext uri="{FF2B5EF4-FFF2-40B4-BE49-F238E27FC236}">
                <a16:creationId xmlns:a16="http://schemas.microsoft.com/office/drawing/2014/main" id="{F760E396-3C63-4DA7-B9A4-247137213256}"/>
              </a:ext>
            </a:extLst>
          </p:cNvPr>
          <p:cNvGrpSpPr/>
          <p:nvPr/>
        </p:nvGrpSpPr>
        <p:grpSpPr>
          <a:xfrm>
            <a:off x="6508217" y="1408277"/>
            <a:ext cx="1065951" cy="172800"/>
            <a:chOff x="1260034" y="1778319"/>
            <a:chExt cx="1065951" cy="172800"/>
          </a:xfrm>
        </p:grpSpPr>
        <p:sp>
          <p:nvSpPr>
            <p:cNvPr id="167" name="직사각형 166">
              <a:extLst>
                <a:ext uri="{FF2B5EF4-FFF2-40B4-BE49-F238E27FC236}">
                  <a16:creationId xmlns:a16="http://schemas.microsoft.com/office/drawing/2014/main" id="{B92FC971-0375-4395-8122-2FAFC8F7832D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용중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8" name="직사각형 167">
              <a:extLst>
                <a:ext uri="{FF2B5EF4-FFF2-40B4-BE49-F238E27FC236}">
                  <a16:creationId xmlns:a16="http://schemas.microsoft.com/office/drawing/2014/main" id="{3114A6C9-37E5-4229-9FD1-039CE16EA467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71" name="직사각형 170">
            <a:extLst>
              <a:ext uri="{FF2B5EF4-FFF2-40B4-BE49-F238E27FC236}">
                <a16:creationId xmlns:a16="http://schemas.microsoft.com/office/drawing/2014/main" id="{858C2A8F-C014-4640-AD5A-B1B10FBB9921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업로드형</a:t>
            </a:r>
          </a:p>
        </p:txBody>
      </p:sp>
      <p:sp>
        <p:nvSpPr>
          <p:cNvPr id="172" name="직사각형 171">
            <a:extLst>
              <a:ext uri="{FF2B5EF4-FFF2-40B4-BE49-F238E27FC236}">
                <a16:creationId xmlns:a16="http://schemas.microsoft.com/office/drawing/2014/main" id="{86D90857-66EE-4CDF-86E3-AB7FDDDBA843}"/>
              </a:ext>
            </a:extLst>
          </p:cNvPr>
          <p:cNvSpPr/>
          <p:nvPr/>
        </p:nvSpPr>
        <p:spPr>
          <a:xfrm>
            <a:off x="1205545" y="1098458"/>
            <a:ext cx="7127072" cy="814504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pSp>
        <p:nvGrpSpPr>
          <p:cNvPr id="164" name="그룹 163">
            <a:extLst>
              <a:ext uri="{FF2B5EF4-FFF2-40B4-BE49-F238E27FC236}">
                <a16:creationId xmlns:a16="http://schemas.microsoft.com/office/drawing/2014/main" id="{C6F39935-3323-4C79-A405-96B0A2DBB435}"/>
              </a:ext>
            </a:extLst>
          </p:cNvPr>
          <p:cNvGrpSpPr/>
          <p:nvPr/>
        </p:nvGrpSpPr>
        <p:grpSpPr>
          <a:xfrm>
            <a:off x="7412227" y="1693734"/>
            <a:ext cx="860019" cy="181050"/>
            <a:chOff x="8027982" y="1823592"/>
            <a:chExt cx="860019" cy="181050"/>
          </a:xfrm>
        </p:grpSpPr>
        <p:sp>
          <p:nvSpPr>
            <p:cNvPr id="170" name="직사각형 169">
              <a:extLst>
                <a:ext uri="{FF2B5EF4-FFF2-40B4-BE49-F238E27FC236}">
                  <a16:creationId xmlns:a16="http://schemas.microsoft.com/office/drawing/2014/main" id="{D929ED80-9972-4D60-B38F-7CF9B1CFA0FA}"/>
                </a:ext>
              </a:extLst>
            </p:cNvPr>
            <p:cNvSpPr/>
            <p:nvPr/>
          </p:nvSpPr>
          <p:spPr>
            <a:xfrm>
              <a:off x="8027982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HH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C9D8DFFB-B324-4969-B101-E2CB9D72C9BD}"/>
                </a:ext>
              </a:extLst>
            </p:cNvPr>
            <p:cNvSpPr/>
            <p:nvPr/>
          </p:nvSpPr>
          <p:spPr>
            <a:xfrm>
              <a:off x="8345371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MM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7" name="직사각형 176">
              <a:extLst>
                <a:ext uri="{FF2B5EF4-FFF2-40B4-BE49-F238E27FC236}">
                  <a16:creationId xmlns:a16="http://schemas.microsoft.com/office/drawing/2014/main" id="{F6A5CBB2-2B08-4208-A191-BEA3DD6B254C}"/>
                </a:ext>
              </a:extLst>
            </p:cNvPr>
            <p:cNvSpPr/>
            <p:nvPr/>
          </p:nvSpPr>
          <p:spPr>
            <a:xfrm>
              <a:off x="8662684" y="1831842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S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8" name="직사각형 177">
              <a:extLst>
                <a:ext uri="{FF2B5EF4-FFF2-40B4-BE49-F238E27FC236}">
                  <a16:creationId xmlns:a16="http://schemas.microsoft.com/office/drawing/2014/main" id="{59965686-3E82-4122-8297-A101F3AEB3EF}"/>
                </a:ext>
              </a:extLst>
            </p:cNvPr>
            <p:cNvSpPr/>
            <p:nvPr/>
          </p:nvSpPr>
          <p:spPr>
            <a:xfrm>
              <a:off x="8218854" y="1828918"/>
              <a:ext cx="168969" cy="1669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9" name="직사각형 178">
              <a:extLst>
                <a:ext uri="{FF2B5EF4-FFF2-40B4-BE49-F238E27FC236}">
                  <a16:creationId xmlns:a16="http://schemas.microsoft.com/office/drawing/2014/main" id="{864A0975-5E57-4765-A343-E790AD87DC29}"/>
                </a:ext>
              </a:extLst>
            </p:cNvPr>
            <p:cNvSpPr/>
            <p:nvPr/>
          </p:nvSpPr>
          <p:spPr>
            <a:xfrm>
              <a:off x="8532202" y="1823592"/>
              <a:ext cx="168969" cy="16198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169" name="표 168">
            <a:extLst>
              <a:ext uri="{FF2B5EF4-FFF2-40B4-BE49-F238E27FC236}">
                <a16:creationId xmlns:a16="http://schemas.microsoft.com/office/drawing/2014/main" id="{161E6E85-DAF7-4CCA-8BBE-237C518AD6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649587"/>
              </p:ext>
            </p:extLst>
          </p:nvPr>
        </p:nvGraphicFramePr>
        <p:xfrm>
          <a:off x="1209259" y="5556516"/>
          <a:ext cx="7118992" cy="6807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2425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471709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225832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2689026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6807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174" name="표 173">
            <a:extLst>
              <a:ext uri="{FF2B5EF4-FFF2-40B4-BE49-F238E27FC236}">
                <a16:creationId xmlns:a16="http://schemas.microsoft.com/office/drawing/2014/main" id="{39743479-04A7-43BF-ADC3-7758ED816A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6693942"/>
              </p:ext>
            </p:extLst>
          </p:nvPr>
        </p:nvGraphicFramePr>
        <p:xfrm>
          <a:off x="1209259" y="3787593"/>
          <a:ext cx="7118987" cy="17150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2425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grpSp>
        <p:nvGrpSpPr>
          <p:cNvPr id="175" name="그룹 174">
            <a:extLst>
              <a:ext uri="{FF2B5EF4-FFF2-40B4-BE49-F238E27FC236}">
                <a16:creationId xmlns:a16="http://schemas.microsoft.com/office/drawing/2014/main" id="{7CA683FF-751F-4049-9309-FE6C01C927D0}"/>
              </a:ext>
            </a:extLst>
          </p:cNvPr>
          <p:cNvGrpSpPr/>
          <p:nvPr/>
        </p:nvGrpSpPr>
        <p:grpSpPr>
          <a:xfrm>
            <a:off x="2376359" y="5629807"/>
            <a:ext cx="1343377" cy="574781"/>
            <a:chOff x="1941366" y="5622598"/>
            <a:chExt cx="1343377" cy="574781"/>
          </a:xfrm>
        </p:grpSpPr>
        <p:pic>
          <p:nvPicPr>
            <p:cNvPr id="176" name="그림 175">
              <a:extLst>
                <a:ext uri="{FF2B5EF4-FFF2-40B4-BE49-F238E27FC236}">
                  <a16:creationId xmlns:a16="http://schemas.microsoft.com/office/drawing/2014/main" id="{A28FE64A-E8D3-4E50-A6B7-545C69CE2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01734" y="5632052"/>
              <a:ext cx="1283009" cy="565327"/>
            </a:xfrm>
            <a:prstGeom prst="rect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</p:pic>
        <p:sp>
          <p:nvSpPr>
            <p:cNvPr id="180" name="직사각형 179">
              <a:extLst>
                <a:ext uri="{FF2B5EF4-FFF2-40B4-BE49-F238E27FC236}">
                  <a16:creationId xmlns:a16="http://schemas.microsoft.com/office/drawing/2014/main" id="{6D161DB1-4BD2-4767-ADB8-E7D4810B6B18}"/>
                </a:ext>
              </a:extLst>
            </p:cNvPr>
            <p:cNvSpPr/>
            <p:nvPr/>
          </p:nvSpPr>
          <p:spPr>
            <a:xfrm>
              <a:off x="1941366" y="5622598"/>
              <a:ext cx="1301582" cy="574781"/>
            </a:xfrm>
            <a:prstGeom prst="rect">
              <a:avLst/>
            </a:prstGeom>
            <a:solidFill>
              <a:srgbClr val="FFFFFF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181" name="그룹 180">
              <a:extLst>
                <a:ext uri="{FF2B5EF4-FFF2-40B4-BE49-F238E27FC236}">
                  <a16:creationId xmlns:a16="http://schemas.microsoft.com/office/drawing/2014/main" id="{8067386E-67B4-40A2-B910-1EB97EEC7552}"/>
                </a:ext>
              </a:extLst>
            </p:cNvPr>
            <p:cNvGrpSpPr/>
            <p:nvPr/>
          </p:nvGrpSpPr>
          <p:grpSpPr>
            <a:xfrm>
              <a:off x="2483678" y="5671970"/>
              <a:ext cx="292384" cy="246968"/>
              <a:chOff x="2527622" y="5858437"/>
              <a:chExt cx="292384" cy="246968"/>
            </a:xfrm>
          </p:grpSpPr>
          <p:sp>
            <p:nvSpPr>
              <p:cNvPr id="183" name="사각형: 둥근 모서리 182">
                <a:extLst>
                  <a:ext uri="{FF2B5EF4-FFF2-40B4-BE49-F238E27FC236}">
                    <a16:creationId xmlns:a16="http://schemas.microsoft.com/office/drawing/2014/main" id="{9D821C03-CEC3-403B-8D67-33422E324157}"/>
                  </a:ext>
                </a:extLst>
              </p:cNvPr>
              <p:cNvSpPr/>
              <p:nvPr/>
            </p:nvSpPr>
            <p:spPr>
              <a:xfrm>
                <a:off x="2527622" y="5858437"/>
                <a:ext cx="292384" cy="246968"/>
              </a:xfrm>
              <a:prstGeom prst="roundRect">
                <a:avLst>
                  <a:gd name="adj" fmla="val 10496"/>
                </a:avLst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184" name="그림 183">
                <a:extLst>
                  <a:ext uri="{FF2B5EF4-FFF2-40B4-BE49-F238E27FC236}">
                    <a16:creationId xmlns:a16="http://schemas.microsoft.com/office/drawing/2014/main" id="{B2C3E769-27EE-4628-AF4F-2482B45774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561893" y="5875091"/>
                <a:ext cx="228288" cy="218205"/>
              </a:xfrm>
              <a:prstGeom prst="rect">
                <a:avLst/>
              </a:prstGeom>
            </p:spPr>
          </p:pic>
        </p:grpSp>
        <p:sp>
          <p:nvSpPr>
            <p:cNvPr id="182" name="직사각형 181">
              <a:extLst>
                <a:ext uri="{FF2B5EF4-FFF2-40B4-BE49-F238E27FC236}">
                  <a16:creationId xmlns:a16="http://schemas.microsoft.com/office/drawing/2014/main" id="{CEAD5C45-1ACA-4475-8AE0-2FB525F9943A}"/>
                </a:ext>
              </a:extLst>
            </p:cNvPr>
            <p:cNvSpPr/>
            <p:nvPr/>
          </p:nvSpPr>
          <p:spPr>
            <a:xfrm>
              <a:off x="2135823" y="5935838"/>
              <a:ext cx="988094" cy="18006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표이미지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변경</a:t>
              </a:r>
            </a:p>
          </p:txBody>
        </p:sp>
      </p:grpSp>
      <p:sp>
        <p:nvSpPr>
          <p:cNvPr id="185" name="사각형: 둥근 모서리 184">
            <a:extLst>
              <a:ext uri="{FF2B5EF4-FFF2-40B4-BE49-F238E27FC236}">
                <a16:creationId xmlns:a16="http://schemas.microsoft.com/office/drawing/2014/main" id="{62F86235-7EF8-469A-B3AD-B4AB1E7EF109}"/>
              </a:ext>
            </a:extLst>
          </p:cNvPr>
          <p:cNvSpPr/>
          <p:nvPr/>
        </p:nvSpPr>
        <p:spPr>
          <a:xfrm>
            <a:off x="3735761" y="631497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86" name="사각형: 둥근 모서리 185">
            <a:extLst>
              <a:ext uri="{FF2B5EF4-FFF2-40B4-BE49-F238E27FC236}">
                <a16:creationId xmlns:a16="http://schemas.microsoft.com/office/drawing/2014/main" id="{B00E3E0F-EC79-456F-B07D-FB7F437885B1}"/>
              </a:ext>
            </a:extLst>
          </p:cNvPr>
          <p:cNvSpPr/>
          <p:nvPr/>
        </p:nvSpPr>
        <p:spPr>
          <a:xfrm>
            <a:off x="5163621" y="631497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</a:p>
        </p:txBody>
      </p:sp>
      <p:sp>
        <p:nvSpPr>
          <p:cNvPr id="187" name="사각형: 둥근 모서리 186">
            <a:extLst>
              <a:ext uri="{FF2B5EF4-FFF2-40B4-BE49-F238E27FC236}">
                <a16:creationId xmlns:a16="http://schemas.microsoft.com/office/drawing/2014/main" id="{420EC56C-2B35-463C-9037-A4AF6A1FD25E}"/>
              </a:ext>
            </a:extLst>
          </p:cNvPr>
          <p:cNvSpPr/>
          <p:nvPr/>
        </p:nvSpPr>
        <p:spPr>
          <a:xfrm>
            <a:off x="4447535" y="631497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복사</a:t>
            </a:r>
          </a:p>
        </p:txBody>
      </p:sp>
      <p:sp>
        <p:nvSpPr>
          <p:cNvPr id="188" name="직사각형 187">
            <a:extLst>
              <a:ext uri="{FF2B5EF4-FFF2-40B4-BE49-F238E27FC236}">
                <a16:creationId xmlns:a16="http://schemas.microsoft.com/office/drawing/2014/main" id="{A95F4DA5-D17D-437D-9AAD-D22F1F56010E}"/>
              </a:ext>
            </a:extLst>
          </p:cNvPr>
          <p:cNvSpPr/>
          <p:nvPr/>
        </p:nvSpPr>
        <p:spPr>
          <a:xfrm>
            <a:off x="8973779" y="0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91493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09625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웃링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/>
        </p:nvGraphicFramePr>
        <p:xfrm>
          <a:off x="345126" y="1459939"/>
          <a:ext cx="8630652" cy="20758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29954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719818">
                  <a:extLst>
                    <a:ext uri="{9D8B030D-6E8A-4147-A177-3AD203B41FA5}">
                      <a16:colId xmlns:a16="http://schemas.microsoft.com/office/drawing/2014/main" val="3010769140"/>
                    </a:ext>
                  </a:extLst>
                </a:gridCol>
                <a:gridCol w="1295602">
                  <a:extLst>
                    <a:ext uri="{9D8B030D-6E8A-4147-A177-3AD203B41FA5}">
                      <a16:colId xmlns:a16="http://schemas.microsoft.com/office/drawing/2014/main" val="328249262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명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국내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언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1702917"/>
                  </a:ext>
                </a:extLst>
              </a:tr>
              <a:tr h="2409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3200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83089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토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6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5" name="직사각형 84">
            <a:extLst>
              <a:ext uri="{FF2B5EF4-FFF2-40B4-BE49-F238E27FC236}">
                <a16:creationId xmlns:a16="http://schemas.microsoft.com/office/drawing/2014/main" id="{C3E5D00F-CF4B-4C5E-BC5A-8812BEDD9341}"/>
              </a:ext>
            </a:extLst>
          </p:cNvPr>
          <p:cNvSpPr/>
          <p:nvPr/>
        </p:nvSpPr>
        <p:spPr>
          <a:xfrm>
            <a:off x="5740533" y="1499399"/>
            <a:ext cx="155822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73D7B8F0-497D-4292-9F8C-E0111B9E5BF1}"/>
              </a:ext>
            </a:extLst>
          </p:cNvPr>
          <p:cNvGrpSpPr/>
          <p:nvPr/>
        </p:nvGrpSpPr>
        <p:grpSpPr>
          <a:xfrm>
            <a:off x="1279606" y="1490439"/>
            <a:ext cx="2902293" cy="180527"/>
            <a:chOff x="1208287" y="1514945"/>
            <a:chExt cx="2902293" cy="180527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2CB77E35-E495-48AC-933C-78143479AE3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4105991-6501-4168-8BA9-5D85EFD54B0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2F827555-4081-4261-9A9A-2148AC4049B3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01070033-EF9A-4A47-9A9E-D68F061C2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FE848C4E-6177-4ED8-8E14-42C73B29F256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26FC3911-9203-4AAB-9BBC-4B1B8159950D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0DD98797-A83A-434A-AD2E-BE76B395A606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>
                <a:extLst>
                  <a:ext uri="{FF2B5EF4-FFF2-40B4-BE49-F238E27FC236}">
                    <a16:creationId xmlns:a16="http://schemas.microsoft.com/office/drawing/2014/main" id="{CE0F8CC6-8026-4DAE-B6B9-8F986ED1D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0864696-D459-493D-8276-58432E01067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1AEBCD28-21E8-4DCB-9908-E3B3888D7223}"/>
                </a:ext>
              </a:extLst>
            </p:cNvPr>
            <p:cNvSpPr/>
            <p:nvPr/>
          </p:nvSpPr>
          <p:spPr>
            <a:xfrm>
              <a:off x="3266019" y="1539451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64531E9B-E853-4BA8-9C7E-DD96517BE5AB}"/>
                </a:ext>
              </a:extLst>
            </p:cNvPr>
            <p:cNvGrpSpPr/>
            <p:nvPr/>
          </p:nvGrpSpPr>
          <p:grpSpPr>
            <a:xfrm>
              <a:off x="3146780" y="1535796"/>
              <a:ext cx="139353" cy="139353"/>
              <a:chOff x="3468417" y="1522489"/>
              <a:chExt cx="139353" cy="139353"/>
            </a:xfrm>
          </p:grpSpPr>
          <p:sp>
            <p:nvSpPr>
              <p:cNvPr id="27" name="사각형: 둥근 모서리 26">
                <a:extLst>
                  <a:ext uri="{FF2B5EF4-FFF2-40B4-BE49-F238E27FC236}">
                    <a16:creationId xmlns:a16="http://schemas.microsoft.com/office/drawing/2014/main" id="{61CF77A3-2790-4C21-A2D0-8F630BA4D7BC}"/>
                  </a:ext>
                </a:extLst>
              </p:cNvPr>
              <p:cNvSpPr/>
              <p:nvPr/>
            </p:nvSpPr>
            <p:spPr>
              <a:xfrm>
                <a:off x="3468417" y="1522489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29" name="그림 28">
                <a:extLst>
                  <a:ext uri="{FF2B5EF4-FFF2-40B4-BE49-F238E27FC236}">
                    <a16:creationId xmlns:a16="http://schemas.microsoft.com/office/drawing/2014/main" id="{028A3094-E2C4-41A8-9AA0-75EE7D45B7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493980" y="1556351"/>
                <a:ext cx="81910" cy="81910"/>
              </a:xfrm>
              <a:prstGeom prst="rect">
                <a:avLst/>
              </a:prstGeom>
            </p:spPr>
          </p:pic>
        </p:grp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6BC7ADE-7CA8-4D08-BC41-B046D960B4B0}"/>
                </a:ext>
              </a:extLst>
            </p:cNvPr>
            <p:cNvSpPr/>
            <p:nvPr/>
          </p:nvSpPr>
          <p:spPr>
            <a:xfrm>
              <a:off x="1208287" y="1522517"/>
              <a:ext cx="723126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7E22A3D3-8F70-4E7D-995D-32C1C218FF75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3BC5CA5-277D-4189-9026-ABF3CE1116E1}"/>
              </a:ext>
            </a:extLst>
          </p:cNvPr>
          <p:cNvSpPr/>
          <p:nvPr/>
        </p:nvSpPr>
        <p:spPr>
          <a:xfrm>
            <a:off x="1331353" y="1752634"/>
            <a:ext cx="1161087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271AAF07-5108-448C-B231-2D3CCF49DDD9}"/>
              </a:ext>
            </a:extLst>
          </p:cNvPr>
          <p:cNvSpPr/>
          <p:nvPr/>
        </p:nvSpPr>
        <p:spPr>
          <a:xfrm>
            <a:off x="2551283" y="1752634"/>
            <a:ext cx="1534558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D583D71-80BC-44E3-BBBA-468156B8DCEF}"/>
              </a:ext>
            </a:extLst>
          </p:cNvPr>
          <p:cNvGrpSpPr/>
          <p:nvPr/>
        </p:nvGrpSpPr>
        <p:grpSpPr>
          <a:xfrm>
            <a:off x="5740533" y="1745727"/>
            <a:ext cx="2197195" cy="174340"/>
            <a:chOff x="1331353" y="2500672"/>
            <a:chExt cx="2197195" cy="174340"/>
          </a:xfrm>
        </p:grpSpPr>
        <p:grpSp>
          <p:nvGrpSpPr>
            <p:cNvPr id="147" name="그룹 146">
              <a:extLst>
                <a:ext uri="{FF2B5EF4-FFF2-40B4-BE49-F238E27FC236}">
                  <a16:creationId xmlns:a16="http://schemas.microsoft.com/office/drawing/2014/main" id="{F3C9D234-C4EB-4B9F-8BC5-1E6366815967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148" name="직사각형 147">
                <a:extLst>
                  <a:ext uri="{FF2B5EF4-FFF2-40B4-BE49-F238E27FC236}">
                    <a16:creationId xmlns:a16="http://schemas.microsoft.com/office/drawing/2014/main" id="{655AA352-2DA6-431D-AD7F-3223454F19F8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AB1C29A6-4BC2-4430-8B1D-AA43C2E2300F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50" name="그룹 149">
              <a:extLst>
                <a:ext uri="{FF2B5EF4-FFF2-40B4-BE49-F238E27FC236}">
                  <a16:creationId xmlns:a16="http://schemas.microsoft.com/office/drawing/2014/main" id="{7471A3C8-86B5-42D4-834D-CE71FD5DB69B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FEAA70F7-32AC-447F-BAEB-66D8A1BB8B71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8317CF28-A034-4650-93EA-E46363CF0DB8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/>
        </p:nvGraphicFramePr>
        <p:xfrm>
          <a:off x="336268" y="3757182"/>
          <a:ext cx="8650567" cy="16532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7952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61078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794373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45533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708369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649869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469566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722157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830316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649941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721612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</a:tblGrid>
              <a:tr h="298415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01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PE00005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 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페이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E0010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ㆍ녹색성장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본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95" name="그룹 194">
            <a:extLst>
              <a:ext uri="{FF2B5EF4-FFF2-40B4-BE49-F238E27FC236}">
                <a16:creationId xmlns:a16="http://schemas.microsoft.com/office/drawing/2014/main" id="{D2FF3731-BF2B-48FA-A85A-30EEDCB62D51}"/>
              </a:ext>
            </a:extLst>
          </p:cNvPr>
          <p:cNvGrpSpPr/>
          <p:nvPr/>
        </p:nvGrpSpPr>
        <p:grpSpPr>
          <a:xfrm>
            <a:off x="7721704" y="2012797"/>
            <a:ext cx="1065951" cy="172800"/>
            <a:chOff x="1260034" y="1778319"/>
            <a:chExt cx="1065951" cy="172800"/>
          </a:xfrm>
        </p:grpSpPr>
        <p:sp>
          <p:nvSpPr>
            <p:cNvPr id="199" name="직사각형 198">
              <a:extLst>
                <a:ext uri="{FF2B5EF4-FFF2-40B4-BE49-F238E27FC236}">
                  <a16:creationId xmlns:a16="http://schemas.microsoft.com/office/drawing/2014/main" id="{C9EDE0D2-B965-4533-9205-6B2B860E1A71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00" name="직사각형 199">
              <a:extLst>
                <a:ext uri="{FF2B5EF4-FFF2-40B4-BE49-F238E27FC236}">
                  <a16:creationId xmlns:a16="http://schemas.microsoft.com/office/drawing/2014/main" id="{484EBEB5-AE92-423E-82D1-7BEC31B9E660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6FDA2DD1-BABC-494A-BAF4-8B80B9BE78FD}"/>
              </a:ext>
            </a:extLst>
          </p:cNvPr>
          <p:cNvGrpSpPr/>
          <p:nvPr/>
        </p:nvGrpSpPr>
        <p:grpSpPr>
          <a:xfrm>
            <a:off x="1320263" y="2999486"/>
            <a:ext cx="3676989" cy="176294"/>
            <a:chOff x="1334428" y="3000289"/>
            <a:chExt cx="3676989" cy="176294"/>
          </a:xfrm>
        </p:grpSpPr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29405672-7434-45AF-BF2E-91D670F7E03E}"/>
                </a:ext>
              </a:extLst>
            </p:cNvPr>
            <p:cNvSpPr/>
            <p:nvPr/>
          </p:nvSpPr>
          <p:spPr>
            <a:xfrm>
              <a:off x="1334428" y="3003783"/>
              <a:ext cx="346096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grpSp>
          <p:nvGrpSpPr>
            <p:cNvPr id="259" name="그룹 258">
              <a:extLst>
                <a:ext uri="{FF2B5EF4-FFF2-40B4-BE49-F238E27FC236}">
                  <a16:creationId xmlns:a16="http://schemas.microsoft.com/office/drawing/2014/main" id="{BD02B084-ABA8-4A19-9458-9EBFDA5D2560}"/>
                </a:ext>
              </a:extLst>
            </p:cNvPr>
            <p:cNvGrpSpPr/>
            <p:nvPr/>
          </p:nvGrpSpPr>
          <p:grpSpPr>
            <a:xfrm>
              <a:off x="4841945" y="3000289"/>
              <a:ext cx="169472" cy="169472"/>
              <a:chOff x="4841945" y="3000289"/>
              <a:chExt cx="169472" cy="169472"/>
            </a:xfrm>
          </p:grpSpPr>
          <p:sp>
            <p:nvSpPr>
              <p:cNvPr id="234" name="사각형: 둥근 모서리 233">
                <a:extLst>
                  <a:ext uri="{FF2B5EF4-FFF2-40B4-BE49-F238E27FC236}">
                    <a16:creationId xmlns:a16="http://schemas.microsoft.com/office/drawing/2014/main" id="{266CE57E-736D-4302-998F-397D939AEF19}"/>
                  </a:ext>
                </a:extLst>
              </p:cNvPr>
              <p:cNvSpPr/>
              <p:nvPr/>
            </p:nvSpPr>
            <p:spPr>
              <a:xfrm>
                <a:off x="4841945" y="3000289"/>
                <a:ext cx="169472" cy="169472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6" name="그림 235">
                <a:extLst>
                  <a:ext uri="{FF2B5EF4-FFF2-40B4-BE49-F238E27FC236}">
                    <a16:creationId xmlns:a16="http://schemas.microsoft.com/office/drawing/2014/main" id="{CBF49508-31A3-41B9-A7C1-178CE67FCA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57799" y="3008899"/>
                <a:ext cx="144016" cy="144016"/>
              </a:xfrm>
              <a:prstGeom prst="rect">
                <a:avLst/>
              </a:prstGeom>
            </p:spPr>
          </p:pic>
        </p:grpSp>
      </p:grpSp>
      <p:sp>
        <p:nvSpPr>
          <p:cNvPr id="237" name="직사각형 236">
            <a:extLst>
              <a:ext uri="{FF2B5EF4-FFF2-40B4-BE49-F238E27FC236}">
                <a16:creationId xmlns:a16="http://schemas.microsoft.com/office/drawing/2014/main" id="{A2422774-C518-4400-A03E-0B431DC56BB2}"/>
              </a:ext>
            </a:extLst>
          </p:cNvPr>
          <p:cNvSpPr/>
          <p:nvPr/>
        </p:nvSpPr>
        <p:spPr>
          <a:xfrm>
            <a:off x="1331352" y="2005431"/>
            <a:ext cx="159629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E2B63736-1B61-417B-A244-A2169D993191}"/>
              </a:ext>
            </a:extLst>
          </p:cNvPr>
          <p:cNvGrpSpPr/>
          <p:nvPr/>
        </p:nvGrpSpPr>
        <p:grpSpPr>
          <a:xfrm>
            <a:off x="5740533" y="2247017"/>
            <a:ext cx="1065951" cy="172800"/>
            <a:chOff x="1260034" y="1778319"/>
            <a:chExt cx="1065951" cy="172800"/>
          </a:xfrm>
        </p:grpSpPr>
        <p:sp>
          <p:nvSpPr>
            <p:cNvPr id="239" name="직사각형 238">
              <a:extLst>
                <a:ext uri="{FF2B5EF4-FFF2-40B4-BE49-F238E27FC236}">
                  <a16:creationId xmlns:a16="http://schemas.microsoft.com/office/drawing/2014/main" id="{FA4E2223-1DD4-4D4F-8B83-44925D2E5316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0" name="직사각형 239">
              <a:extLst>
                <a:ext uri="{FF2B5EF4-FFF2-40B4-BE49-F238E27FC236}">
                  <a16:creationId xmlns:a16="http://schemas.microsoft.com/office/drawing/2014/main" id="{7257429E-2A65-4FEF-9E79-31FDAAC07625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2CFC1E6E-8F0B-4450-BAF1-84CE7EC64C15}"/>
              </a:ext>
            </a:extLst>
          </p:cNvPr>
          <p:cNvGrpSpPr/>
          <p:nvPr/>
        </p:nvGrpSpPr>
        <p:grpSpPr>
          <a:xfrm>
            <a:off x="7721704" y="2243044"/>
            <a:ext cx="1065951" cy="172800"/>
            <a:chOff x="1260034" y="1778319"/>
            <a:chExt cx="1065951" cy="172800"/>
          </a:xfrm>
        </p:grpSpPr>
        <p:sp>
          <p:nvSpPr>
            <p:cNvPr id="242" name="직사각형 241">
              <a:extLst>
                <a:ext uri="{FF2B5EF4-FFF2-40B4-BE49-F238E27FC236}">
                  <a16:creationId xmlns:a16="http://schemas.microsoft.com/office/drawing/2014/main" id="{7E5A80AB-EA85-49C2-964E-E9E75BCFB6AE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4227F256-3E8D-42EB-9FDA-1674D512A4F2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44" name="표 66">
            <a:extLst>
              <a:ext uri="{FF2B5EF4-FFF2-40B4-BE49-F238E27FC236}">
                <a16:creationId xmlns:a16="http://schemas.microsoft.com/office/drawing/2014/main" id="{5E7F96FF-4465-4360-9046-6A1E4803731A}"/>
              </a:ext>
            </a:extLst>
          </p:cNvPr>
          <p:cNvGraphicFramePr>
            <a:graphicFrameLocks noGrp="1"/>
          </p:cNvGraphicFramePr>
          <p:nvPr/>
        </p:nvGraphicFramePr>
        <p:xfrm>
          <a:off x="841000" y="5530552"/>
          <a:ext cx="8140652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5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257909302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811645">
                  <a:extLst>
                    <a:ext uri="{9D8B030D-6E8A-4147-A177-3AD203B41FA5}">
                      <a16:colId xmlns:a16="http://schemas.microsoft.com/office/drawing/2014/main" val="3370459386"/>
                    </a:ext>
                  </a:extLst>
                </a:gridCol>
                <a:gridCol w="1348595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14256562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30630511"/>
                    </a:ext>
                  </a:extLst>
                </a:gridCol>
                <a:gridCol w="695187">
                  <a:extLst>
                    <a:ext uri="{9D8B030D-6E8A-4147-A177-3AD203B41FA5}">
                      <a16:colId xmlns:a16="http://schemas.microsoft.com/office/drawing/2014/main" val="2911285607"/>
                    </a:ext>
                  </a:extLst>
                </a:gridCol>
                <a:gridCol w="462273">
                  <a:extLst>
                    <a:ext uri="{9D8B030D-6E8A-4147-A177-3AD203B41FA5}">
                      <a16:colId xmlns:a16="http://schemas.microsoft.com/office/drawing/2014/main" val="1371808166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GRI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U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11-25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연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녹색성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245" name="화살표: 오른쪽 244">
            <a:extLst>
              <a:ext uri="{FF2B5EF4-FFF2-40B4-BE49-F238E27FC236}">
                <a16:creationId xmlns:a16="http://schemas.microsoft.com/office/drawing/2014/main" id="{4CBF2E6B-87FD-4AC9-B4FD-0076C6F9614A}"/>
              </a:ext>
            </a:extLst>
          </p:cNvPr>
          <p:cNvSpPr/>
          <p:nvPr/>
        </p:nvSpPr>
        <p:spPr>
          <a:xfrm>
            <a:off x="491484" y="5749067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376372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4108189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4113419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260" name="그룹 259">
            <a:extLst>
              <a:ext uri="{FF2B5EF4-FFF2-40B4-BE49-F238E27FC236}">
                <a16:creationId xmlns:a16="http://schemas.microsoft.com/office/drawing/2014/main" id="{B27B6193-9D81-4543-9504-15BE664E6B59}"/>
              </a:ext>
            </a:extLst>
          </p:cNvPr>
          <p:cNvGrpSpPr/>
          <p:nvPr/>
        </p:nvGrpSpPr>
        <p:grpSpPr>
          <a:xfrm>
            <a:off x="2952232" y="2006831"/>
            <a:ext cx="169472" cy="169472"/>
            <a:chOff x="4841945" y="3000289"/>
            <a:chExt cx="169472" cy="169472"/>
          </a:xfrm>
        </p:grpSpPr>
        <p:sp>
          <p:nvSpPr>
            <p:cNvPr id="261" name="사각형: 둥근 모서리 260">
              <a:extLst>
                <a:ext uri="{FF2B5EF4-FFF2-40B4-BE49-F238E27FC236}">
                  <a16:creationId xmlns:a16="http://schemas.microsoft.com/office/drawing/2014/main" id="{A21F50DD-2919-45C6-954E-E33DC1F7C48B}"/>
                </a:ext>
              </a:extLst>
            </p:cNvPr>
            <p:cNvSpPr/>
            <p:nvPr/>
          </p:nvSpPr>
          <p:spPr>
            <a:xfrm>
              <a:off x="4841945" y="3000289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62" name="그림 261">
              <a:extLst>
                <a:ext uri="{FF2B5EF4-FFF2-40B4-BE49-F238E27FC236}">
                  <a16:creationId xmlns:a16="http://schemas.microsoft.com/office/drawing/2014/main" id="{E19B243E-C650-4BE5-BE9F-2FC72E3FD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57799" y="3008899"/>
              <a:ext cx="144016" cy="144016"/>
            </a:xfrm>
            <a:prstGeom prst="rect">
              <a:avLst/>
            </a:prstGeom>
          </p:spPr>
        </p:pic>
      </p:grpSp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A25D0A63-881B-4E13-8FFD-B401C294364B}"/>
              </a:ext>
            </a:extLst>
          </p:cNvPr>
          <p:cNvGrpSpPr/>
          <p:nvPr/>
        </p:nvGrpSpPr>
        <p:grpSpPr>
          <a:xfrm>
            <a:off x="1325770" y="2245477"/>
            <a:ext cx="2197195" cy="174340"/>
            <a:chOff x="1331353" y="2500672"/>
            <a:chExt cx="2197195" cy="174340"/>
          </a:xfrm>
        </p:grpSpPr>
        <p:grpSp>
          <p:nvGrpSpPr>
            <p:cNvPr id="264" name="그룹 263">
              <a:extLst>
                <a:ext uri="{FF2B5EF4-FFF2-40B4-BE49-F238E27FC236}">
                  <a16:creationId xmlns:a16="http://schemas.microsoft.com/office/drawing/2014/main" id="{C4074594-5306-4BFB-AFCB-C788A7BA59AA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268" name="직사각형 267">
                <a:extLst>
                  <a:ext uri="{FF2B5EF4-FFF2-40B4-BE49-F238E27FC236}">
                    <a16:creationId xmlns:a16="http://schemas.microsoft.com/office/drawing/2014/main" id="{0B445854-7857-4266-8E76-E1BB8D79C420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9" name="직사각형 268">
                <a:extLst>
                  <a:ext uri="{FF2B5EF4-FFF2-40B4-BE49-F238E27FC236}">
                    <a16:creationId xmlns:a16="http://schemas.microsoft.com/office/drawing/2014/main" id="{086DAF83-B2D9-49AE-87C9-F7401679FEDA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265" name="그룹 264">
              <a:extLst>
                <a:ext uri="{FF2B5EF4-FFF2-40B4-BE49-F238E27FC236}">
                  <a16:creationId xmlns:a16="http://schemas.microsoft.com/office/drawing/2014/main" id="{F258107B-C617-455A-8271-DC7E8144FE38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266" name="직사각형 265">
                <a:extLst>
                  <a:ext uri="{FF2B5EF4-FFF2-40B4-BE49-F238E27FC236}">
                    <a16:creationId xmlns:a16="http://schemas.microsoft.com/office/drawing/2014/main" id="{E5104259-D520-4F5B-B718-068A82B5BB1C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7" name="직사각형 266">
                <a:extLst>
                  <a:ext uri="{FF2B5EF4-FFF2-40B4-BE49-F238E27FC236}">
                    <a16:creationId xmlns:a16="http://schemas.microsoft.com/office/drawing/2014/main" id="{46491C19-D344-4AFD-879B-BE5FB1F08ECF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271" name="사각형: 둥근 모서리 270">
            <a:extLst>
              <a:ext uri="{FF2B5EF4-FFF2-40B4-BE49-F238E27FC236}">
                <a16:creationId xmlns:a16="http://schemas.microsoft.com/office/drawing/2014/main" id="{98A9715A-D77F-4BC0-A002-EECE7E330985}"/>
              </a:ext>
            </a:extLst>
          </p:cNvPr>
          <p:cNvSpPr/>
          <p:nvPr/>
        </p:nvSpPr>
        <p:spPr>
          <a:xfrm>
            <a:off x="443824" y="46268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2" name="사각형: 둥근 모서리 271">
            <a:extLst>
              <a:ext uri="{FF2B5EF4-FFF2-40B4-BE49-F238E27FC236}">
                <a16:creationId xmlns:a16="http://schemas.microsoft.com/office/drawing/2014/main" id="{C21EF9C1-0EDA-4694-84B7-376355ED2FF0}"/>
              </a:ext>
            </a:extLst>
          </p:cNvPr>
          <p:cNvSpPr/>
          <p:nvPr/>
        </p:nvSpPr>
        <p:spPr>
          <a:xfrm>
            <a:off x="443824" y="5048569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3" name="사각형: 둥근 모서리 272">
            <a:extLst>
              <a:ext uri="{FF2B5EF4-FFF2-40B4-BE49-F238E27FC236}">
                <a16:creationId xmlns:a16="http://schemas.microsoft.com/office/drawing/2014/main" id="{F1BF2076-BF45-4989-A3B3-9AC3C1AA753C}"/>
              </a:ext>
            </a:extLst>
          </p:cNvPr>
          <p:cNvSpPr/>
          <p:nvPr/>
        </p:nvSpPr>
        <p:spPr>
          <a:xfrm>
            <a:off x="443824" y="48422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B705B3E0-8595-4AB6-BF6A-E598A59A65A7}"/>
              </a:ext>
            </a:extLst>
          </p:cNvPr>
          <p:cNvSpPr/>
          <p:nvPr/>
        </p:nvSpPr>
        <p:spPr>
          <a:xfrm>
            <a:off x="443824" y="526057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5" name="사각형: 둥근 모서리 274">
            <a:extLst>
              <a:ext uri="{FF2B5EF4-FFF2-40B4-BE49-F238E27FC236}">
                <a16:creationId xmlns:a16="http://schemas.microsoft.com/office/drawing/2014/main" id="{81ED1F1B-7A87-48F3-839C-9DC9B3A967AC}"/>
              </a:ext>
            </a:extLst>
          </p:cNvPr>
          <p:cNvSpPr/>
          <p:nvPr/>
        </p:nvSpPr>
        <p:spPr>
          <a:xfrm>
            <a:off x="8232954" y="3822780"/>
            <a:ext cx="671358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태변경</a:t>
            </a:r>
          </a:p>
        </p:txBody>
      </p:sp>
      <p:grpSp>
        <p:nvGrpSpPr>
          <p:cNvPr id="276" name="그룹 275">
            <a:extLst>
              <a:ext uri="{FF2B5EF4-FFF2-40B4-BE49-F238E27FC236}">
                <a16:creationId xmlns:a16="http://schemas.microsoft.com/office/drawing/2014/main" id="{AF3F1031-5831-414E-91D5-AC0D4231195D}"/>
              </a:ext>
            </a:extLst>
          </p:cNvPr>
          <p:cNvGrpSpPr/>
          <p:nvPr/>
        </p:nvGrpSpPr>
        <p:grpSpPr>
          <a:xfrm>
            <a:off x="7477874" y="3818717"/>
            <a:ext cx="696669" cy="172800"/>
            <a:chOff x="1260033" y="1778319"/>
            <a:chExt cx="696669" cy="172800"/>
          </a:xfrm>
        </p:grpSpPr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01EC4F23-92CE-4F5C-AAD1-4F9A2F49675E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비공개</a:t>
              </a:r>
            </a:p>
          </p:txBody>
        </p:sp>
        <p:sp>
          <p:nvSpPr>
            <p:cNvPr id="278" name="직사각형 277">
              <a:extLst>
                <a:ext uri="{FF2B5EF4-FFF2-40B4-BE49-F238E27FC236}">
                  <a16:creationId xmlns:a16="http://schemas.microsoft.com/office/drawing/2014/main" id="{924BC30D-9662-4D5E-A0B5-BB84C023CB0E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6167D580-BED1-4C6A-9F13-6B0C15EECDCF}"/>
              </a:ext>
            </a:extLst>
          </p:cNvPr>
          <p:cNvSpPr/>
          <p:nvPr/>
        </p:nvSpPr>
        <p:spPr>
          <a:xfrm>
            <a:off x="335820" y="613069"/>
            <a:ext cx="8659717" cy="6063912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AA9C9DEA-473C-4E3B-9F41-445ABE86D84A}"/>
              </a:ext>
            </a:extLst>
          </p:cNvPr>
          <p:cNvGrpSpPr/>
          <p:nvPr/>
        </p:nvGrpSpPr>
        <p:grpSpPr>
          <a:xfrm>
            <a:off x="1517359" y="2154868"/>
            <a:ext cx="983380" cy="172800"/>
            <a:chOff x="1260034" y="1778319"/>
            <a:chExt cx="983380" cy="172800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FB11BC6B-F3A0-4A31-93FA-C8838B8BDF14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378C91FA-71B0-4C0F-B3B5-960E3377323A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59DA8D23-56BC-4374-95F9-8977EDF45CD7}"/>
              </a:ext>
            </a:extLst>
          </p:cNvPr>
          <p:cNvSpPr/>
          <p:nvPr/>
        </p:nvSpPr>
        <p:spPr>
          <a:xfrm>
            <a:off x="1503502" y="1619563"/>
            <a:ext cx="457977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ttps://url.kr/vgp92r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2C3F1AA2-101D-46FE-ADBF-C63E8352E80D}"/>
              </a:ext>
            </a:extLst>
          </p:cNvPr>
          <p:cNvSpPr/>
          <p:nvPr/>
        </p:nvSpPr>
        <p:spPr>
          <a:xfrm>
            <a:off x="1513734" y="1880694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6652001C-4C08-4874-B953-760D661C93B3}"/>
              </a:ext>
            </a:extLst>
          </p:cNvPr>
          <p:cNvSpPr/>
          <p:nvPr/>
        </p:nvSpPr>
        <p:spPr>
          <a:xfrm>
            <a:off x="3360557" y="1879704"/>
            <a:ext cx="169472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8" name="그림 97">
            <a:extLst>
              <a:ext uri="{FF2B5EF4-FFF2-40B4-BE49-F238E27FC236}">
                <a16:creationId xmlns:a16="http://schemas.microsoft.com/office/drawing/2014/main" id="{E511A56B-88AF-41A4-97B1-98C77C6F9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76411" y="1888314"/>
            <a:ext cx="144016" cy="144016"/>
          </a:xfrm>
          <a:prstGeom prst="rect">
            <a:avLst/>
          </a:prstGeom>
        </p:spPr>
      </p:pic>
      <p:grpSp>
        <p:nvGrpSpPr>
          <p:cNvPr id="99" name="그룹 98">
            <a:extLst>
              <a:ext uri="{FF2B5EF4-FFF2-40B4-BE49-F238E27FC236}">
                <a16:creationId xmlns:a16="http://schemas.microsoft.com/office/drawing/2014/main" id="{CC06B9F3-8B6E-4431-AAD0-5888EDF47775}"/>
              </a:ext>
            </a:extLst>
          </p:cNvPr>
          <p:cNvGrpSpPr/>
          <p:nvPr/>
        </p:nvGrpSpPr>
        <p:grpSpPr>
          <a:xfrm>
            <a:off x="2557641" y="2152770"/>
            <a:ext cx="1067418" cy="172800"/>
            <a:chOff x="1260034" y="1778319"/>
            <a:chExt cx="1067418" cy="172800"/>
          </a:xfrm>
        </p:grpSpPr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A18AA7BE-8D64-4D94-B0A6-03C86CCA3F5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82EAE134-3561-4DFE-9241-11597801EDC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8D177732-ABB6-4955-BCF1-A1DD0332F462}"/>
              </a:ext>
            </a:extLst>
          </p:cNvPr>
          <p:cNvSpPr/>
          <p:nvPr/>
        </p:nvSpPr>
        <p:spPr>
          <a:xfrm>
            <a:off x="1155954" y="975708"/>
            <a:ext cx="7183959" cy="566844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2453A24F-CC26-4BBD-B74F-DD677F9EDDDE}"/>
              </a:ext>
            </a:extLst>
          </p:cNvPr>
          <p:cNvSpPr/>
          <p:nvPr/>
        </p:nvSpPr>
        <p:spPr>
          <a:xfrm>
            <a:off x="1155954" y="759198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상세 조회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4" name="표 12">
            <a:extLst>
              <a:ext uri="{FF2B5EF4-FFF2-40B4-BE49-F238E27FC236}">
                <a16:creationId xmlns:a16="http://schemas.microsoft.com/office/drawing/2014/main" id="{06E4FAD8-8B7A-4205-9C11-D74B15263D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3183623"/>
              </p:ext>
            </p:extLst>
          </p:nvPr>
        </p:nvGraphicFramePr>
        <p:xfrm>
          <a:off x="1209262" y="1099741"/>
          <a:ext cx="7091948" cy="282511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8747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209068">
                  <a:extLst>
                    <a:ext uri="{9D8B030D-6E8A-4147-A177-3AD203B41FA5}">
                      <a16:colId xmlns:a16="http://schemas.microsoft.com/office/drawing/2014/main" val="713958032"/>
                    </a:ext>
                  </a:extLst>
                </a:gridCol>
                <a:gridCol w="690691">
                  <a:extLst>
                    <a:ext uri="{9D8B030D-6E8A-4147-A177-3AD203B41FA5}">
                      <a16:colId xmlns:a16="http://schemas.microsoft.com/office/drawing/2014/main" val="1632271762"/>
                    </a:ext>
                  </a:extLst>
                </a:gridCol>
                <a:gridCol w="349666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442422">
                  <a:extLst>
                    <a:ext uri="{9D8B030D-6E8A-4147-A177-3AD203B41FA5}">
                      <a16:colId xmlns:a16="http://schemas.microsoft.com/office/drawing/2014/main" val="614263173"/>
                    </a:ext>
                  </a:extLst>
                </a:gridCol>
                <a:gridCol w="989053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667131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1845170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둥록방식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베드코드입력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MOA0001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235077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스코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URL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분량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6641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en-US" altLang="ko-KR" sz="800" dirty="0"/>
                        <a:t>ESG</a:t>
                      </a:r>
                      <a:r>
                        <a:rPr lang="ko-KR" altLang="en-US" sz="800" dirty="0"/>
                        <a:t>일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51125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전체열람허용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일부공개    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 가능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2585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경영보고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SR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3F35BE15-2520-45CC-8D33-6AFCEEFCA209}"/>
              </a:ext>
            </a:extLst>
          </p:cNvPr>
          <p:cNvSpPr/>
          <p:nvPr/>
        </p:nvSpPr>
        <p:spPr>
          <a:xfrm>
            <a:off x="2180658" y="1696780"/>
            <a:ext cx="2816594" cy="36978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</a:t>
            </a:r>
            <a:r>
              <a:rPr lang="en-US" altLang="ko-KR" sz="7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frame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width="560" height="315" </a:t>
            </a:r>
            <a:r>
              <a:rPr lang="en-US" altLang="ko-KR" sz="7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rc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="https://www.youtube.com/embed/GdskDk6-1VI" title="YouTube video player" frameborder="0“… </a:t>
            </a:r>
            <a:endParaRPr lang="ko-KR" altLang="en-US" sz="7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7484738A-0DD4-4571-8216-831883C18413}"/>
              </a:ext>
            </a:extLst>
          </p:cNvPr>
          <p:cNvSpPr/>
          <p:nvPr/>
        </p:nvSpPr>
        <p:spPr>
          <a:xfrm>
            <a:off x="5034564" y="1696335"/>
            <a:ext cx="614289" cy="3702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▷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리보기</a:t>
            </a: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C42775B7-06D7-467D-953E-BC23FB502812}"/>
              </a:ext>
            </a:extLst>
          </p:cNvPr>
          <p:cNvSpPr/>
          <p:nvPr/>
        </p:nvSpPr>
        <p:spPr>
          <a:xfrm>
            <a:off x="2177163" y="1424890"/>
            <a:ext cx="347240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란 무엇인가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B286242F-04F3-4A95-B808-632EDE63734E}"/>
              </a:ext>
            </a:extLst>
          </p:cNvPr>
          <p:cNvGrpSpPr/>
          <p:nvPr/>
        </p:nvGrpSpPr>
        <p:grpSpPr>
          <a:xfrm>
            <a:off x="2172367" y="2428693"/>
            <a:ext cx="1573996" cy="178503"/>
            <a:chOff x="6534977" y="1948717"/>
            <a:chExt cx="1573996" cy="178503"/>
          </a:xfrm>
        </p:grpSpPr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112F7305-1215-48A4-B037-1E684701A965}"/>
                </a:ext>
              </a:extLst>
            </p:cNvPr>
            <p:cNvGrpSpPr/>
            <p:nvPr/>
          </p:nvGrpSpPr>
          <p:grpSpPr>
            <a:xfrm>
              <a:off x="6534977" y="1954420"/>
              <a:ext cx="589035" cy="172800"/>
              <a:chOff x="1260034" y="1778319"/>
              <a:chExt cx="589035" cy="172800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2D8A0290-317D-4023-AA70-3102C7993AE3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373011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선택</a:t>
                </a: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04744306-8C78-4014-9BD4-FC78D2B2EDBA}"/>
                  </a:ext>
                </a:extLst>
              </p:cNvPr>
              <p:cNvSpPr/>
              <p:nvPr/>
            </p:nvSpPr>
            <p:spPr>
              <a:xfrm>
                <a:off x="1633045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169ED6AB-A268-46F6-97B8-56311D1D15F5}"/>
                </a:ext>
              </a:extLst>
            </p:cNvPr>
            <p:cNvSpPr/>
            <p:nvPr/>
          </p:nvSpPr>
          <p:spPr>
            <a:xfrm>
              <a:off x="7176340" y="1948717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F43185CC-8F18-4268-8EA9-2F83EEA88FE4}"/>
                </a:ext>
              </a:extLst>
            </p:cNvPr>
            <p:cNvSpPr/>
            <p:nvPr/>
          </p:nvSpPr>
          <p:spPr>
            <a:xfrm>
              <a:off x="7578871" y="1948717"/>
              <a:ext cx="247012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09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6" name="직사각형 115">
              <a:extLst>
                <a:ext uri="{FF2B5EF4-FFF2-40B4-BE49-F238E27FC236}">
                  <a16:creationId xmlns:a16="http://schemas.microsoft.com/office/drawing/2014/main" id="{E4B9708C-8C77-4298-95C5-4C349DE0A312}"/>
                </a:ext>
              </a:extLst>
            </p:cNvPr>
            <p:cNvSpPr/>
            <p:nvPr/>
          </p:nvSpPr>
          <p:spPr>
            <a:xfrm>
              <a:off x="7861961" y="1948717"/>
              <a:ext cx="247012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0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D60B3830-207A-47F5-8601-C55711AA7AC6}"/>
              </a:ext>
            </a:extLst>
          </p:cNvPr>
          <p:cNvSpPr/>
          <p:nvPr/>
        </p:nvSpPr>
        <p:spPr>
          <a:xfrm>
            <a:off x="2175577" y="2167299"/>
            <a:ext cx="122385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한상공회의소</a:t>
            </a:r>
          </a:p>
        </p:txBody>
      </p:sp>
      <p:grpSp>
        <p:nvGrpSpPr>
          <p:cNvPr id="120" name="그룹 119">
            <a:extLst>
              <a:ext uri="{FF2B5EF4-FFF2-40B4-BE49-F238E27FC236}">
                <a16:creationId xmlns:a16="http://schemas.microsoft.com/office/drawing/2014/main" id="{6DC0992A-B5C6-4F16-A9DC-3FB3D6394528}"/>
              </a:ext>
            </a:extLst>
          </p:cNvPr>
          <p:cNvGrpSpPr/>
          <p:nvPr/>
        </p:nvGrpSpPr>
        <p:grpSpPr>
          <a:xfrm>
            <a:off x="3421975" y="2166760"/>
            <a:ext cx="169472" cy="169472"/>
            <a:chOff x="3180922" y="2352202"/>
            <a:chExt cx="169472" cy="169472"/>
          </a:xfrm>
        </p:grpSpPr>
        <p:sp>
          <p:nvSpPr>
            <p:cNvPr id="121" name="사각형: 둥근 모서리 120">
              <a:extLst>
                <a:ext uri="{FF2B5EF4-FFF2-40B4-BE49-F238E27FC236}">
                  <a16:creationId xmlns:a16="http://schemas.microsoft.com/office/drawing/2014/main" id="{9CA4321F-C82C-4CBB-87A2-9574FA29F18D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22" name="그림 121">
              <a:extLst>
                <a:ext uri="{FF2B5EF4-FFF2-40B4-BE49-F238E27FC236}">
                  <a16:creationId xmlns:a16="http://schemas.microsoft.com/office/drawing/2014/main" id="{E5B1750D-A4CE-4693-ADA3-615B910F82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3453809A-5A54-4C89-9EDE-A49FFB3C5AFF}"/>
              </a:ext>
            </a:extLst>
          </p:cNvPr>
          <p:cNvGrpSpPr/>
          <p:nvPr/>
        </p:nvGrpSpPr>
        <p:grpSpPr>
          <a:xfrm>
            <a:off x="6506870" y="2162630"/>
            <a:ext cx="1065951" cy="172800"/>
            <a:chOff x="1260034" y="1778319"/>
            <a:chExt cx="1065951" cy="172800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90C317B3-BBA0-4172-8651-08E56617FB3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D08DF1B3-6E22-494C-A29E-78EC385732DB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F2590DB0-774A-4A8F-A06D-7ECCF9858635}"/>
              </a:ext>
            </a:extLst>
          </p:cNvPr>
          <p:cNvGrpSpPr/>
          <p:nvPr/>
        </p:nvGrpSpPr>
        <p:grpSpPr>
          <a:xfrm>
            <a:off x="4820319" y="2980721"/>
            <a:ext cx="2690918" cy="383295"/>
            <a:chOff x="4535523" y="2689255"/>
            <a:chExt cx="2690918" cy="383295"/>
          </a:xfrm>
        </p:grpSpPr>
        <p:grpSp>
          <p:nvGrpSpPr>
            <p:cNvPr id="127" name="그룹 126">
              <a:extLst>
                <a:ext uri="{FF2B5EF4-FFF2-40B4-BE49-F238E27FC236}">
                  <a16:creationId xmlns:a16="http://schemas.microsoft.com/office/drawing/2014/main" id="{CF94A234-9326-4275-9324-CD18AD11CE5C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40" name="그룹 139">
                <a:extLst>
                  <a:ext uri="{FF2B5EF4-FFF2-40B4-BE49-F238E27FC236}">
                    <a16:creationId xmlns:a16="http://schemas.microsoft.com/office/drawing/2014/main" id="{E2C4E60B-1A9C-441B-8A71-DF9B580B2D61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46" name="직사각형 145">
                  <a:extLst>
                    <a:ext uri="{FF2B5EF4-FFF2-40B4-BE49-F238E27FC236}">
                      <a16:creationId xmlns:a16="http://schemas.microsoft.com/office/drawing/2014/main" id="{08C317B3-1058-4E84-8EBF-1497C7ECE5C6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53" name="직사각형 152">
                  <a:extLst>
                    <a:ext uri="{FF2B5EF4-FFF2-40B4-BE49-F238E27FC236}">
                      <a16:creationId xmlns:a16="http://schemas.microsoft.com/office/drawing/2014/main" id="{4D9F4B59-EF73-4BDA-B1F6-4B2AFA0C5112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54" name="그림 153">
                  <a:extLst>
                    <a:ext uri="{FF2B5EF4-FFF2-40B4-BE49-F238E27FC236}">
                      <a16:creationId xmlns:a16="http://schemas.microsoft.com/office/drawing/2014/main" id="{1A0892AB-05C0-4493-A59B-70619CEEFD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41" name="직사각형 140">
                <a:extLst>
                  <a:ext uri="{FF2B5EF4-FFF2-40B4-BE49-F238E27FC236}">
                    <a16:creationId xmlns:a16="http://schemas.microsoft.com/office/drawing/2014/main" id="{F2A0A2A4-D5EE-467B-B872-BE2B046ABEBE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42" name="직사각형 141">
                <a:extLst>
                  <a:ext uri="{FF2B5EF4-FFF2-40B4-BE49-F238E27FC236}">
                    <a16:creationId xmlns:a16="http://schemas.microsoft.com/office/drawing/2014/main" id="{319B190E-034B-44CA-AF2E-447EE7A5E03A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908CC37C-E285-454D-BFAC-AA9CDC743E76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53419FE7-13A1-4055-9258-4AAD6239FF2C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FE681D80-2F1F-47E7-993B-973570B48C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8" name="그룹 127">
              <a:extLst>
                <a:ext uri="{FF2B5EF4-FFF2-40B4-BE49-F238E27FC236}">
                  <a16:creationId xmlns:a16="http://schemas.microsoft.com/office/drawing/2014/main" id="{7B6FB4CF-EE55-410F-B75B-E50FB278CDE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32" name="그룹 131">
                <a:extLst>
                  <a:ext uri="{FF2B5EF4-FFF2-40B4-BE49-F238E27FC236}">
                    <a16:creationId xmlns:a16="http://schemas.microsoft.com/office/drawing/2014/main" id="{799F9A00-6712-49E6-9AFD-944FADD206FF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37" name="직사각형 136">
                  <a:extLst>
                    <a:ext uri="{FF2B5EF4-FFF2-40B4-BE49-F238E27FC236}">
                      <a16:creationId xmlns:a16="http://schemas.microsoft.com/office/drawing/2014/main" id="{382B2836-464A-402D-B646-0FC0EE3BC66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38" name="직사각형 137">
                  <a:extLst>
                    <a:ext uri="{FF2B5EF4-FFF2-40B4-BE49-F238E27FC236}">
                      <a16:creationId xmlns:a16="http://schemas.microsoft.com/office/drawing/2014/main" id="{31C8660C-A723-43C7-B531-683C10C405E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39" name="그림 138">
                  <a:extLst>
                    <a:ext uri="{FF2B5EF4-FFF2-40B4-BE49-F238E27FC236}">
                      <a16:creationId xmlns:a16="http://schemas.microsoft.com/office/drawing/2014/main" id="{ED3B4726-8BE0-4F67-8699-9374631AF6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BCE92AD9-DCA4-4613-83EF-581A263F0A3F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A84BD1C8-BC7A-46E1-B0EF-F7287E73868A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48B3CCB7-F183-4318-BC5E-E58ABD6BC92F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6" name="직사각형 135">
                <a:extLst>
                  <a:ext uri="{FF2B5EF4-FFF2-40B4-BE49-F238E27FC236}">
                    <a16:creationId xmlns:a16="http://schemas.microsoft.com/office/drawing/2014/main" id="{3E857AD3-1A21-4F62-999B-28A665C2750B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FE47809C-2B43-48BE-95F5-1AE2C8228552}"/>
                </a:ext>
              </a:extLst>
            </p:cNvPr>
            <p:cNvSpPr/>
            <p:nvPr/>
          </p:nvSpPr>
          <p:spPr>
            <a:xfrm>
              <a:off x="4686773" y="2689255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30" name="사각형: 둥근 모서리 129">
              <a:extLst>
                <a:ext uri="{FF2B5EF4-FFF2-40B4-BE49-F238E27FC236}">
                  <a16:creationId xmlns:a16="http://schemas.microsoft.com/office/drawing/2014/main" id="{CBE7BEA6-4EEF-49E9-8AF6-3E00B19C7AD0}"/>
                </a:ext>
              </a:extLst>
            </p:cNvPr>
            <p:cNvSpPr/>
            <p:nvPr/>
          </p:nvSpPr>
          <p:spPr>
            <a:xfrm>
              <a:off x="4605631" y="2693091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1" name="그림 130">
              <a:extLst>
                <a:ext uri="{FF2B5EF4-FFF2-40B4-BE49-F238E27FC236}">
                  <a16:creationId xmlns:a16="http://schemas.microsoft.com/office/drawing/2014/main" id="{765F1F28-C269-4CCA-90CC-A18D67084F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31194" y="2726953"/>
              <a:ext cx="81910" cy="81910"/>
            </a:xfrm>
            <a:prstGeom prst="rect">
              <a:avLst/>
            </a:prstGeom>
          </p:spPr>
        </p:pic>
      </p:grp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7BD0306B-4B45-4721-BA3B-179B6B1EEFF8}"/>
              </a:ext>
            </a:extLst>
          </p:cNvPr>
          <p:cNvSpPr/>
          <p:nvPr/>
        </p:nvSpPr>
        <p:spPr>
          <a:xfrm>
            <a:off x="4857441" y="2163432"/>
            <a:ext cx="845593" cy="1728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국내</a:t>
            </a:r>
          </a:p>
        </p:txBody>
      </p:sp>
      <p:grpSp>
        <p:nvGrpSpPr>
          <p:cNvPr id="165" name="그룹 164">
            <a:extLst>
              <a:ext uri="{FF2B5EF4-FFF2-40B4-BE49-F238E27FC236}">
                <a16:creationId xmlns:a16="http://schemas.microsoft.com/office/drawing/2014/main" id="{F760E396-3C63-4DA7-B9A4-247137213256}"/>
              </a:ext>
            </a:extLst>
          </p:cNvPr>
          <p:cNvGrpSpPr/>
          <p:nvPr/>
        </p:nvGrpSpPr>
        <p:grpSpPr>
          <a:xfrm>
            <a:off x="6508217" y="1408277"/>
            <a:ext cx="1073972" cy="172800"/>
            <a:chOff x="1260034" y="1778319"/>
            <a:chExt cx="1073972" cy="172800"/>
          </a:xfrm>
        </p:grpSpPr>
        <p:sp>
          <p:nvSpPr>
            <p:cNvPr id="167" name="직사각형 166">
              <a:extLst>
                <a:ext uri="{FF2B5EF4-FFF2-40B4-BE49-F238E27FC236}">
                  <a16:creationId xmlns:a16="http://schemas.microsoft.com/office/drawing/2014/main" id="{B92FC971-0375-4395-8122-2FAFC8F7832D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용중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8" name="직사각형 167">
              <a:extLst>
                <a:ext uri="{FF2B5EF4-FFF2-40B4-BE49-F238E27FC236}">
                  <a16:creationId xmlns:a16="http://schemas.microsoft.com/office/drawing/2014/main" id="{3114A6C9-37E5-4229-9FD1-039CE16EA467}"/>
                </a:ext>
              </a:extLst>
            </p:cNvPr>
            <p:cNvSpPr/>
            <p:nvPr/>
          </p:nvSpPr>
          <p:spPr>
            <a:xfrm>
              <a:off x="2117982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72" name="직사각형 171">
            <a:extLst>
              <a:ext uri="{FF2B5EF4-FFF2-40B4-BE49-F238E27FC236}">
                <a16:creationId xmlns:a16="http://schemas.microsoft.com/office/drawing/2014/main" id="{86D90857-66EE-4CDF-86E3-AB7FDDDBA843}"/>
              </a:ext>
            </a:extLst>
          </p:cNvPr>
          <p:cNvSpPr/>
          <p:nvPr/>
        </p:nvSpPr>
        <p:spPr>
          <a:xfrm>
            <a:off x="1207860" y="1108978"/>
            <a:ext cx="7102656" cy="1011080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69" name="직사각형 168">
            <a:extLst>
              <a:ext uri="{FF2B5EF4-FFF2-40B4-BE49-F238E27FC236}">
                <a16:creationId xmlns:a16="http://schemas.microsoft.com/office/drawing/2014/main" id="{3390139F-5A80-4901-AE38-267E4CDEDFDA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D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임베드코드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URL)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력 </a:t>
            </a:r>
          </a:p>
        </p:txBody>
      </p:sp>
      <p:grpSp>
        <p:nvGrpSpPr>
          <p:cNvPr id="170" name="그룹 169">
            <a:extLst>
              <a:ext uri="{FF2B5EF4-FFF2-40B4-BE49-F238E27FC236}">
                <a16:creationId xmlns:a16="http://schemas.microsoft.com/office/drawing/2014/main" id="{911FC346-DCB4-4A30-8BE4-B00357FC8128}"/>
              </a:ext>
            </a:extLst>
          </p:cNvPr>
          <p:cNvGrpSpPr/>
          <p:nvPr/>
        </p:nvGrpSpPr>
        <p:grpSpPr>
          <a:xfrm>
            <a:off x="6505000" y="1800481"/>
            <a:ext cx="860019" cy="181050"/>
            <a:chOff x="8027982" y="1823592"/>
            <a:chExt cx="860019" cy="181050"/>
          </a:xfrm>
        </p:grpSpPr>
        <p:sp>
          <p:nvSpPr>
            <p:cNvPr id="171" name="직사각형 170">
              <a:extLst>
                <a:ext uri="{FF2B5EF4-FFF2-40B4-BE49-F238E27FC236}">
                  <a16:creationId xmlns:a16="http://schemas.microsoft.com/office/drawing/2014/main" id="{39C735B6-CB2B-4B34-B6F9-56CEF86086B1}"/>
                </a:ext>
              </a:extLst>
            </p:cNvPr>
            <p:cNvSpPr/>
            <p:nvPr/>
          </p:nvSpPr>
          <p:spPr>
            <a:xfrm>
              <a:off x="8027982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HH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55E7F453-C47E-449D-B27C-F0C2FD7A4B73}"/>
                </a:ext>
              </a:extLst>
            </p:cNvPr>
            <p:cNvSpPr/>
            <p:nvPr/>
          </p:nvSpPr>
          <p:spPr>
            <a:xfrm>
              <a:off x="8345371" y="1830016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MM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7" name="직사각형 176">
              <a:extLst>
                <a:ext uri="{FF2B5EF4-FFF2-40B4-BE49-F238E27FC236}">
                  <a16:creationId xmlns:a16="http://schemas.microsoft.com/office/drawing/2014/main" id="{979529A8-8E5A-4F10-8402-78B00548B288}"/>
                </a:ext>
              </a:extLst>
            </p:cNvPr>
            <p:cNvSpPr/>
            <p:nvPr/>
          </p:nvSpPr>
          <p:spPr>
            <a:xfrm>
              <a:off x="8662684" y="1831842"/>
              <a:ext cx="225317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SS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8" name="직사각형 177">
              <a:extLst>
                <a:ext uri="{FF2B5EF4-FFF2-40B4-BE49-F238E27FC236}">
                  <a16:creationId xmlns:a16="http://schemas.microsoft.com/office/drawing/2014/main" id="{9F265BFA-F017-47C7-AE9B-AA754F55914E}"/>
                </a:ext>
              </a:extLst>
            </p:cNvPr>
            <p:cNvSpPr/>
            <p:nvPr/>
          </p:nvSpPr>
          <p:spPr>
            <a:xfrm>
              <a:off x="8218854" y="1828918"/>
              <a:ext cx="168969" cy="1669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79" name="직사각형 178">
              <a:extLst>
                <a:ext uri="{FF2B5EF4-FFF2-40B4-BE49-F238E27FC236}">
                  <a16:creationId xmlns:a16="http://schemas.microsoft.com/office/drawing/2014/main" id="{49E2EDDA-25F4-42CD-A98D-2A55FB8E01DF}"/>
                </a:ext>
              </a:extLst>
            </p:cNvPr>
            <p:cNvSpPr/>
            <p:nvPr/>
          </p:nvSpPr>
          <p:spPr>
            <a:xfrm>
              <a:off x="8532202" y="1823592"/>
              <a:ext cx="168969" cy="16198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164" name="표 163">
            <a:extLst>
              <a:ext uri="{FF2B5EF4-FFF2-40B4-BE49-F238E27FC236}">
                <a16:creationId xmlns:a16="http://schemas.microsoft.com/office/drawing/2014/main" id="{E83B42BC-6DA2-41E9-B6AB-806619D4B2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4458299"/>
              </p:ext>
            </p:extLst>
          </p:nvPr>
        </p:nvGraphicFramePr>
        <p:xfrm>
          <a:off x="1209259" y="5730906"/>
          <a:ext cx="7091952" cy="6807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9643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462321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221176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2678812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6807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174" name="표 173">
            <a:extLst>
              <a:ext uri="{FF2B5EF4-FFF2-40B4-BE49-F238E27FC236}">
                <a16:creationId xmlns:a16="http://schemas.microsoft.com/office/drawing/2014/main" id="{3EF2E39B-181A-4EDE-98BC-5D3013112C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3325117"/>
              </p:ext>
            </p:extLst>
          </p:nvPr>
        </p:nvGraphicFramePr>
        <p:xfrm>
          <a:off x="1209259" y="3961983"/>
          <a:ext cx="7091950" cy="17150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9643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908901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grpSp>
        <p:nvGrpSpPr>
          <p:cNvPr id="175" name="그룹 174">
            <a:extLst>
              <a:ext uri="{FF2B5EF4-FFF2-40B4-BE49-F238E27FC236}">
                <a16:creationId xmlns:a16="http://schemas.microsoft.com/office/drawing/2014/main" id="{C311F490-BB77-4DF7-BE94-CE8C5F0CD806}"/>
              </a:ext>
            </a:extLst>
          </p:cNvPr>
          <p:cNvGrpSpPr/>
          <p:nvPr/>
        </p:nvGrpSpPr>
        <p:grpSpPr>
          <a:xfrm>
            <a:off x="2376359" y="5804197"/>
            <a:ext cx="1343377" cy="574781"/>
            <a:chOff x="1941366" y="5622598"/>
            <a:chExt cx="1343377" cy="574781"/>
          </a:xfrm>
        </p:grpSpPr>
        <p:pic>
          <p:nvPicPr>
            <p:cNvPr id="176" name="그림 175">
              <a:extLst>
                <a:ext uri="{FF2B5EF4-FFF2-40B4-BE49-F238E27FC236}">
                  <a16:creationId xmlns:a16="http://schemas.microsoft.com/office/drawing/2014/main" id="{FA73C467-C5A8-4113-88D9-CB2CDD86B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01734" y="5632052"/>
              <a:ext cx="1283009" cy="565327"/>
            </a:xfrm>
            <a:prstGeom prst="rect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</p:pic>
        <p:sp>
          <p:nvSpPr>
            <p:cNvPr id="180" name="직사각형 179">
              <a:extLst>
                <a:ext uri="{FF2B5EF4-FFF2-40B4-BE49-F238E27FC236}">
                  <a16:creationId xmlns:a16="http://schemas.microsoft.com/office/drawing/2014/main" id="{911F9A97-FFFC-4BEE-8273-73E51EFFD4F0}"/>
                </a:ext>
              </a:extLst>
            </p:cNvPr>
            <p:cNvSpPr/>
            <p:nvPr/>
          </p:nvSpPr>
          <p:spPr>
            <a:xfrm>
              <a:off x="1941366" y="5622598"/>
              <a:ext cx="1301582" cy="574781"/>
            </a:xfrm>
            <a:prstGeom prst="rect">
              <a:avLst/>
            </a:prstGeom>
            <a:solidFill>
              <a:srgbClr val="FFFFFF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181" name="그룹 180">
              <a:extLst>
                <a:ext uri="{FF2B5EF4-FFF2-40B4-BE49-F238E27FC236}">
                  <a16:creationId xmlns:a16="http://schemas.microsoft.com/office/drawing/2014/main" id="{A11A8490-6B7F-484C-8625-7761659DA8F9}"/>
                </a:ext>
              </a:extLst>
            </p:cNvPr>
            <p:cNvGrpSpPr/>
            <p:nvPr/>
          </p:nvGrpSpPr>
          <p:grpSpPr>
            <a:xfrm>
              <a:off x="2483678" y="5671970"/>
              <a:ext cx="292384" cy="246968"/>
              <a:chOff x="2527622" y="5858437"/>
              <a:chExt cx="292384" cy="246968"/>
            </a:xfrm>
          </p:grpSpPr>
          <p:sp>
            <p:nvSpPr>
              <p:cNvPr id="183" name="사각형: 둥근 모서리 182">
                <a:extLst>
                  <a:ext uri="{FF2B5EF4-FFF2-40B4-BE49-F238E27FC236}">
                    <a16:creationId xmlns:a16="http://schemas.microsoft.com/office/drawing/2014/main" id="{0E41A27E-69A2-417F-8F4D-780FE321895D}"/>
                  </a:ext>
                </a:extLst>
              </p:cNvPr>
              <p:cNvSpPr/>
              <p:nvPr/>
            </p:nvSpPr>
            <p:spPr>
              <a:xfrm>
                <a:off x="2527622" y="5858437"/>
                <a:ext cx="292384" cy="246968"/>
              </a:xfrm>
              <a:prstGeom prst="roundRect">
                <a:avLst>
                  <a:gd name="adj" fmla="val 10496"/>
                </a:avLst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184" name="그림 183">
                <a:extLst>
                  <a:ext uri="{FF2B5EF4-FFF2-40B4-BE49-F238E27FC236}">
                    <a16:creationId xmlns:a16="http://schemas.microsoft.com/office/drawing/2014/main" id="{39C2D1D5-FF3F-4794-85A7-D2C6558224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561893" y="5875091"/>
                <a:ext cx="228288" cy="218205"/>
              </a:xfrm>
              <a:prstGeom prst="rect">
                <a:avLst/>
              </a:prstGeom>
            </p:spPr>
          </p:pic>
        </p:grpSp>
        <p:sp>
          <p:nvSpPr>
            <p:cNvPr id="182" name="직사각형 181">
              <a:extLst>
                <a:ext uri="{FF2B5EF4-FFF2-40B4-BE49-F238E27FC236}">
                  <a16:creationId xmlns:a16="http://schemas.microsoft.com/office/drawing/2014/main" id="{FCA4C396-6445-4FA8-8E0F-95A807F1DDAF}"/>
                </a:ext>
              </a:extLst>
            </p:cNvPr>
            <p:cNvSpPr/>
            <p:nvPr/>
          </p:nvSpPr>
          <p:spPr>
            <a:xfrm>
              <a:off x="2135823" y="5935838"/>
              <a:ext cx="988094" cy="18006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표이미지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변경</a:t>
              </a:r>
            </a:p>
          </p:txBody>
        </p:sp>
      </p:grpSp>
      <p:sp>
        <p:nvSpPr>
          <p:cNvPr id="185" name="사각형: 둥근 모서리 184">
            <a:extLst>
              <a:ext uri="{FF2B5EF4-FFF2-40B4-BE49-F238E27FC236}">
                <a16:creationId xmlns:a16="http://schemas.microsoft.com/office/drawing/2014/main" id="{257C060C-AC13-42A8-B21D-76ED59C07795}"/>
              </a:ext>
            </a:extLst>
          </p:cNvPr>
          <p:cNvSpPr/>
          <p:nvPr/>
        </p:nvSpPr>
        <p:spPr>
          <a:xfrm>
            <a:off x="3735761" y="6437292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86" name="사각형: 둥근 모서리 185">
            <a:extLst>
              <a:ext uri="{FF2B5EF4-FFF2-40B4-BE49-F238E27FC236}">
                <a16:creationId xmlns:a16="http://schemas.microsoft.com/office/drawing/2014/main" id="{B86ECDA7-9AD3-487B-9F00-AE5BCBFB0EA1}"/>
              </a:ext>
            </a:extLst>
          </p:cNvPr>
          <p:cNvSpPr/>
          <p:nvPr/>
        </p:nvSpPr>
        <p:spPr>
          <a:xfrm>
            <a:off x="5163621" y="6437292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</a:p>
        </p:txBody>
      </p:sp>
      <p:sp>
        <p:nvSpPr>
          <p:cNvPr id="187" name="사각형: 둥근 모서리 186">
            <a:extLst>
              <a:ext uri="{FF2B5EF4-FFF2-40B4-BE49-F238E27FC236}">
                <a16:creationId xmlns:a16="http://schemas.microsoft.com/office/drawing/2014/main" id="{BE21B9F3-DC66-4725-BA8C-A061932DD5B2}"/>
              </a:ext>
            </a:extLst>
          </p:cNvPr>
          <p:cNvSpPr/>
          <p:nvPr/>
        </p:nvSpPr>
        <p:spPr>
          <a:xfrm>
            <a:off x="4447535" y="6437292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복사</a:t>
            </a:r>
          </a:p>
        </p:txBody>
      </p:sp>
      <p:sp>
        <p:nvSpPr>
          <p:cNvPr id="188" name="직사각형 187">
            <a:extLst>
              <a:ext uri="{FF2B5EF4-FFF2-40B4-BE49-F238E27FC236}">
                <a16:creationId xmlns:a16="http://schemas.microsoft.com/office/drawing/2014/main" id="{D3E3E317-650C-4495-B24E-98D5F9DBA199}"/>
              </a:ext>
            </a:extLst>
          </p:cNvPr>
          <p:cNvSpPr/>
          <p:nvPr/>
        </p:nvSpPr>
        <p:spPr>
          <a:xfrm>
            <a:off x="8973779" y="0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53367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049995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/>
        </p:nvGraphicFramePr>
        <p:xfrm>
          <a:off x="345126" y="1459939"/>
          <a:ext cx="8630652" cy="20758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29954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719818">
                  <a:extLst>
                    <a:ext uri="{9D8B030D-6E8A-4147-A177-3AD203B41FA5}">
                      <a16:colId xmlns:a16="http://schemas.microsoft.com/office/drawing/2014/main" val="3010769140"/>
                    </a:ext>
                  </a:extLst>
                </a:gridCol>
                <a:gridCol w="1295602">
                  <a:extLst>
                    <a:ext uri="{9D8B030D-6E8A-4147-A177-3AD203B41FA5}">
                      <a16:colId xmlns:a16="http://schemas.microsoft.com/office/drawing/2014/main" val="328249262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명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국내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언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1702917"/>
                  </a:ext>
                </a:extLst>
              </a:tr>
              <a:tr h="2409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3200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83089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토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6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5" name="직사각형 84">
            <a:extLst>
              <a:ext uri="{FF2B5EF4-FFF2-40B4-BE49-F238E27FC236}">
                <a16:creationId xmlns:a16="http://schemas.microsoft.com/office/drawing/2014/main" id="{C3E5D00F-CF4B-4C5E-BC5A-8812BEDD9341}"/>
              </a:ext>
            </a:extLst>
          </p:cNvPr>
          <p:cNvSpPr/>
          <p:nvPr/>
        </p:nvSpPr>
        <p:spPr>
          <a:xfrm>
            <a:off x="5740533" y="1499399"/>
            <a:ext cx="155822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73D7B8F0-497D-4292-9F8C-E0111B9E5BF1}"/>
              </a:ext>
            </a:extLst>
          </p:cNvPr>
          <p:cNvGrpSpPr/>
          <p:nvPr/>
        </p:nvGrpSpPr>
        <p:grpSpPr>
          <a:xfrm>
            <a:off x="1279606" y="1490439"/>
            <a:ext cx="2902293" cy="180527"/>
            <a:chOff x="1208287" y="1514945"/>
            <a:chExt cx="2902293" cy="180527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2CB77E35-E495-48AC-933C-78143479AE3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4105991-6501-4168-8BA9-5D85EFD54B0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2F827555-4081-4261-9A9A-2148AC4049B3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01070033-EF9A-4A47-9A9E-D68F061C2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FE848C4E-6177-4ED8-8E14-42C73B29F256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26FC3911-9203-4AAB-9BBC-4B1B8159950D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0DD98797-A83A-434A-AD2E-BE76B395A606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>
                <a:extLst>
                  <a:ext uri="{FF2B5EF4-FFF2-40B4-BE49-F238E27FC236}">
                    <a16:creationId xmlns:a16="http://schemas.microsoft.com/office/drawing/2014/main" id="{CE0F8CC6-8026-4DAE-B6B9-8F986ED1D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0864696-D459-493D-8276-58432E01067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1AEBCD28-21E8-4DCB-9908-E3B3888D7223}"/>
                </a:ext>
              </a:extLst>
            </p:cNvPr>
            <p:cNvSpPr/>
            <p:nvPr/>
          </p:nvSpPr>
          <p:spPr>
            <a:xfrm>
              <a:off x="3266019" y="1539451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64531E9B-E853-4BA8-9C7E-DD96517BE5AB}"/>
                </a:ext>
              </a:extLst>
            </p:cNvPr>
            <p:cNvGrpSpPr/>
            <p:nvPr/>
          </p:nvGrpSpPr>
          <p:grpSpPr>
            <a:xfrm>
              <a:off x="3146780" y="1535796"/>
              <a:ext cx="139353" cy="139353"/>
              <a:chOff x="3468417" y="1522489"/>
              <a:chExt cx="139353" cy="139353"/>
            </a:xfrm>
          </p:grpSpPr>
          <p:sp>
            <p:nvSpPr>
              <p:cNvPr id="27" name="사각형: 둥근 모서리 26">
                <a:extLst>
                  <a:ext uri="{FF2B5EF4-FFF2-40B4-BE49-F238E27FC236}">
                    <a16:creationId xmlns:a16="http://schemas.microsoft.com/office/drawing/2014/main" id="{61CF77A3-2790-4C21-A2D0-8F630BA4D7BC}"/>
                  </a:ext>
                </a:extLst>
              </p:cNvPr>
              <p:cNvSpPr/>
              <p:nvPr/>
            </p:nvSpPr>
            <p:spPr>
              <a:xfrm>
                <a:off x="3468417" y="1522489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29" name="그림 28">
                <a:extLst>
                  <a:ext uri="{FF2B5EF4-FFF2-40B4-BE49-F238E27FC236}">
                    <a16:creationId xmlns:a16="http://schemas.microsoft.com/office/drawing/2014/main" id="{028A3094-E2C4-41A8-9AA0-75EE7D45B7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493980" y="1556351"/>
                <a:ext cx="81910" cy="81910"/>
              </a:xfrm>
              <a:prstGeom prst="rect">
                <a:avLst/>
              </a:prstGeom>
            </p:spPr>
          </p:pic>
        </p:grp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6BC7ADE-7CA8-4D08-BC41-B046D960B4B0}"/>
                </a:ext>
              </a:extLst>
            </p:cNvPr>
            <p:cNvSpPr/>
            <p:nvPr/>
          </p:nvSpPr>
          <p:spPr>
            <a:xfrm>
              <a:off x="1208287" y="1522517"/>
              <a:ext cx="723126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7E22A3D3-8F70-4E7D-995D-32C1C218FF75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3BC5CA5-277D-4189-9026-ABF3CE1116E1}"/>
              </a:ext>
            </a:extLst>
          </p:cNvPr>
          <p:cNvSpPr/>
          <p:nvPr/>
        </p:nvSpPr>
        <p:spPr>
          <a:xfrm>
            <a:off x="1331353" y="1752634"/>
            <a:ext cx="1161087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271AAF07-5108-448C-B231-2D3CCF49DDD9}"/>
              </a:ext>
            </a:extLst>
          </p:cNvPr>
          <p:cNvSpPr/>
          <p:nvPr/>
        </p:nvSpPr>
        <p:spPr>
          <a:xfrm>
            <a:off x="2551283" y="1752634"/>
            <a:ext cx="1534558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D583D71-80BC-44E3-BBBA-468156B8DCEF}"/>
              </a:ext>
            </a:extLst>
          </p:cNvPr>
          <p:cNvGrpSpPr/>
          <p:nvPr/>
        </p:nvGrpSpPr>
        <p:grpSpPr>
          <a:xfrm>
            <a:off x="5740533" y="1745727"/>
            <a:ext cx="2197195" cy="174340"/>
            <a:chOff x="1331353" y="2500672"/>
            <a:chExt cx="2197195" cy="174340"/>
          </a:xfrm>
        </p:grpSpPr>
        <p:grpSp>
          <p:nvGrpSpPr>
            <p:cNvPr id="147" name="그룹 146">
              <a:extLst>
                <a:ext uri="{FF2B5EF4-FFF2-40B4-BE49-F238E27FC236}">
                  <a16:creationId xmlns:a16="http://schemas.microsoft.com/office/drawing/2014/main" id="{F3C9D234-C4EB-4B9F-8BC5-1E6366815967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148" name="직사각형 147">
                <a:extLst>
                  <a:ext uri="{FF2B5EF4-FFF2-40B4-BE49-F238E27FC236}">
                    <a16:creationId xmlns:a16="http://schemas.microsoft.com/office/drawing/2014/main" id="{655AA352-2DA6-431D-AD7F-3223454F19F8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AB1C29A6-4BC2-4430-8B1D-AA43C2E2300F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50" name="그룹 149">
              <a:extLst>
                <a:ext uri="{FF2B5EF4-FFF2-40B4-BE49-F238E27FC236}">
                  <a16:creationId xmlns:a16="http://schemas.microsoft.com/office/drawing/2014/main" id="{7471A3C8-86B5-42D4-834D-CE71FD5DB69B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FEAA70F7-32AC-447F-BAEB-66D8A1BB8B71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8317CF28-A034-4650-93EA-E46363CF0DB8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/>
        </p:nvGraphicFramePr>
        <p:xfrm>
          <a:off x="336268" y="3757182"/>
          <a:ext cx="8650567" cy="16532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7952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61078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794373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45533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708369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649869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469566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722157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830316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649941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721612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</a:tblGrid>
              <a:tr h="298415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01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PE00005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 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페이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E0010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ㆍ녹색성장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본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95" name="그룹 194">
            <a:extLst>
              <a:ext uri="{FF2B5EF4-FFF2-40B4-BE49-F238E27FC236}">
                <a16:creationId xmlns:a16="http://schemas.microsoft.com/office/drawing/2014/main" id="{D2FF3731-BF2B-48FA-A85A-30EEDCB62D51}"/>
              </a:ext>
            </a:extLst>
          </p:cNvPr>
          <p:cNvGrpSpPr/>
          <p:nvPr/>
        </p:nvGrpSpPr>
        <p:grpSpPr>
          <a:xfrm>
            <a:off x="7721704" y="2012797"/>
            <a:ext cx="1065951" cy="172800"/>
            <a:chOff x="1260034" y="1778319"/>
            <a:chExt cx="1065951" cy="172800"/>
          </a:xfrm>
        </p:grpSpPr>
        <p:sp>
          <p:nvSpPr>
            <p:cNvPr id="199" name="직사각형 198">
              <a:extLst>
                <a:ext uri="{FF2B5EF4-FFF2-40B4-BE49-F238E27FC236}">
                  <a16:creationId xmlns:a16="http://schemas.microsoft.com/office/drawing/2014/main" id="{C9EDE0D2-B965-4533-9205-6B2B860E1A71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00" name="직사각형 199">
              <a:extLst>
                <a:ext uri="{FF2B5EF4-FFF2-40B4-BE49-F238E27FC236}">
                  <a16:creationId xmlns:a16="http://schemas.microsoft.com/office/drawing/2014/main" id="{484EBEB5-AE92-423E-82D1-7BEC31B9E660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6FDA2DD1-BABC-494A-BAF4-8B80B9BE78FD}"/>
              </a:ext>
            </a:extLst>
          </p:cNvPr>
          <p:cNvGrpSpPr/>
          <p:nvPr/>
        </p:nvGrpSpPr>
        <p:grpSpPr>
          <a:xfrm>
            <a:off x="1320263" y="2999486"/>
            <a:ext cx="3676989" cy="176294"/>
            <a:chOff x="1334428" y="3000289"/>
            <a:chExt cx="3676989" cy="176294"/>
          </a:xfrm>
        </p:grpSpPr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29405672-7434-45AF-BF2E-91D670F7E03E}"/>
                </a:ext>
              </a:extLst>
            </p:cNvPr>
            <p:cNvSpPr/>
            <p:nvPr/>
          </p:nvSpPr>
          <p:spPr>
            <a:xfrm>
              <a:off x="1334428" y="3003783"/>
              <a:ext cx="346096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grpSp>
          <p:nvGrpSpPr>
            <p:cNvPr id="259" name="그룹 258">
              <a:extLst>
                <a:ext uri="{FF2B5EF4-FFF2-40B4-BE49-F238E27FC236}">
                  <a16:creationId xmlns:a16="http://schemas.microsoft.com/office/drawing/2014/main" id="{BD02B084-ABA8-4A19-9458-9EBFDA5D2560}"/>
                </a:ext>
              </a:extLst>
            </p:cNvPr>
            <p:cNvGrpSpPr/>
            <p:nvPr/>
          </p:nvGrpSpPr>
          <p:grpSpPr>
            <a:xfrm>
              <a:off x="4841945" y="3000289"/>
              <a:ext cx="169472" cy="169472"/>
              <a:chOff x="4841945" y="3000289"/>
              <a:chExt cx="169472" cy="169472"/>
            </a:xfrm>
          </p:grpSpPr>
          <p:sp>
            <p:nvSpPr>
              <p:cNvPr id="234" name="사각형: 둥근 모서리 233">
                <a:extLst>
                  <a:ext uri="{FF2B5EF4-FFF2-40B4-BE49-F238E27FC236}">
                    <a16:creationId xmlns:a16="http://schemas.microsoft.com/office/drawing/2014/main" id="{266CE57E-736D-4302-998F-397D939AEF19}"/>
                  </a:ext>
                </a:extLst>
              </p:cNvPr>
              <p:cNvSpPr/>
              <p:nvPr/>
            </p:nvSpPr>
            <p:spPr>
              <a:xfrm>
                <a:off x="4841945" y="3000289"/>
                <a:ext cx="169472" cy="169472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6" name="그림 235">
                <a:extLst>
                  <a:ext uri="{FF2B5EF4-FFF2-40B4-BE49-F238E27FC236}">
                    <a16:creationId xmlns:a16="http://schemas.microsoft.com/office/drawing/2014/main" id="{CBF49508-31A3-41B9-A7C1-178CE67FCA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57799" y="3008899"/>
                <a:ext cx="144016" cy="144016"/>
              </a:xfrm>
              <a:prstGeom prst="rect">
                <a:avLst/>
              </a:prstGeom>
            </p:spPr>
          </p:pic>
        </p:grpSp>
      </p:grpSp>
      <p:sp>
        <p:nvSpPr>
          <p:cNvPr id="237" name="직사각형 236">
            <a:extLst>
              <a:ext uri="{FF2B5EF4-FFF2-40B4-BE49-F238E27FC236}">
                <a16:creationId xmlns:a16="http://schemas.microsoft.com/office/drawing/2014/main" id="{A2422774-C518-4400-A03E-0B431DC56BB2}"/>
              </a:ext>
            </a:extLst>
          </p:cNvPr>
          <p:cNvSpPr/>
          <p:nvPr/>
        </p:nvSpPr>
        <p:spPr>
          <a:xfrm>
            <a:off x="1331352" y="2005431"/>
            <a:ext cx="159629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E2B63736-1B61-417B-A244-A2169D993191}"/>
              </a:ext>
            </a:extLst>
          </p:cNvPr>
          <p:cNvGrpSpPr/>
          <p:nvPr/>
        </p:nvGrpSpPr>
        <p:grpSpPr>
          <a:xfrm>
            <a:off x="5740533" y="2247017"/>
            <a:ext cx="1065951" cy="172800"/>
            <a:chOff x="1260034" y="1778319"/>
            <a:chExt cx="1065951" cy="172800"/>
          </a:xfrm>
        </p:grpSpPr>
        <p:sp>
          <p:nvSpPr>
            <p:cNvPr id="239" name="직사각형 238">
              <a:extLst>
                <a:ext uri="{FF2B5EF4-FFF2-40B4-BE49-F238E27FC236}">
                  <a16:creationId xmlns:a16="http://schemas.microsoft.com/office/drawing/2014/main" id="{FA4E2223-1DD4-4D4F-8B83-44925D2E5316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0" name="직사각형 239">
              <a:extLst>
                <a:ext uri="{FF2B5EF4-FFF2-40B4-BE49-F238E27FC236}">
                  <a16:creationId xmlns:a16="http://schemas.microsoft.com/office/drawing/2014/main" id="{7257429E-2A65-4FEF-9E79-31FDAAC07625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2CFC1E6E-8F0B-4450-BAF1-84CE7EC64C15}"/>
              </a:ext>
            </a:extLst>
          </p:cNvPr>
          <p:cNvGrpSpPr/>
          <p:nvPr/>
        </p:nvGrpSpPr>
        <p:grpSpPr>
          <a:xfrm>
            <a:off x="7721704" y="2243044"/>
            <a:ext cx="1065951" cy="172800"/>
            <a:chOff x="1260034" y="1778319"/>
            <a:chExt cx="1065951" cy="172800"/>
          </a:xfrm>
        </p:grpSpPr>
        <p:sp>
          <p:nvSpPr>
            <p:cNvPr id="242" name="직사각형 241">
              <a:extLst>
                <a:ext uri="{FF2B5EF4-FFF2-40B4-BE49-F238E27FC236}">
                  <a16:creationId xmlns:a16="http://schemas.microsoft.com/office/drawing/2014/main" id="{7E5A80AB-EA85-49C2-964E-E9E75BCFB6AE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4227F256-3E8D-42EB-9FDA-1674D512A4F2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44" name="표 66">
            <a:extLst>
              <a:ext uri="{FF2B5EF4-FFF2-40B4-BE49-F238E27FC236}">
                <a16:creationId xmlns:a16="http://schemas.microsoft.com/office/drawing/2014/main" id="{5E7F96FF-4465-4360-9046-6A1E4803731A}"/>
              </a:ext>
            </a:extLst>
          </p:cNvPr>
          <p:cNvGraphicFramePr>
            <a:graphicFrameLocks noGrp="1"/>
          </p:cNvGraphicFramePr>
          <p:nvPr/>
        </p:nvGraphicFramePr>
        <p:xfrm>
          <a:off x="841000" y="5530552"/>
          <a:ext cx="8140652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5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257909302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811645">
                  <a:extLst>
                    <a:ext uri="{9D8B030D-6E8A-4147-A177-3AD203B41FA5}">
                      <a16:colId xmlns:a16="http://schemas.microsoft.com/office/drawing/2014/main" val="3370459386"/>
                    </a:ext>
                  </a:extLst>
                </a:gridCol>
                <a:gridCol w="1348595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14256562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30630511"/>
                    </a:ext>
                  </a:extLst>
                </a:gridCol>
                <a:gridCol w="695187">
                  <a:extLst>
                    <a:ext uri="{9D8B030D-6E8A-4147-A177-3AD203B41FA5}">
                      <a16:colId xmlns:a16="http://schemas.microsoft.com/office/drawing/2014/main" val="2911285607"/>
                    </a:ext>
                  </a:extLst>
                </a:gridCol>
                <a:gridCol w="462273">
                  <a:extLst>
                    <a:ext uri="{9D8B030D-6E8A-4147-A177-3AD203B41FA5}">
                      <a16:colId xmlns:a16="http://schemas.microsoft.com/office/drawing/2014/main" val="1371808166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GRI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U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11-25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연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녹색성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245" name="화살표: 오른쪽 244">
            <a:extLst>
              <a:ext uri="{FF2B5EF4-FFF2-40B4-BE49-F238E27FC236}">
                <a16:creationId xmlns:a16="http://schemas.microsoft.com/office/drawing/2014/main" id="{4CBF2E6B-87FD-4AC9-B4FD-0076C6F9614A}"/>
              </a:ext>
            </a:extLst>
          </p:cNvPr>
          <p:cNvSpPr/>
          <p:nvPr/>
        </p:nvSpPr>
        <p:spPr>
          <a:xfrm>
            <a:off x="491484" y="5749067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376372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4108189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4113419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260" name="그룹 259">
            <a:extLst>
              <a:ext uri="{FF2B5EF4-FFF2-40B4-BE49-F238E27FC236}">
                <a16:creationId xmlns:a16="http://schemas.microsoft.com/office/drawing/2014/main" id="{B27B6193-9D81-4543-9504-15BE664E6B59}"/>
              </a:ext>
            </a:extLst>
          </p:cNvPr>
          <p:cNvGrpSpPr/>
          <p:nvPr/>
        </p:nvGrpSpPr>
        <p:grpSpPr>
          <a:xfrm>
            <a:off x="2952232" y="2006831"/>
            <a:ext cx="169472" cy="169472"/>
            <a:chOff x="4841945" y="3000289"/>
            <a:chExt cx="169472" cy="169472"/>
          </a:xfrm>
        </p:grpSpPr>
        <p:sp>
          <p:nvSpPr>
            <p:cNvPr id="261" name="사각형: 둥근 모서리 260">
              <a:extLst>
                <a:ext uri="{FF2B5EF4-FFF2-40B4-BE49-F238E27FC236}">
                  <a16:creationId xmlns:a16="http://schemas.microsoft.com/office/drawing/2014/main" id="{A21F50DD-2919-45C6-954E-E33DC1F7C48B}"/>
                </a:ext>
              </a:extLst>
            </p:cNvPr>
            <p:cNvSpPr/>
            <p:nvPr/>
          </p:nvSpPr>
          <p:spPr>
            <a:xfrm>
              <a:off x="4841945" y="3000289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62" name="그림 261">
              <a:extLst>
                <a:ext uri="{FF2B5EF4-FFF2-40B4-BE49-F238E27FC236}">
                  <a16:creationId xmlns:a16="http://schemas.microsoft.com/office/drawing/2014/main" id="{E19B243E-C650-4BE5-BE9F-2FC72E3FD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57799" y="3008899"/>
              <a:ext cx="144016" cy="144016"/>
            </a:xfrm>
            <a:prstGeom prst="rect">
              <a:avLst/>
            </a:prstGeom>
          </p:spPr>
        </p:pic>
      </p:grpSp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A25D0A63-881B-4E13-8FFD-B401C294364B}"/>
              </a:ext>
            </a:extLst>
          </p:cNvPr>
          <p:cNvGrpSpPr/>
          <p:nvPr/>
        </p:nvGrpSpPr>
        <p:grpSpPr>
          <a:xfrm>
            <a:off x="1325770" y="2245477"/>
            <a:ext cx="2197195" cy="174340"/>
            <a:chOff x="1331353" y="2500672"/>
            <a:chExt cx="2197195" cy="174340"/>
          </a:xfrm>
        </p:grpSpPr>
        <p:grpSp>
          <p:nvGrpSpPr>
            <p:cNvPr id="264" name="그룹 263">
              <a:extLst>
                <a:ext uri="{FF2B5EF4-FFF2-40B4-BE49-F238E27FC236}">
                  <a16:creationId xmlns:a16="http://schemas.microsoft.com/office/drawing/2014/main" id="{C4074594-5306-4BFB-AFCB-C788A7BA59AA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268" name="직사각형 267">
                <a:extLst>
                  <a:ext uri="{FF2B5EF4-FFF2-40B4-BE49-F238E27FC236}">
                    <a16:creationId xmlns:a16="http://schemas.microsoft.com/office/drawing/2014/main" id="{0B445854-7857-4266-8E76-E1BB8D79C420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9" name="직사각형 268">
                <a:extLst>
                  <a:ext uri="{FF2B5EF4-FFF2-40B4-BE49-F238E27FC236}">
                    <a16:creationId xmlns:a16="http://schemas.microsoft.com/office/drawing/2014/main" id="{086DAF83-B2D9-49AE-87C9-F7401679FEDA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265" name="그룹 264">
              <a:extLst>
                <a:ext uri="{FF2B5EF4-FFF2-40B4-BE49-F238E27FC236}">
                  <a16:creationId xmlns:a16="http://schemas.microsoft.com/office/drawing/2014/main" id="{F258107B-C617-455A-8271-DC7E8144FE38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266" name="직사각형 265">
                <a:extLst>
                  <a:ext uri="{FF2B5EF4-FFF2-40B4-BE49-F238E27FC236}">
                    <a16:creationId xmlns:a16="http://schemas.microsoft.com/office/drawing/2014/main" id="{E5104259-D520-4F5B-B718-068A82B5BB1C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7" name="직사각형 266">
                <a:extLst>
                  <a:ext uri="{FF2B5EF4-FFF2-40B4-BE49-F238E27FC236}">
                    <a16:creationId xmlns:a16="http://schemas.microsoft.com/office/drawing/2014/main" id="{46491C19-D344-4AFD-879B-BE5FB1F08ECF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271" name="사각형: 둥근 모서리 270">
            <a:extLst>
              <a:ext uri="{FF2B5EF4-FFF2-40B4-BE49-F238E27FC236}">
                <a16:creationId xmlns:a16="http://schemas.microsoft.com/office/drawing/2014/main" id="{98A9715A-D77F-4BC0-A002-EECE7E330985}"/>
              </a:ext>
            </a:extLst>
          </p:cNvPr>
          <p:cNvSpPr/>
          <p:nvPr/>
        </p:nvSpPr>
        <p:spPr>
          <a:xfrm>
            <a:off x="443824" y="46268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2" name="사각형: 둥근 모서리 271">
            <a:extLst>
              <a:ext uri="{FF2B5EF4-FFF2-40B4-BE49-F238E27FC236}">
                <a16:creationId xmlns:a16="http://schemas.microsoft.com/office/drawing/2014/main" id="{C21EF9C1-0EDA-4694-84B7-376355ED2FF0}"/>
              </a:ext>
            </a:extLst>
          </p:cNvPr>
          <p:cNvSpPr/>
          <p:nvPr/>
        </p:nvSpPr>
        <p:spPr>
          <a:xfrm>
            <a:off x="443824" y="5048569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3" name="사각형: 둥근 모서리 272">
            <a:extLst>
              <a:ext uri="{FF2B5EF4-FFF2-40B4-BE49-F238E27FC236}">
                <a16:creationId xmlns:a16="http://schemas.microsoft.com/office/drawing/2014/main" id="{F1BF2076-BF45-4989-A3B3-9AC3C1AA753C}"/>
              </a:ext>
            </a:extLst>
          </p:cNvPr>
          <p:cNvSpPr/>
          <p:nvPr/>
        </p:nvSpPr>
        <p:spPr>
          <a:xfrm>
            <a:off x="443824" y="48422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B705B3E0-8595-4AB6-BF6A-E598A59A65A7}"/>
              </a:ext>
            </a:extLst>
          </p:cNvPr>
          <p:cNvSpPr/>
          <p:nvPr/>
        </p:nvSpPr>
        <p:spPr>
          <a:xfrm>
            <a:off x="443824" y="526057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5" name="사각형: 둥근 모서리 274">
            <a:extLst>
              <a:ext uri="{FF2B5EF4-FFF2-40B4-BE49-F238E27FC236}">
                <a16:creationId xmlns:a16="http://schemas.microsoft.com/office/drawing/2014/main" id="{81ED1F1B-7A87-48F3-839C-9DC9B3A967AC}"/>
              </a:ext>
            </a:extLst>
          </p:cNvPr>
          <p:cNvSpPr/>
          <p:nvPr/>
        </p:nvSpPr>
        <p:spPr>
          <a:xfrm>
            <a:off x="8232954" y="3822780"/>
            <a:ext cx="671358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태변경</a:t>
            </a:r>
          </a:p>
        </p:txBody>
      </p:sp>
      <p:grpSp>
        <p:nvGrpSpPr>
          <p:cNvPr id="276" name="그룹 275">
            <a:extLst>
              <a:ext uri="{FF2B5EF4-FFF2-40B4-BE49-F238E27FC236}">
                <a16:creationId xmlns:a16="http://schemas.microsoft.com/office/drawing/2014/main" id="{AF3F1031-5831-414E-91D5-AC0D4231195D}"/>
              </a:ext>
            </a:extLst>
          </p:cNvPr>
          <p:cNvGrpSpPr/>
          <p:nvPr/>
        </p:nvGrpSpPr>
        <p:grpSpPr>
          <a:xfrm>
            <a:off x="7477874" y="3818717"/>
            <a:ext cx="696669" cy="172800"/>
            <a:chOff x="1260033" y="1778319"/>
            <a:chExt cx="696669" cy="172800"/>
          </a:xfrm>
        </p:grpSpPr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01EC4F23-92CE-4F5C-AAD1-4F9A2F49675E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비공개</a:t>
              </a:r>
            </a:p>
          </p:txBody>
        </p:sp>
        <p:sp>
          <p:nvSpPr>
            <p:cNvPr id="278" name="직사각형 277">
              <a:extLst>
                <a:ext uri="{FF2B5EF4-FFF2-40B4-BE49-F238E27FC236}">
                  <a16:creationId xmlns:a16="http://schemas.microsoft.com/office/drawing/2014/main" id="{924BC30D-9662-4D5E-A0B5-BB84C023CB0E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6167D580-BED1-4C6A-9F13-6B0C15EECDCF}"/>
              </a:ext>
            </a:extLst>
          </p:cNvPr>
          <p:cNvSpPr/>
          <p:nvPr/>
        </p:nvSpPr>
        <p:spPr>
          <a:xfrm>
            <a:off x="335820" y="613069"/>
            <a:ext cx="8659717" cy="6063912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AA9C9DEA-473C-4E3B-9F41-445ABE86D84A}"/>
              </a:ext>
            </a:extLst>
          </p:cNvPr>
          <p:cNvGrpSpPr/>
          <p:nvPr/>
        </p:nvGrpSpPr>
        <p:grpSpPr>
          <a:xfrm>
            <a:off x="1517359" y="2154868"/>
            <a:ext cx="983380" cy="172800"/>
            <a:chOff x="1260034" y="1778319"/>
            <a:chExt cx="983380" cy="172800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FB11BC6B-F3A0-4A31-93FA-C8838B8BDF14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378C91FA-71B0-4C0F-B3B5-960E3377323A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59DA8D23-56BC-4374-95F9-8977EDF45CD7}"/>
              </a:ext>
            </a:extLst>
          </p:cNvPr>
          <p:cNvSpPr/>
          <p:nvPr/>
        </p:nvSpPr>
        <p:spPr>
          <a:xfrm>
            <a:off x="1503502" y="1619563"/>
            <a:ext cx="457977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ttps://url.kr/vgp92r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2C3F1AA2-101D-46FE-ADBF-C63E8352E80D}"/>
              </a:ext>
            </a:extLst>
          </p:cNvPr>
          <p:cNvSpPr/>
          <p:nvPr/>
        </p:nvSpPr>
        <p:spPr>
          <a:xfrm>
            <a:off x="1513734" y="1880694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6652001C-4C08-4874-B953-760D661C93B3}"/>
              </a:ext>
            </a:extLst>
          </p:cNvPr>
          <p:cNvSpPr/>
          <p:nvPr/>
        </p:nvSpPr>
        <p:spPr>
          <a:xfrm>
            <a:off x="3360557" y="1879704"/>
            <a:ext cx="169472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8" name="그림 97">
            <a:extLst>
              <a:ext uri="{FF2B5EF4-FFF2-40B4-BE49-F238E27FC236}">
                <a16:creationId xmlns:a16="http://schemas.microsoft.com/office/drawing/2014/main" id="{E511A56B-88AF-41A4-97B1-98C77C6F9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76411" y="1888314"/>
            <a:ext cx="144016" cy="144016"/>
          </a:xfrm>
          <a:prstGeom prst="rect">
            <a:avLst/>
          </a:prstGeom>
        </p:spPr>
      </p:pic>
      <p:grpSp>
        <p:nvGrpSpPr>
          <p:cNvPr id="99" name="그룹 98">
            <a:extLst>
              <a:ext uri="{FF2B5EF4-FFF2-40B4-BE49-F238E27FC236}">
                <a16:creationId xmlns:a16="http://schemas.microsoft.com/office/drawing/2014/main" id="{CC06B9F3-8B6E-4431-AAD0-5888EDF47775}"/>
              </a:ext>
            </a:extLst>
          </p:cNvPr>
          <p:cNvGrpSpPr/>
          <p:nvPr/>
        </p:nvGrpSpPr>
        <p:grpSpPr>
          <a:xfrm>
            <a:off x="2557641" y="2152770"/>
            <a:ext cx="1067418" cy="172800"/>
            <a:chOff x="1260034" y="1778319"/>
            <a:chExt cx="1067418" cy="172800"/>
          </a:xfrm>
        </p:grpSpPr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A18AA7BE-8D64-4D94-B0A6-03C86CCA3F5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82EAE134-3561-4DFE-9241-11597801EDC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8D177732-ABB6-4955-BCF1-A1DD0332F462}"/>
              </a:ext>
            </a:extLst>
          </p:cNvPr>
          <p:cNvSpPr/>
          <p:nvPr/>
        </p:nvSpPr>
        <p:spPr>
          <a:xfrm>
            <a:off x="1155954" y="975708"/>
            <a:ext cx="7183959" cy="554962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2453A24F-CC26-4BBD-B74F-DD677F9EDDDE}"/>
              </a:ext>
            </a:extLst>
          </p:cNvPr>
          <p:cNvSpPr/>
          <p:nvPr/>
        </p:nvSpPr>
        <p:spPr>
          <a:xfrm>
            <a:off x="1155954" y="759198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상세 조회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4" name="표 12">
            <a:extLst>
              <a:ext uri="{FF2B5EF4-FFF2-40B4-BE49-F238E27FC236}">
                <a16:creationId xmlns:a16="http://schemas.microsoft.com/office/drawing/2014/main" id="{06E4FAD8-8B7A-4205-9C11-D74B15263D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9409703"/>
              </p:ext>
            </p:extLst>
          </p:nvPr>
        </p:nvGraphicFramePr>
        <p:xfrm>
          <a:off x="1209259" y="1105312"/>
          <a:ext cx="7118986" cy="23874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8747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209068">
                  <a:extLst>
                    <a:ext uri="{9D8B030D-6E8A-4147-A177-3AD203B41FA5}">
                      <a16:colId xmlns:a16="http://schemas.microsoft.com/office/drawing/2014/main" val="713958032"/>
                    </a:ext>
                  </a:extLst>
                </a:gridCol>
                <a:gridCol w="690691">
                  <a:extLst>
                    <a:ext uri="{9D8B030D-6E8A-4147-A177-3AD203B41FA5}">
                      <a16:colId xmlns:a16="http://schemas.microsoft.com/office/drawing/2014/main" val="1632271762"/>
                    </a:ext>
                  </a:extLst>
                </a:gridCol>
                <a:gridCol w="349666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442422">
                  <a:extLst>
                    <a:ext uri="{9D8B030D-6E8A-4147-A177-3AD203B41FA5}">
                      <a16:colId xmlns:a16="http://schemas.microsoft.com/office/drawing/2014/main" val="614263173"/>
                    </a:ext>
                  </a:extLst>
                </a:gridCol>
                <a:gridCol w="989053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667131">
                  <a:extLst>
                    <a:ext uri="{9D8B030D-6E8A-4147-A177-3AD203B41FA5}">
                      <a16:colId xmlns:a16="http://schemas.microsoft.com/office/drawing/2014/main" val="360586666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3676445125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둥록방식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MIP0001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235077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 언어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 일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en-US" altLang="ko-KR" sz="800" dirty="0"/>
                        <a:t>ESG</a:t>
                      </a:r>
                      <a:r>
                        <a:rPr lang="ko-KR" altLang="en-US" sz="800" dirty="0"/>
                        <a:t>일반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54164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전체열람허용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가능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로그인회원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열람 불가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일부공개    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  가능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2585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 </a:t>
                      </a: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가능            ○ 불가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키워드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경영보고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SR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</a:tbl>
          </a:graphicData>
        </a:graphic>
      </p:graphicFrame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C42775B7-06D7-467D-953E-BC23FB502812}"/>
              </a:ext>
            </a:extLst>
          </p:cNvPr>
          <p:cNvSpPr/>
          <p:nvPr/>
        </p:nvSpPr>
        <p:spPr>
          <a:xfrm>
            <a:off x="2177163" y="1424890"/>
            <a:ext cx="347240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중립의 이해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B286242F-04F3-4A95-B808-632EDE63734E}"/>
              </a:ext>
            </a:extLst>
          </p:cNvPr>
          <p:cNvGrpSpPr/>
          <p:nvPr/>
        </p:nvGrpSpPr>
        <p:grpSpPr>
          <a:xfrm>
            <a:off x="2172367" y="1965637"/>
            <a:ext cx="1573996" cy="178503"/>
            <a:chOff x="6534977" y="1948717"/>
            <a:chExt cx="1573996" cy="178503"/>
          </a:xfrm>
        </p:grpSpPr>
        <p:grpSp>
          <p:nvGrpSpPr>
            <p:cNvPr id="111" name="그룹 110">
              <a:extLst>
                <a:ext uri="{FF2B5EF4-FFF2-40B4-BE49-F238E27FC236}">
                  <a16:creationId xmlns:a16="http://schemas.microsoft.com/office/drawing/2014/main" id="{112F7305-1215-48A4-B037-1E684701A965}"/>
                </a:ext>
              </a:extLst>
            </p:cNvPr>
            <p:cNvGrpSpPr/>
            <p:nvPr/>
          </p:nvGrpSpPr>
          <p:grpSpPr>
            <a:xfrm>
              <a:off x="6534977" y="1954420"/>
              <a:ext cx="589035" cy="172800"/>
              <a:chOff x="1260034" y="1778319"/>
              <a:chExt cx="589035" cy="172800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2D8A0290-317D-4023-AA70-3102C7993AE3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373011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선택</a:t>
                </a: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04744306-8C78-4014-9BD4-FC78D2B2EDBA}"/>
                  </a:ext>
                </a:extLst>
              </p:cNvPr>
              <p:cNvSpPr/>
              <p:nvPr/>
            </p:nvSpPr>
            <p:spPr>
              <a:xfrm>
                <a:off x="1633045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169ED6AB-A268-46F6-97B8-56311D1D15F5}"/>
                </a:ext>
              </a:extLst>
            </p:cNvPr>
            <p:cNvSpPr/>
            <p:nvPr/>
          </p:nvSpPr>
          <p:spPr>
            <a:xfrm>
              <a:off x="7176340" y="1948717"/>
              <a:ext cx="37301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F43185CC-8F18-4268-8EA9-2F83EEA88FE4}"/>
                </a:ext>
              </a:extLst>
            </p:cNvPr>
            <p:cNvSpPr/>
            <p:nvPr/>
          </p:nvSpPr>
          <p:spPr>
            <a:xfrm>
              <a:off x="7578871" y="1948717"/>
              <a:ext cx="247012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09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6" name="직사각형 115">
              <a:extLst>
                <a:ext uri="{FF2B5EF4-FFF2-40B4-BE49-F238E27FC236}">
                  <a16:creationId xmlns:a16="http://schemas.microsoft.com/office/drawing/2014/main" id="{E4B9708C-8C77-4298-95C5-4C349DE0A312}"/>
                </a:ext>
              </a:extLst>
            </p:cNvPr>
            <p:cNvSpPr/>
            <p:nvPr/>
          </p:nvSpPr>
          <p:spPr>
            <a:xfrm>
              <a:off x="7861961" y="1948717"/>
              <a:ext cx="247012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algn="ctr"/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0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D60B3830-207A-47F5-8601-C55711AA7AC6}"/>
              </a:ext>
            </a:extLst>
          </p:cNvPr>
          <p:cNvSpPr/>
          <p:nvPr/>
        </p:nvSpPr>
        <p:spPr>
          <a:xfrm>
            <a:off x="2175577" y="1686045"/>
            <a:ext cx="122385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0" name="그룹 119">
            <a:extLst>
              <a:ext uri="{FF2B5EF4-FFF2-40B4-BE49-F238E27FC236}">
                <a16:creationId xmlns:a16="http://schemas.microsoft.com/office/drawing/2014/main" id="{6DC0992A-B5C6-4F16-A9DC-3FB3D6394528}"/>
              </a:ext>
            </a:extLst>
          </p:cNvPr>
          <p:cNvGrpSpPr/>
          <p:nvPr/>
        </p:nvGrpSpPr>
        <p:grpSpPr>
          <a:xfrm>
            <a:off x="3421975" y="1685506"/>
            <a:ext cx="169472" cy="169472"/>
            <a:chOff x="3180922" y="2352202"/>
            <a:chExt cx="169472" cy="169472"/>
          </a:xfrm>
        </p:grpSpPr>
        <p:sp>
          <p:nvSpPr>
            <p:cNvPr id="121" name="사각형: 둥근 모서리 120">
              <a:extLst>
                <a:ext uri="{FF2B5EF4-FFF2-40B4-BE49-F238E27FC236}">
                  <a16:creationId xmlns:a16="http://schemas.microsoft.com/office/drawing/2014/main" id="{9CA4321F-C82C-4CBB-87A2-9574FA29F18D}"/>
                </a:ext>
              </a:extLst>
            </p:cNvPr>
            <p:cNvSpPr/>
            <p:nvPr/>
          </p:nvSpPr>
          <p:spPr>
            <a:xfrm>
              <a:off x="3180922" y="235220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22" name="그림 121">
              <a:extLst>
                <a:ext uri="{FF2B5EF4-FFF2-40B4-BE49-F238E27FC236}">
                  <a16:creationId xmlns:a16="http://schemas.microsoft.com/office/drawing/2014/main" id="{E5B1750D-A4CE-4693-ADA3-615B910F82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96776" y="2360812"/>
              <a:ext cx="144016" cy="144016"/>
            </a:xfrm>
            <a:prstGeom prst="rect">
              <a:avLst/>
            </a:prstGeom>
          </p:spPr>
        </p:pic>
      </p:grp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3453809A-5A54-4C89-9EDE-A49FFB3C5AFF}"/>
              </a:ext>
            </a:extLst>
          </p:cNvPr>
          <p:cNvGrpSpPr/>
          <p:nvPr/>
        </p:nvGrpSpPr>
        <p:grpSpPr>
          <a:xfrm>
            <a:off x="6506870" y="1681376"/>
            <a:ext cx="1065951" cy="172800"/>
            <a:chOff x="1260034" y="1778319"/>
            <a:chExt cx="1065951" cy="172800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90C317B3-BBA0-4172-8651-08E56617FB3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D08DF1B3-6E22-494C-A29E-78EC385732DB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F2590DB0-774A-4A8F-A06D-7ECCF9858635}"/>
              </a:ext>
            </a:extLst>
          </p:cNvPr>
          <p:cNvGrpSpPr/>
          <p:nvPr/>
        </p:nvGrpSpPr>
        <p:grpSpPr>
          <a:xfrm>
            <a:off x="4827780" y="2530201"/>
            <a:ext cx="2690918" cy="389894"/>
            <a:chOff x="4535523" y="2682656"/>
            <a:chExt cx="2690918" cy="389894"/>
          </a:xfrm>
        </p:grpSpPr>
        <p:grpSp>
          <p:nvGrpSpPr>
            <p:cNvPr id="127" name="그룹 126">
              <a:extLst>
                <a:ext uri="{FF2B5EF4-FFF2-40B4-BE49-F238E27FC236}">
                  <a16:creationId xmlns:a16="http://schemas.microsoft.com/office/drawing/2014/main" id="{CF94A234-9326-4275-9324-CD18AD11CE5C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40" name="그룹 139">
                <a:extLst>
                  <a:ext uri="{FF2B5EF4-FFF2-40B4-BE49-F238E27FC236}">
                    <a16:creationId xmlns:a16="http://schemas.microsoft.com/office/drawing/2014/main" id="{E2C4E60B-1A9C-441B-8A71-DF9B580B2D61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46" name="직사각형 145">
                  <a:extLst>
                    <a:ext uri="{FF2B5EF4-FFF2-40B4-BE49-F238E27FC236}">
                      <a16:creationId xmlns:a16="http://schemas.microsoft.com/office/drawing/2014/main" id="{08C317B3-1058-4E84-8EBF-1497C7ECE5C6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53" name="직사각형 152">
                  <a:extLst>
                    <a:ext uri="{FF2B5EF4-FFF2-40B4-BE49-F238E27FC236}">
                      <a16:creationId xmlns:a16="http://schemas.microsoft.com/office/drawing/2014/main" id="{4D9F4B59-EF73-4BDA-B1F6-4B2AFA0C5112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54" name="그림 153">
                  <a:extLst>
                    <a:ext uri="{FF2B5EF4-FFF2-40B4-BE49-F238E27FC236}">
                      <a16:creationId xmlns:a16="http://schemas.microsoft.com/office/drawing/2014/main" id="{1A0892AB-05C0-4493-A59B-70619CEEFD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41" name="직사각형 140">
                <a:extLst>
                  <a:ext uri="{FF2B5EF4-FFF2-40B4-BE49-F238E27FC236}">
                    <a16:creationId xmlns:a16="http://schemas.microsoft.com/office/drawing/2014/main" id="{F2A0A2A4-D5EE-467B-B872-BE2B046ABEBE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42" name="직사각형 141">
                <a:extLst>
                  <a:ext uri="{FF2B5EF4-FFF2-40B4-BE49-F238E27FC236}">
                    <a16:creationId xmlns:a16="http://schemas.microsoft.com/office/drawing/2014/main" id="{319B190E-034B-44CA-AF2E-447EE7A5E03A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908CC37C-E285-454D-BFAC-AA9CDC743E76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4" name="직사각형 143">
                <a:extLst>
                  <a:ext uri="{FF2B5EF4-FFF2-40B4-BE49-F238E27FC236}">
                    <a16:creationId xmlns:a16="http://schemas.microsoft.com/office/drawing/2014/main" id="{53419FE7-13A1-4055-9258-4AAD6239FF2C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5" name="직사각형 144">
                <a:extLst>
                  <a:ext uri="{FF2B5EF4-FFF2-40B4-BE49-F238E27FC236}">
                    <a16:creationId xmlns:a16="http://schemas.microsoft.com/office/drawing/2014/main" id="{FE681D80-2F1F-47E7-993B-973570B48CF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28" name="그룹 127">
              <a:extLst>
                <a:ext uri="{FF2B5EF4-FFF2-40B4-BE49-F238E27FC236}">
                  <a16:creationId xmlns:a16="http://schemas.microsoft.com/office/drawing/2014/main" id="{7B6FB4CF-EE55-410F-B75B-E50FB278CDE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32" name="그룹 131">
                <a:extLst>
                  <a:ext uri="{FF2B5EF4-FFF2-40B4-BE49-F238E27FC236}">
                    <a16:creationId xmlns:a16="http://schemas.microsoft.com/office/drawing/2014/main" id="{799F9A00-6712-49E6-9AFD-944FADD206FF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37" name="직사각형 136">
                  <a:extLst>
                    <a:ext uri="{FF2B5EF4-FFF2-40B4-BE49-F238E27FC236}">
                      <a16:creationId xmlns:a16="http://schemas.microsoft.com/office/drawing/2014/main" id="{382B2836-464A-402D-B646-0FC0EE3BC668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38" name="직사각형 137">
                  <a:extLst>
                    <a:ext uri="{FF2B5EF4-FFF2-40B4-BE49-F238E27FC236}">
                      <a16:creationId xmlns:a16="http://schemas.microsoft.com/office/drawing/2014/main" id="{31C8660C-A723-43C7-B531-683C10C405E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39" name="그림 138">
                  <a:extLst>
                    <a:ext uri="{FF2B5EF4-FFF2-40B4-BE49-F238E27FC236}">
                      <a16:creationId xmlns:a16="http://schemas.microsoft.com/office/drawing/2014/main" id="{ED3B4726-8BE0-4F67-8699-9374631AF6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BCE92AD9-DCA4-4613-83EF-581A263F0A3F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A84BD1C8-BC7A-46E1-B0EF-F7287E73868A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48B3CCB7-F183-4318-BC5E-E58ABD6BC92F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6" name="직사각형 135">
                <a:extLst>
                  <a:ext uri="{FF2B5EF4-FFF2-40B4-BE49-F238E27FC236}">
                    <a16:creationId xmlns:a16="http://schemas.microsoft.com/office/drawing/2014/main" id="{3E857AD3-1A21-4F62-999B-28A665C2750B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FE47809C-2B43-48BE-95F5-1AE2C8228552}"/>
                </a:ext>
              </a:extLst>
            </p:cNvPr>
            <p:cNvSpPr/>
            <p:nvPr/>
          </p:nvSpPr>
          <p:spPr>
            <a:xfrm>
              <a:off x="4672343" y="2682656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30" name="사각형: 둥근 모서리 129">
              <a:extLst>
                <a:ext uri="{FF2B5EF4-FFF2-40B4-BE49-F238E27FC236}">
                  <a16:creationId xmlns:a16="http://schemas.microsoft.com/office/drawing/2014/main" id="{CBE7BEA6-4EEF-49E9-8AF6-3E00B19C7AD0}"/>
                </a:ext>
              </a:extLst>
            </p:cNvPr>
            <p:cNvSpPr/>
            <p:nvPr/>
          </p:nvSpPr>
          <p:spPr>
            <a:xfrm>
              <a:off x="4591201" y="2686492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1" name="그림 130">
              <a:extLst>
                <a:ext uri="{FF2B5EF4-FFF2-40B4-BE49-F238E27FC236}">
                  <a16:creationId xmlns:a16="http://schemas.microsoft.com/office/drawing/2014/main" id="{765F1F28-C269-4CCA-90CC-A18D67084F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16764" y="2720354"/>
              <a:ext cx="81910" cy="81910"/>
            </a:xfrm>
            <a:prstGeom prst="rect">
              <a:avLst/>
            </a:prstGeom>
          </p:spPr>
        </p:pic>
      </p:grp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7BD0306B-4B45-4721-BA3B-179B6B1EEFF8}"/>
              </a:ext>
            </a:extLst>
          </p:cNvPr>
          <p:cNvSpPr/>
          <p:nvPr/>
        </p:nvSpPr>
        <p:spPr>
          <a:xfrm>
            <a:off x="4678248" y="1682178"/>
            <a:ext cx="995125" cy="1728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외</a:t>
            </a:r>
          </a:p>
        </p:txBody>
      </p:sp>
      <p:grpSp>
        <p:nvGrpSpPr>
          <p:cNvPr id="165" name="그룹 164">
            <a:extLst>
              <a:ext uri="{FF2B5EF4-FFF2-40B4-BE49-F238E27FC236}">
                <a16:creationId xmlns:a16="http://schemas.microsoft.com/office/drawing/2014/main" id="{F760E396-3C63-4DA7-B9A4-247137213256}"/>
              </a:ext>
            </a:extLst>
          </p:cNvPr>
          <p:cNvGrpSpPr/>
          <p:nvPr/>
        </p:nvGrpSpPr>
        <p:grpSpPr>
          <a:xfrm>
            <a:off x="6508217" y="1408277"/>
            <a:ext cx="1065951" cy="172800"/>
            <a:chOff x="1260034" y="1778319"/>
            <a:chExt cx="1065951" cy="172800"/>
          </a:xfrm>
        </p:grpSpPr>
        <p:sp>
          <p:nvSpPr>
            <p:cNvPr id="167" name="직사각형 166">
              <a:extLst>
                <a:ext uri="{FF2B5EF4-FFF2-40B4-BE49-F238E27FC236}">
                  <a16:creationId xmlns:a16="http://schemas.microsoft.com/office/drawing/2014/main" id="{B92FC971-0375-4395-8122-2FAFC8F7832D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용중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68" name="직사각형 167">
              <a:extLst>
                <a:ext uri="{FF2B5EF4-FFF2-40B4-BE49-F238E27FC236}">
                  <a16:creationId xmlns:a16="http://schemas.microsoft.com/office/drawing/2014/main" id="{3114A6C9-37E5-4229-9FD1-039CE16EA467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72" name="직사각형 171">
            <a:extLst>
              <a:ext uri="{FF2B5EF4-FFF2-40B4-BE49-F238E27FC236}">
                <a16:creationId xmlns:a16="http://schemas.microsoft.com/office/drawing/2014/main" id="{86D90857-66EE-4CDF-86E3-AB7FDDDBA843}"/>
              </a:ext>
            </a:extLst>
          </p:cNvPr>
          <p:cNvSpPr/>
          <p:nvPr/>
        </p:nvSpPr>
        <p:spPr>
          <a:xfrm>
            <a:off x="1222080" y="1098393"/>
            <a:ext cx="7106168" cy="553300"/>
          </a:xfrm>
          <a:prstGeom prst="rect">
            <a:avLst/>
          </a:prstGeom>
          <a:solidFill>
            <a:srgbClr val="FBE5D6">
              <a:alpha val="10196"/>
            </a:srgbClr>
          </a:solidFill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69" name="직사각형 168">
            <a:extLst>
              <a:ext uri="{FF2B5EF4-FFF2-40B4-BE49-F238E27FC236}">
                <a16:creationId xmlns:a16="http://schemas.microsoft.com/office/drawing/2014/main" id="{B6D0B417-7065-4E54-B7DA-9E0CF61C4375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포인트레슨</a:t>
            </a:r>
          </a:p>
        </p:txBody>
      </p:sp>
      <p:cxnSp>
        <p:nvCxnSpPr>
          <p:cNvPr id="180" name="직선 연결선 179">
            <a:extLst>
              <a:ext uri="{FF2B5EF4-FFF2-40B4-BE49-F238E27FC236}">
                <a16:creationId xmlns:a16="http://schemas.microsoft.com/office/drawing/2014/main" id="{A9BB9656-CCBC-428C-950B-5D52051BFB35}"/>
              </a:ext>
            </a:extLst>
          </p:cNvPr>
          <p:cNvCxnSpPr>
            <a:cxnSpLocks/>
          </p:cNvCxnSpPr>
          <p:nvPr/>
        </p:nvCxnSpPr>
        <p:spPr>
          <a:xfrm>
            <a:off x="1188363" y="6348652"/>
            <a:ext cx="7183959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직사각형 180">
            <a:extLst>
              <a:ext uri="{FF2B5EF4-FFF2-40B4-BE49-F238E27FC236}">
                <a16:creationId xmlns:a16="http://schemas.microsoft.com/office/drawing/2014/main" id="{CE5FCF03-17DF-47E8-8601-C9CFFB84C78A}"/>
              </a:ext>
            </a:extLst>
          </p:cNvPr>
          <p:cNvSpPr/>
          <p:nvPr/>
        </p:nvSpPr>
        <p:spPr>
          <a:xfrm>
            <a:off x="4251537" y="6183461"/>
            <a:ext cx="868759" cy="3050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뒤에 이어서</a:t>
            </a:r>
          </a:p>
        </p:txBody>
      </p:sp>
      <p:graphicFrame>
        <p:nvGraphicFramePr>
          <p:cNvPr id="161" name="표 160">
            <a:extLst>
              <a:ext uri="{FF2B5EF4-FFF2-40B4-BE49-F238E27FC236}">
                <a16:creationId xmlns:a16="http://schemas.microsoft.com/office/drawing/2014/main" id="{B6135779-9E9E-4A07-9577-B6577D90B1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9626280"/>
              </p:ext>
            </p:extLst>
          </p:nvPr>
        </p:nvGraphicFramePr>
        <p:xfrm>
          <a:off x="1209259" y="5340492"/>
          <a:ext cx="7118989" cy="6807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2425">
                  <a:extLst>
                    <a:ext uri="{9D8B030D-6E8A-4147-A177-3AD203B41FA5}">
                      <a16:colId xmlns:a16="http://schemas.microsoft.com/office/drawing/2014/main" val="1793693949"/>
                    </a:ext>
                  </a:extLst>
                </a:gridCol>
                <a:gridCol w="2471708">
                  <a:extLst>
                    <a:ext uri="{9D8B030D-6E8A-4147-A177-3AD203B41FA5}">
                      <a16:colId xmlns:a16="http://schemas.microsoft.com/office/drawing/2014/main" val="2680906614"/>
                    </a:ext>
                  </a:extLst>
                </a:gridCol>
                <a:gridCol w="1225831">
                  <a:extLst>
                    <a:ext uri="{9D8B030D-6E8A-4147-A177-3AD203B41FA5}">
                      <a16:colId xmlns:a16="http://schemas.microsoft.com/office/drawing/2014/main" val="3414458107"/>
                    </a:ext>
                  </a:extLst>
                </a:gridCol>
                <a:gridCol w="2689025">
                  <a:extLst>
                    <a:ext uri="{9D8B030D-6E8A-4147-A177-3AD203B41FA5}">
                      <a16:colId xmlns:a16="http://schemas.microsoft.com/office/drawing/2014/main" val="1946934476"/>
                    </a:ext>
                  </a:extLst>
                </a:gridCol>
              </a:tblGrid>
              <a:tr h="680796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000*0000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요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7037441"/>
                  </a:ext>
                </a:extLst>
              </a:tr>
            </a:tbl>
          </a:graphicData>
        </a:graphic>
      </p:graphicFrame>
      <p:graphicFrame>
        <p:nvGraphicFramePr>
          <p:cNvPr id="162" name="표 161">
            <a:extLst>
              <a:ext uri="{FF2B5EF4-FFF2-40B4-BE49-F238E27FC236}">
                <a16:creationId xmlns:a16="http://schemas.microsoft.com/office/drawing/2014/main" id="{2302984E-7573-4C8B-9331-43E0895A01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3293194"/>
              </p:ext>
            </p:extLst>
          </p:nvPr>
        </p:nvGraphicFramePr>
        <p:xfrm>
          <a:off x="1209259" y="3559114"/>
          <a:ext cx="7118987" cy="17150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2425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912366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grpSp>
        <p:nvGrpSpPr>
          <p:cNvPr id="163" name="그룹 162">
            <a:extLst>
              <a:ext uri="{FF2B5EF4-FFF2-40B4-BE49-F238E27FC236}">
                <a16:creationId xmlns:a16="http://schemas.microsoft.com/office/drawing/2014/main" id="{EEEDA4BB-736F-44AB-8AD5-CD0599CAD8CB}"/>
              </a:ext>
            </a:extLst>
          </p:cNvPr>
          <p:cNvGrpSpPr/>
          <p:nvPr/>
        </p:nvGrpSpPr>
        <p:grpSpPr>
          <a:xfrm>
            <a:off x="2376359" y="5413783"/>
            <a:ext cx="1343377" cy="574781"/>
            <a:chOff x="1941366" y="5622598"/>
            <a:chExt cx="1343377" cy="574781"/>
          </a:xfrm>
        </p:grpSpPr>
        <p:pic>
          <p:nvPicPr>
            <p:cNvPr id="164" name="그림 163">
              <a:extLst>
                <a:ext uri="{FF2B5EF4-FFF2-40B4-BE49-F238E27FC236}">
                  <a16:creationId xmlns:a16="http://schemas.microsoft.com/office/drawing/2014/main" id="{0FB12C95-4052-416E-9555-3BE336693D8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01734" y="5632052"/>
              <a:ext cx="1283009" cy="565327"/>
            </a:xfrm>
            <a:prstGeom prst="rect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</p:pic>
        <p:sp>
          <p:nvSpPr>
            <p:cNvPr id="170" name="직사각형 169">
              <a:extLst>
                <a:ext uri="{FF2B5EF4-FFF2-40B4-BE49-F238E27FC236}">
                  <a16:creationId xmlns:a16="http://schemas.microsoft.com/office/drawing/2014/main" id="{13460F7F-E78F-4911-9B42-63AACF4B44D9}"/>
                </a:ext>
              </a:extLst>
            </p:cNvPr>
            <p:cNvSpPr/>
            <p:nvPr/>
          </p:nvSpPr>
          <p:spPr>
            <a:xfrm>
              <a:off x="1941366" y="5622598"/>
              <a:ext cx="1301582" cy="574781"/>
            </a:xfrm>
            <a:prstGeom prst="rect">
              <a:avLst/>
            </a:prstGeom>
            <a:solidFill>
              <a:srgbClr val="FFFFFF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171" name="그룹 170">
              <a:extLst>
                <a:ext uri="{FF2B5EF4-FFF2-40B4-BE49-F238E27FC236}">
                  <a16:creationId xmlns:a16="http://schemas.microsoft.com/office/drawing/2014/main" id="{E1D6E091-7ABA-4C35-B5D8-FBB1C1E5AA0F}"/>
                </a:ext>
              </a:extLst>
            </p:cNvPr>
            <p:cNvGrpSpPr/>
            <p:nvPr/>
          </p:nvGrpSpPr>
          <p:grpSpPr>
            <a:xfrm>
              <a:off x="2483678" y="5671970"/>
              <a:ext cx="292384" cy="246968"/>
              <a:chOff x="2527622" y="5858437"/>
              <a:chExt cx="292384" cy="246968"/>
            </a:xfrm>
          </p:grpSpPr>
          <p:sp>
            <p:nvSpPr>
              <p:cNvPr id="174" name="사각형: 둥근 모서리 173">
                <a:extLst>
                  <a:ext uri="{FF2B5EF4-FFF2-40B4-BE49-F238E27FC236}">
                    <a16:creationId xmlns:a16="http://schemas.microsoft.com/office/drawing/2014/main" id="{A9D677C0-E3E8-43C7-967D-4110B573E30C}"/>
                  </a:ext>
                </a:extLst>
              </p:cNvPr>
              <p:cNvSpPr/>
              <p:nvPr/>
            </p:nvSpPr>
            <p:spPr>
              <a:xfrm>
                <a:off x="2527622" y="5858437"/>
                <a:ext cx="292384" cy="246968"/>
              </a:xfrm>
              <a:prstGeom prst="roundRect">
                <a:avLst>
                  <a:gd name="adj" fmla="val 10496"/>
                </a:avLst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175" name="그림 174">
                <a:extLst>
                  <a:ext uri="{FF2B5EF4-FFF2-40B4-BE49-F238E27FC236}">
                    <a16:creationId xmlns:a16="http://schemas.microsoft.com/office/drawing/2014/main" id="{A82F5FCB-22F2-44E9-8C23-08410F0AA7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561893" y="5875091"/>
                <a:ext cx="228288" cy="218205"/>
              </a:xfrm>
              <a:prstGeom prst="rect">
                <a:avLst/>
              </a:prstGeom>
            </p:spPr>
          </p:pic>
        </p:grpSp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E8D6A94F-C9A0-4044-80E8-4B03A5149922}"/>
                </a:ext>
              </a:extLst>
            </p:cNvPr>
            <p:cNvSpPr/>
            <p:nvPr/>
          </p:nvSpPr>
          <p:spPr>
            <a:xfrm>
              <a:off x="2135823" y="5935838"/>
              <a:ext cx="988094" cy="18006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대표이미지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변경</a:t>
              </a:r>
            </a:p>
          </p:txBody>
        </p:sp>
      </p:grpSp>
      <p:sp>
        <p:nvSpPr>
          <p:cNvPr id="176" name="직사각형 175">
            <a:extLst>
              <a:ext uri="{FF2B5EF4-FFF2-40B4-BE49-F238E27FC236}">
                <a16:creationId xmlns:a16="http://schemas.microsoft.com/office/drawing/2014/main" id="{AF6B9DE8-323E-45A1-B161-3D65D9041CC8}"/>
              </a:ext>
            </a:extLst>
          </p:cNvPr>
          <p:cNvSpPr/>
          <p:nvPr/>
        </p:nvSpPr>
        <p:spPr>
          <a:xfrm>
            <a:off x="8973779" y="0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59941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0863093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00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서 컨텐츠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/>
        </p:nvGraphicFramePr>
        <p:xfrm>
          <a:off x="345126" y="1459939"/>
          <a:ext cx="8630652" cy="20758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29954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719818">
                  <a:extLst>
                    <a:ext uri="{9D8B030D-6E8A-4147-A177-3AD203B41FA5}">
                      <a16:colId xmlns:a16="http://schemas.microsoft.com/office/drawing/2014/main" val="3010769140"/>
                    </a:ext>
                  </a:extLst>
                </a:gridCol>
                <a:gridCol w="1295602">
                  <a:extLst>
                    <a:ext uri="{9D8B030D-6E8A-4147-A177-3AD203B41FA5}">
                      <a16:colId xmlns:a16="http://schemas.microsoft.com/office/drawing/2014/main" val="328249262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명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국내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언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1702917"/>
                  </a:ext>
                </a:extLst>
              </a:tr>
              <a:tr h="2409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3200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83089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토픽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6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5" name="직사각형 84">
            <a:extLst>
              <a:ext uri="{FF2B5EF4-FFF2-40B4-BE49-F238E27FC236}">
                <a16:creationId xmlns:a16="http://schemas.microsoft.com/office/drawing/2014/main" id="{C3E5D00F-CF4B-4C5E-BC5A-8812BEDD9341}"/>
              </a:ext>
            </a:extLst>
          </p:cNvPr>
          <p:cNvSpPr/>
          <p:nvPr/>
        </p:nvSpPr>
        <p:spPr>
          <a:xfrm>
            <a:off x="5740533" y="1499399"/>
            <a:ext cx="155822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73D7B8F0-497D-4292-9F8C-E0111B9E5BF1}"/>
              </a:ext>
            </a:extLst>
          </p:cNvPr>
          <p:cNvGrpSpPr/>
          <p:nvPr/>
        </p:nvGrpSpPr>
        <p:grpSpPr>
          <a:xfrm>
            <a:off x="1279606" y="1490439"/>
            <a:ext cx="2902293" cy="180527"/>
            <a:chOff x="1208287" y="1514945"/>
            <a:chExt cx="2902293" cy="180527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2CB77E35-E495-48AC-933C-78143479AE3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4105991-6501-4168-8BA9-5D85EFD54B0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2F827555-4081-4261-9A9A-2148AC4049B3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01070033-EF9A-4A47-9A9E-D68F061C2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FE848C4E-6177-4ED8-8E14-42C73B29F256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26FC3911-9203-4AAB-9BBC-4B1B8159950D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0DD98797-A83A-434A-AD2E-BE76B395A606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>
                <a:extLst>
                  <a:ext uri="{FF2B5EF4-FFF2-40B4-BE49-F238E27FC236}">
                    <a16:creationId xmlns:a16="http://schemas.microsoft.com/office/drawing/2014/main" id="{CE0F8CC6-8026-4DAE-B6B9-8F986ED1D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0864696-D459-493D-8276-58432E01067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1AEBCD28-21E8-4DCB-9908-E3B3888D7223}"/>
                </a:ext>
              </a:extLst>
            </p:cNvPr>
            <p:cNvSpPr/>
            <p:nvPr/>
          </p:nvSpPr>
          <p:spPr>
            <a:xfrm>
              <a:off x="3266019" y="1539451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64531E9B-E853-4BA8-9C7E-DD96517BE5AB}"/>
                </a:ext>
              </a:extLst>
            </p:cNvPr>
            <p:cNvGrpSpPr/>
            <p:nvPr/>
          </p:nvGrpSpPr>
          <p:grpSpPr>
            <a:xfrm>
              <a:off x="3146780" y="1535796"/>
              <a:ext cx="139353" cy="139353"/>
              <a:chOff x="3468417" y="1522489"/>
              <a:chExt cx="139353" cy="139353"/>
            </a:xfrm>
          </p:grpSpPr>
          <p:sp>
            <p:nvSpPr>
              <p:cNvPr id="27" name="사각형: 둥근 모서리 26">
                <a:extLst>
                  <a:ext uri="{FF2B5EF4-FFF2-40B4-BE49-F238E27FC236}">
                    <a16:creationId xmlns:a16="http://schemas.microsoft.com/office/drawing/2014/main" id="{61CF77A3-2790-4C21-A2D0-8F630BA4D7BC}"/>
                  </a:ext>
                </a:extLst>
              </p:cNvPr>
              <p:cNvSpPr/>
              <p:nvPr/>
            </p:nvSpPr>
            <p:spPr>
              <a:xfrm>
                <a:off x="3468417" y="1522489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29" name="그림 28">
                <a:extLst>
                  <a:ext uri="{FF2B5EF4-FFF2-40B4-BE49-F238E27FC236}">
                    <a16:creationId xmlns:a16="http://schemas.microsoft.com/office/drawing/2014/main" id="{028A3094-E2C4-41A8-9AA0-75EE7D45B7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493980" y="1556351"/>
                <a:ext cx="81910" cy="81910"/>
              </a:xfrm>
              <a:prstGeom prst="rect">
                <a:avLst/>
              </a:prstGeom>
            </p:spPr>
          </p:pic>
        </p:grp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6BC7ADE-7CA8-4D08-BC41-B046D960B4B0}"/>
                </a:ext>
              </a:extLst>
            </p:cNvPr>
            <p:cNvSpPr/>
            <p:nvPr/>
          </p:nvSpPr>
          <p:spPr>
            <a:xfrm>
              <a:off x="1208287" y="1522517"/>
              <a:ext cx="723126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7E22A3D3-8F70-4E7D-995D-32C1C218FF75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03BC5CA5-277D-4189-9026-ABF3CE1116E1}"/>
              </a:ext>
            </a:extLst>
          </p:cNvPr>
          <p:cNvSpPr/>
          <p:nvPr/>
        </p:nvSpPr>
        <p:spPr>
          <a:xfrm>
            <a:off x="1331353" y="1752634"/>
            <a:ext cx="1161087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271AAF07-5108-448C-B231-2D3CCF49DDD9}"/>
              </a:ext>
            </a:extLst>
          </p:cNvPr>
          <p:cNvSpPr/>
          <p:nvPr/>
        </p:nvSpPr>
        <p:spPr>
          <a:xfrm>
            <a:off x="2551283" y="1752634"/>
            <a:ext cx="1534558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D583D71-80BC-44E3-BBBA-468156B8DCEF}"/>
              </a:ext>
            </a:extLst>
          </p:cNvPr>
          <p:cNvGrpSpPr/>
          <p:nvPr/>
        </p:nvGrpSpPr>
        <p:grpSpPr>
          <a:xfrm>
            <a:off x="5740533" y="1745727"/>
            <a:ext cx="2197195" cy="174340"/>
            <a:chOff x="1331353" y="2500672"/>
            <a:chExt cx="2197195" cy="174340"/>
          </a:xfrm>
        </p:grpSpPr>
        <p:grpSp>
          <p:nvGrpSpPr>
            <p:cNvPr id="147" name="그룹 146">
              <a:extLst>
                <a:ext uri="{FF2B5EF4-FFF2-40B4-BE49-F238E27FC236}">
                  <a16:creationId xmlns:a16="http://schemas.microsoft.com/office/drawing/2014/main" id="{F3C9D234-C4EB-4B9F-8BC5-1E6366815967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148" name="직사각형 147">
                <a:extLst>
                  <a:ext uri="{FF2B5EF4-FFF2-40B4-BE49-F238E27FC236}">
                    <a16:creationId xmlns:a16="http://schemas.microsoft.com/office/drawing/2014/main" id="{655AA352-2DA6-431D-AD7F-3223454F19F8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49" name="직사각형 148">
                <a:extLst>
                  <a:ext uri="{FF2B5EF4-FFF2-40B4-BE49-F238E27FC236}">
                    <a16:creationId xmlns:a16="http://schemas.microsoft.com/office/drawing/2014/main" id="{AB1C29A6-4BC2-4430-8B1D-AA43C2E2300F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50" name="그룹 149">
              <a:extLst>
                <a:ext uri="{FF2B5EF4-FFF2-40B4-BE49-F238E27FC236}">
                  <a16:creationId xmlns:a16="http://schemas.microsoft.com/office/drawing/2014/main" id="{7471A3C8-86B5-42D4-834D-CE71FD5DB69B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151" name="직사각형 150">
                <a:extLst>
                  <a:ext uri="{FF2B5EF4-FFF2-40B4-BE49-F238E27FC236}">
                    <a16:creationId xmlns:a16="http://schemas.microsoft.com/office/drawing/2014/main" id="{FEAA70F7-32AC-447F-BAEB-66D8A1BB8B71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8317CF28-A034-4650-93EA-E46363CF0DB8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/>
        </p:nvGraphicFramePr>
        <p:xfrm>
          <a:off x="336268" y="3757182"/>
          <a:ext cx="8650567" cy="16532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7952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61078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794373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45533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708369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649869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469566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722157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830316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649941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721612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</a:tblGrid>
              <a:tr h="298415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1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01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PE00005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 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페이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E00102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ㆍ녹색성장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본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95" name="그룹 194">
            <a:extLst>
              <a:ext uri="{FF2B5EF4-FFF2-40B4-BE49-F238E27FC236}">
                <a16:creationId xmlns:a16="http://schemas.microsoft.com/office/drawing/2014/main" id="{D2FF3731-BF2B-48FA-A85A-30EEDCB62D51}"/>
              </a:ext>
            </a:extLst>
          </p:cNvPr>
          <p:cNvGrpSpPr/>
          <p:nvPr/>
        </p:nvGrpSpPr>
        <p:grpSpPr>
          <a:xfrm>
            <a:off x="7721704" y="2012797"/>
            <a:ext cx="1065951" cy="172800"/>
            <a:chOff x="1260034" y="1778319"/>
            <a:chExt cx="1065951" cy="172800"/>
          </a:xfrm>
        </p:grpSpPr>
        <p:sp>
          <p:nvSpPr>
            <p:cNvPr id="199" name="직사각형 198">
              <a:extLst>
                <a:ext uri="{FF2B5EF4-FFF2-40B4-BE49-F238E27FC236}">
                  <a16:creationId xmlns:a16="http://schemas.microsoft.com/office/drawing/2014/main" id="{C9EDE0D2-B965-4533-9205-6B2B860E1A71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00" name="직사각형 199">
              <a:extLst>
                <a:ext uri="{FF2B5EF4-FFF2-40B4-BE49-F238E27FC236}">
                  <a16:creationId xmlns:a16="http://schemas.microsoft.com/office/drawing/2014/main" id="{484EBEB5-AE92-423E-82D1-7BEC31B9E660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6FDA2DD1-BABC-494A-BAF4-8B80B9BE78FD}"/>
              </a:ext>
            </a:extLst>
          </p:cNvPr>
          <p:cNvGrpSpPr/>
          <p:nvPr/>
        </p:nvGrpSpPr>
        <p:grpSpPr>
          <a:xfrm>
            <a:off x="1320263" y="2999486"/>
            <a:ext cx="3676989" cy="176294"/>
            <a:chOff x="1334428" y="3000289"/>
            <a:chExt cx="3676989" cy="176294"/>
          </a:xfrm>
        </p:grpSpPr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29405672-7434-45AF-BF2E-91D670F7E03E}"/>
                </a:ext>
              </a:extLst>
            </p:cNvPr>
            <p:cNvSpPr/>
            <p:nvPr/>
          </p:nvSpPr>
          <p:spPr>
            <a:xfrm>
              <a:off x="1334428" y="3003783"/>
              <a:ext cx="346096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grpSp>
          <p:nvGrpSpPr>
            <p:cNvPr id="259" name="그룹 258">
              <a:extLst>
                <a:ext uri="{FF2B5EF4-FFF2-40B4-BE49-F238E27FC236}">
                  <a16:creationId xmlns:a16="http://schemas.microsoft.com/office/drawing/2014/main" id="{BD02B084-ABA8-4A19-9458-9EBFDA5D2560}"/>
                </a:ext>
              </a:extLst>
            </p:cNvPr>
            <p:cNvGrpSpPr/>
            <p:nvPr/>
          </p:nvGrpSpPr>
          <p:grpSpPr>
            <a:xfrm>
              <a:off x="4841945" y="3000289"/>
              <a:ext cx="169472" cy="169472"/>
              <a:chOff x="4841945" y="3000289"/>
              <a:chExt cx="169472" cy="169472"/>
            </a:xfrm>
          </p:grpSpPr>
          <p:sp>
            <p:nvSpPr>
              <p:cNvPr id="234" name="사각형: 둥근 모서리 233">
                <a:extLst>
                  <a:ext uri="{FF2B5EF4-FFF2-40B4-BE49-F238E27FC236}">
                    <a16:creationId xmlns:a16="http://schemas.microsoft.com/office/drawing/2014/main" id="{266CE57E-736D-4302-998F-397D939AEF19}"/>
                  </a:ext>
                </a:extLst>
              </p:cNvPr>
              <p:cNvSpPr/>
              <p:nvPr/>
            </p:nvSpPr>
            <p:spPr>
              <a:xfrm>
                <a:off x="4841945" y="3000289"/>
                <a:ext cx="169472" cy="169472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6" name="그림 235">
                <a:extLst>
                  <a:ext uri="{FF2B5EF4-FFF2-40B4-BE49-F238E27FC236}">
                    <a16:creationId xmlns:a16="http://schemas.microsoft.com/office/drawing/2014/main" id="{CBF49508-31A3-41B9-A7C1-178CE67FCA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57799" y="3008899"/>
                <a:ext cx="144016" cy="144016"/>
              </a:xfrm>
              <a:prstGeom prst="rect">
                <a:avLst/>
              </a:prstGeom>
            </p:spPr>
          </p:pic>
        </p:grpSp>
      </p:grpSp>
      <p:sp>
        <p:nvSpPr>
          <p:cNvPr id="237" name="직사각형 236">
            <a:extLst>
              <a:ext uri="{FF2B5EF4-FFF2-40B4-BE49-F238E27FC236}">
                <a16:creationId xmlns:a16="http://schemas.microsoft.com/office/drawing/2014/main" id="{A2422774-C518-4400-A03E-0B431DC56BB2}"/>
              </a:ext>
            </a:extLst>
          </p:cNvPr>
          <p:cNvSpPr/>
          <p:nvPr/>
        </p:nvSpPr>
        <p:spPr>
          <a:xfrm>
            <a:off x="1331352" y="2005431"/>
            <a:ext cx="159629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E2B63736-1B61-417B-A244-A2169D993191}"/>
              </a:ext>
            </a:extLst>
          </p:cNvPr>
          <p:cNvGrpSpPr/>
          <p:nvPr/>
        </p:nvGrpSpPr>
        <p:grpSpPr>
          <a:xfrm>
            <a:off x="5740533" y="2247017"/>
            <a:ext cx="1065951" cy="172800"/>
            <a:chOff x="1260034" y="1778319"/>
            <a:chExt cx="1065951" cy="172800"/>
          </a:xfrm>
        </p:grpSpPr>
        <p:sp>
          <p:nvSpPr>
            <p:cNvPr id="239" name="직사각형 238">
              <a:extLst>
                <a:ext uri="{FF2B5EF4-FFF2-40B4-BE49-F238E27FC236}">
                  <a16:creationId xmlns:a16="http://schemas.microsoft.com/office/drawing/2014/main" id="{FA4E2223-1DD4-4D4F-8B83-44925D2E5316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0" name="직사각형 239">
              <a:extLst>
                <a:ext uri="{FF2B5EF4-FFF2-40B4-BE49-F238E27FC236}">
                  <a16:creationId xmlns:a16="http://schemas.microsoft.com/office/drawing/2014/main" id="{7257429E-2A65-4FEF-9E79-31FDAAC07625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2CFC1E6E-8F0B-4450-BAF1-84CE7EC64C15}"/>
              </a:ext>
            </a:extLst>
          </p:cNvPr>
          <p:cNvGrpSpPr/>
          <p:nvPr/>
        </p:nvGrpSpPr>
        <p:grpSpPr>
          <a:xfrm>
            <a:off x="7721704" y="2243044"/>
            <a:ext cx="1065951" cy="172800"/>
            <a:chOff x="1260034" y="1778319"/>
            <a:chExt cx="1065951" cy="172800"/>
          </a:xfrm>
        </p:grpSpPr>
        <p:sp>
          <p:nvSpPr>
            <p:cNvPr id="242" name="직사각형 241">
              <a:extLst>
                <a:ext uri="{FF2B5EF4-FFF2-40B4-BE49-F238E27FC236}">
                  <a16:creationId xmlns:a16="http://schemas.microsoft.com/office/drawing/2014/main" id="{7E5A80AB-EA85-49C2-964E-E9E75BCFB6AE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4227F256-3E8D-42EB-9FDA-1674D512A4F2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44" name="표 66">
            <a:extLst>
              <a:ext uri="{FF2B5EF4-FFF2-40B4-BE49-F238E27FC236}">
                <a16:creationId xmlns:a16="http://schemas.microsoft.com/office/drawing/2014/main" id="{5E7F96FF-4465-4360-9046-6A1E4803731A}"/>
              </a:ext>
            </a:extLst>
          </p:cNvPr>
          <p:cNvGraphicFramePr>
            <a:graphicFrameLocks noGrp="1"/>
          </p:cNvGraphicFramePr>
          <p:nvPr/>
        </p:nvGraphicFramePr>
        <p:xfrm>
          <a:off x="841000" y="5530552"/>
          <a:ext cx="8140652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5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257909302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811645">
                  <a:extLst>
                    <a:ext uri="{9D8B030D-6E8A-4147-A177-3AD203B41FA5}">
                      <a16:colId xmlns:a16="http://schemas.microsoft.com/office/drawing/2014/main" val="3370459386"/>
                    </a:ext>
                  </a:extLst>
                </a:gridCol>
                <a:gridCol w="1348595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14256562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30630511"/>
                    </a:ext>
                  </a:extLst>
                </a:gridCol>
                <a:gridCol w="695187">
                  <a:extLst>
                    <a:ext uri="{9D8B030D-6E8A-4147-A177-3AD203B41FA5}">
                      <a16:colId xmlns:a16="http://schemas.microsoft.com/office/drawing/2014/main" val="2911285607"/>
                    </a:ext>
                  </a:extLst>
                </a:gridCol>
                <a:gridCol w="462273">
                  <a:extLst>
                    <a:ext uri="{9D8B030D-6E8A-4147-A177-3AD203B41FA5}">
                      <a16:colId xmlns:a16="http://schemas.microsoft.com/office/drawing/2014/main" val="1371808166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GRI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U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11-25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연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녹색성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245" name="화살표: 오른쪽 244">
            <a:extLst>
              <a:ext uri="{FF2B5EF4-FFF2-40B4-BE49-F238E27FC236}">
                <a16:creationId xmlns:a16="http://schemas.microsoft.com/office/drawing/2014/main" id="{4CBF2E6B-87FD-4AC9-B4FD-0076C6F9614A}"/>
              </a:ext>
            </a:extLst>
          </p:cNvPr>
          <p:cNvSpPr/>
          <p:nvPr/>
        </p:nvSpPr>
        <p:spPr>
          <a:xfrm>
            <a:off x="491484" y="5749067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376372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4108189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4113419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329469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260" name="그룹 259">
            <a:extLst>
              <a:ext uri="{FF2B5EF4-FFF2-40B4-BE49-F238E27FC236}">
                <a16:creationId xmlns:a16="http://schemas.microsoft.com/office/drawing/2014/main" id="{B27B6193-9D81-4543-9504-15BE664E6B59}"/>
              </a:ext>
            </a:extLst>
          </p:cNvPr>
          <p:cNvGrpSpPr/>
          <p:nvPr/>
        </p:nvGrpSpPr>
        <p:grpSpPr>
          <a:xfrm>
            <a:off x="2952232" y="2006831"/>
            <a:ext cx="169472" cy="169472"/>
            <a:chOff x="4841945" y="3000289"/>
            <a:chExt cx="169472" cy="169472"/>
          </a:xfrm>
        </p:grpSpPr>
        <p:sp>
          <p:nvSpPr>
            <p:cNvPr id="261" name="사각형: 둥근 모서리 260">
              <a:extLst>
                <a:ext uri="{FF2B5EF4-FFF2-40B4-BE49-F238E27FC236}">
                  <a16:creationId xmlns:a16="http://schemas.microsoft.com/office/drawing/2014/main" id="{A21F50DD-2919-45C6-954E-E33DC1F7C48B}"/>
                </a:ext>
              </a:extLst>
            </p:cNvPr>
            <p:cNvSpPr/>
            <p:nvPr/>
          </p:nvSpPr>
          <p:spPr>
            <a:xfrm>
              <a:off x="4841945" y="3000289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62" name="그림 261">
              <a:extLst>
                <a:ext uri="{FF2B5EF4-FFF2-40B4-BE49-F238E27FC236}">
                  <a16:creationId xmlns:a16="http://schemas.microsoft.com/office/drawing/2014/main" id="{E19B243E-C650-4BE5-BE9F-2FC72E3FD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57799" y="3008899"/>
              <a:ext cx="144016" cy="144016"/>
            </a:xfrm>
            <a:prstGeom prst="rect">
              <a:avLst/>
            </a:prstGeom>
          </p:spPr>
        </p:pic>
      </p:grpSp>
      <p:grpSp>
        <p:nvGrpSpPr>
          <p:cNvPr id="263" name="그룹 262">
            <a:extLst>
              <a:ext uri="{FF2B5EF4-FFF2-40B4-BE49-F238E27FC236}">
                <a16:creationId xmlns:a16="http://schemas.microsoft.com/office/drawing/2014/main" id="{A25D0A63-881B-4E13-8FFD-B401C294364B}"/>
              </a:ext>
            </a:extLst>
          </p:cNvPr>
          <p:cNvGrpSpPr/>
          <p:nvPr/>
        </p:nvGrpSpPr>
        <p:grpSpPr>
          <a:xfrm>
            <a:off x="1325770" y="2245477"/>
            <a:ext cx="2197195" cy="174340"/>
            <a:chOff x="1331353" y="2500672"/>
            <a:chExt cx="2197195" cy="174340"/>
          </a:xfrm>
        </p:grpSpPr>
        <p:grpSp>
          <p:nvGrpSpPr>
            <p:cNvPr id="264" name="그룹 263">
              <a:extLst>
                <a:ext uri="{FF2B5EF4-FFF2-40B4-BE49-F238E27FC236}">
                  <a16:creationId xmlns:a16="http://schemas.microsoft.com/office/drawing/2014/main" id="{C4074594-5306-4BFB-AFCB-C788A7BA59AA}"/>
                </a:ext>
              </a:extLst>
            </p:cNvPr>
            <p:cNvGrpSpPr/>
            <p:nvPr/>
          </p:nvGrpSpPr>
          <p:grpSpPr>
            <a:xfrm>
              <a:off x="1331353" y="2500672"/>
              <a:ext cx="1065951" cy="172800"/>
              <a:chOff x="1260034" y="1778319"/>
              <a:chExt cx="1065951" cy="172800"/>
            </a:xfrm>
          </p:grpSpPr>
          <p:sp>
            <p:nvSpPr>
              <p:cNvPr id="268" name="직사각형 267">
                <a:extLst>
                  <a:ext uri="{FF2B5EF4-FFF2-40B4-BE49-F238E27FC236}">
                    <a16:creationId xmlns:a16="http://schemas.microsoft.com/office/drawing/2014/main" id="{0B445854-7857-4266-8E76-E1BB8D79C420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9" name="직사각형 268">
                <a:extLst>
                  <a:ext uri="{FF2B5EF4-FFF2-40B4-BE49-F238E27FC236}">
                    <a16:creationId xmlns:a16="http://schemas.microsoft.com/office/drawing/2014/main" id="{086DAF83-B2D9-49AE-87C9-F7401679FEDA}"/>
                  </a:ext>
                </a:extLst>
              </p:cNvPr>
              <p:cNvSpPr/>
              <p:nvPr/>
            </p:nvSpPr>
            <p:spPr>
              <a:xfrm>
                <a:off x="2109961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265" name="그룹 264">
              <a:extLst>
                <a:ext uri="{FF2B5EF4-FFF2-40B4-BE49-F238E27FC236}">
                  <a16:creationId xmlns:a16="http://schemas.microsoft.com/office/drawing/2014/main" id="{F258107B-C617-455A-8271-DC7E8144FE38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266" name="직사각형 265">
                <a:extLst>
                  <a:ext uri="{FF2B5EF4-FFF2-40B4-BE49-F238E27FC236}">
                    <a16:creationId xmlns:a16="http://schemas.microsoft.com/office/drawing/2014/main" id="{E5104259-D520-4F5B-B718-068A82B5BB1C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267" name="직사각형 266">
                <a:extLst>
                  <a:ext uri="{FF2B5EF4-FFF2-40B4-BE49-F238E27FC236}">
                    <a16:creationId xmlns:a16="http://schemas.microsoft.com/office/drawing/2014/main" id="{46491C19-D344-4AFD-879B-BE5FB1F08ECF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271" name="사각형: 둥근 모서리 270">
            <a:extLst>
              <a:ext uri="{FF2B5EF4-FFF2-40B4-BE49-F238E27FC236}">
                <a16:creationId xmlns:a16="http://schemas.microsoft.com/office/drawing/2014/main" id="{98A9715A-D77F-4BC0-A002-EECE7E330985}"/>
              </a:ext>
            </a:extLst>
          </p:cNvPr>
          <p:cNvSpPr/>
          <p:nvPr/>
        </p:nvSpPr>
        <p:spPr>
          <a:xfrm>
            <a:off x="443824" y="46268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2" name="사각형: 둥근 모서리 271">
            <a:extLst>
              <a:ext uri="{FF2B5EF4-FFF2-40B4-BE49-F238E27FC236}">
                <a16:creationId xmlns:a16="http://schemas.microsoft.com/office/drawing/2014/main" id="{C21EF9C1-0EDA-4694-84B7-376355ED2FF0}"/>
              </a:ext>
            </a:extLst>
          </p:cNvPr>
          <p:cNvSpPr/>
          <p:nvPr/>
        </p:nvSpPr>
        <p:spPr>
          <a:xfrm>
            <a:off x="443824" y="5048569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3" name="사각형: 둥근 모서리 272">
            <a:extLst>
              <a:ext uri="{FF2B5EF4-FFF2-40B4-BE49-F238E27FC236}">
                <a16:creationId xmlns:a16="http://schemas.microsoft.com/office/drawing/2014/main" id="{F1BF2076-BF45-4989-A3B3-9AC3C1AA753C}"/>
              </a:ext>
            </a:extLst>
          </p:cNvPr>
          <p:cNvSpPr/>
          <p:nvPr/>
        </p:nvSpPr>
        <p:spPr>
          <a:xfrm>
            <a:off x="443824" y="484224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B705B3E0-8595-4AB6-BF6A-E598A59A65A7}"/>
              </a:ext>
            </a:extLst>
          </p:cNvPr>
          <p:cNvSpPr/>
          <p:nvPr/>
        </p:nvSpPr>
        <p:spPr>
          <a:xfrm>
            <a:off x="443824" y="526057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5" name="사각형: 둥근 모서리 274">
            <a:extLst>
              <a:ext uri="{FF2B5EF4-FFF2-40B4-BE49-F238E27FC236}">
                <a16:creationId xmlns:a16="http://schemas.microsoft.com/office/drawing/2014/main" id="{81ED1F1B-7A87-48F3-839C-9DC9B3A967AC}"/>
              </a:ext>
            </a:extLst>
          </p:cNvPr>
          <p:cNvSpPr/>
          <p:nvPr/>
        </p:nvSpPr>
        <p:spPr>
          <a:xfrm>
            <a:off x="8232954" y="3822780"/>
            <a:ext cx="671358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태변경</a:t>
            </a:r>
          </a:p>
        </p:txBody>
      </p:sp>
      <p:grpSp>
        <p:nvGrpSpPr>
          <p:cNvPr id="276" name="그룹 275">
            <a:extLst>
              <a:ext uri="{FF2B5EF4-FFF2-40B4-BE49-F238E27FC236}">
                <a16:creationId xmlns:a16="http://schemas.microsoft.com/office/drawing/2014/main" id="{AF3F1031-5831-414E-91D5-AC0D4231195D}"/>
              </a:ext>
            </a:extLst>
          </p:cNvPr>
          <p:cNvGrpSpPr/>
          <p:nvPr/>
        </p:nvGrpSpPr>
        <p:grpSpPr>
          <a:xfrm>
            <a:off x="7477874" y="3818717"/>
            <a:ext cx="696669" cy="172800"/>
            <a:chOff x="1260033" y="1778319"/>
            <a:chExt cx="696669" cy="172800"/>
          </a:xfrm>
        </p:grpSpPr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01EC4F23-92CE-4F5C-AAD1-4F9A2F49675E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비공개</a:t>
              </a:r>
            </a:p>
          </p:txBody>
        </p:sp>
        <p:sp>
          <p:nvSpPr>
            <p:cNvPr id="278" name="직사각형 277">
              <a:extLst>
                <a:ext uri="{FF2B5EF4-FFF2-40B4-BE49-F238E27FC236}">
                  <a16:creationId xmlns:a16="http://schemas.microsoft.com/office/drawing/2014/main" id="{924BC30D-9662-4D5E-A0B5-BB84C023CB0E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6167D580-BED1-4C6A-9F13-6B0C15EECDCF}"/>
              </a:ext>
            </a:extLst>
          </p:cNvPr>
          <p:cNvSpPr/>
          <p:nvPr/>
        </p:nvSpPr>
        <p:spPr>
          <a:xfrm>
            <a:off x="335820" y="613069"/>
            <a:ext cx="8659717" cy="6063912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AA9C9DEA-473C-4E3B-9F41-445ABE86D84A}"/>
              </a:ext>
            </a:extLst>
          </p:cNvPr>
          <p:cNvGrpSpPr/>
          <p:nvPr/>
        </p:nvGrpSpPr>
        <p:grpSpPr>
          <a:xfrm>
            <a:off x="1517359" y="2154868"/>
            <a:ext cx="983380" cy="172800"/>
            <a:chOff x="1260034" y="1778319"/>
            <a:chExt cx="983380" cy="172800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FB11BC6B-F3A0-4A31-93FA-C8838B8BDF14}"/>
                </a:ext>
              </a:extLst>
            </p:cNvPr>
            <p:cNvSpPr/>
            <p:nvPr/>
          </p:nvSpPr>
          <p:spPr>
            <a:xfrm>
              <a:off x="1260034" y="1778319"/>
              <a:ext cx="76704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378C91FA-71B0-4C0F-B3B5-960E3377323A}"/>
                </a:ext>
              </a:extLst>
            </p:cNvPr>
            <p:cNvSpPr/>
            <p:nvPr/>
          </p:nvSpPr>
          <p:spPr>
            <a:xfrm>
              <a:off x="2027390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59DA8D23-56BC-4374-95F9-8977EDF45CD7}"/>
              </a:ext>
            </a:extLst>
          </p:cNvPr>
          <p:cNvSpPr/>
          <p:nvPr/>
        </p:nvSpPr>
        <p:spPr>
          <a:xfrm>
            <a:off x="1503502" y="1619563"/>
            <a:ext cx="457977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https://url.kr/vgp92r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2C3F1AA2-101D-46FE-ADBF-C63E8352E80D}"/>
              </a:ext>
            </a:extLst>
          </p:cNvPr>
          <p:cNvSpPr/>
          <p:nvPr/>
        </p:nvSpPr>
        <p:spPr>
          <a:xfrm>
            <a:off x="1513734" y="1880694"/>
            <a:ext cx="182000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6652001C-4C08-4874-B953-760D661C93B3}"/>
              </a:ext>
            </a:extLst>
          </p:cNvPr>
          <p:cNvSpPr/>
          <p:nvPr/>
        </p:nvSpPr>
        <p:spPr>
          <a:xfrm>
            <a:off x="3360557" y="1879704"/>
            <a:ext cx="169472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8" name="그림 97">
            <a:extLst>
              <a:ext uri="{FF2B5EF4-FFF2-40B4-BE49-F238E27FC236}">
                <a16:creationId xmlns:a16="http://schemas.microsoft.com/office/drawing/2014/main" id="{E511A56B-88AF-41A4-97B1-98C77C6F9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76411" y="1888314"/>
            <a:ext cx="144016" cy="144016"/>
          </a:xfrm>
          <a:prstGeom prst="rect">
            <a:avLst/>
          </a:prstGeom>
        </p:spPr>
      </p:pic>
      <p:grpSp>
        <p:nvGrpSpPr>
          <p:cNvPr id="99" name="그룹 98">
            <a:extLst>
              <a:ext uri="{FF2B5EF4-FFF2-40B4-BE49-F238E27FC236}">
                <a16:creationId xmlns:a16="http://schemas.microsoft.com/office/drawing/2014/main" id="{CC06B9F3-8B6E-4431-AAD0-5888EDF47775}"/>
              </a:ext>
            </a:extLst>
          </p:cNvPr>
          <p:cNvGrpSpPr/>
          <p:nvPr/>
        </p:nvGrpSpPr>
        <p:grpSpPr>
          <a:xfrm>
            <a:off x="2557641" y="2152770"/>
            <a:ext cx="1067418" cy="172800"/>
            <a:chOff x="1260034" y="1778319"/>
            <a:chExt cx="1067418" cy="172800"/>
          </a:xfrm>
        </p:grpSpPr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A18AA7BE-8D64-4D94-B0A6-03C86CCA3F52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선택</a:t>
              </a: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82EAE134-3561-4DFE-9241-11597801EDC4}"/>
                </a:ext>
              </a:extLst>
            </p:cNvPr>
            <p:cNvSpPr/>
            <p:nvPr/>
          </p:nvSpPr>
          <p:spPr>
            <a:xfrm>
              <a:off x="2111428" y="1778319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8D177732-ABB6-4955-BCF1-A1DD0332F462}"/>
              </a:ext>
            </a:extLst>
          </p:cNvPr>
          <p:cNvSpPr/>
          <p:nvPr/>
        </p:nvSpPr>
        <p:spPr>
          <a:xfrm>
            <a:off x="1155954" y="975708"/>
            <a:ext cx="7183959" cy="554962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2453A24F-CC26-4BBD-B74F-DD677F9EDDDE}"/>
              </a:ext>
            </a:extLst>
          </p:cNvPr>
          <p:cNvSpPr/>
          <p:nvPr/>
        </p:nvSpPr>
        <p:spPr>
          <a:xfrm>
            <a:off x="1155954" y="759198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상세 조회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9" name="직사각형 168">
            <a:extLst>
              <a:ext uri="{FF2B5EF4-FFF2-40B4-BE49-F238E27FC236}">
                <a16:creationId xmlns:a16="http://schemas.microsoft.com/office/drawing/2014/main" id="{B6D0B417-7065-4E54-B7DA-9E0CF61C4375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 :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영상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원포인트레슨</a:t>
            </a:r>
          </a:p>
        </p:txBody>
      </p:sp>
      <p:sp>
        <p:nvSpPr>
          <p:cNvPr id="161" name="사각형: 둥근 모서리 160">
            <a:extLst>
              <a:ext uri="{FF2B5EF4-FFF2-40B4-BE49-F238E27FC236}">
                <a16:creationId xmlns:a16="http://schemas.microsoft.com/office/drawing/2014/main" id="{05648DDD-7FE6-4E2E-8762-33948B4FF06C}"/>
              </a:ext>
            </a:extLst>
          </p:cNvPr>
          <p:cNvSpPr/>
          <p:nvPr/>
        </p:nvSpPr>
        <p:spPr>
          <a:xfrm>
            <a:off x="3735761" y="625453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62" name="사각형: 둥근 모서리 161">
            <a:extLst>
              <a:ext uri="{FF2B5EF4-FFF2-40B4-BE49-F238E27FC236}">
                <a16:creationId xmlns:a16="http://schemas.microsoft.com/office/drawing/2014/main" id="{0A26A2DE-5F35-49F5-9A68-BE6137799FF6}"/>
              </a:ext>
            </a:extLst>
          </p:cNvPr>
          <p:cNvSpPr/>
          <p:nvPr/>
        </p:nvSpPr>
        <p:spPr>
          <a:xfrm>
            <a:off x="5163621" y="625453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</a:p>
        </p:txBody>
      </p:sp>
      <p:sp>
        <p:nvSpPr>
          <p:cNvPr id="163" name="사각형: 둥근 모서리 162">
            <a:extLst>
              <a:ext uri="{FF2B5EF4-FFF2-40B4-BE49-F238E27FC236}">
                <a16:creationId xmlns:a16="http://schemas.microsoft.com/office/drawing/2014/main" id="{460FF1C7-800F-428E-A780-1994E6593111}"/>
              </a:ext>
            </a:extLst>
          </p:cNvPr>
          <p:cNvSpPr/>
          <p:nvPr/>
        </p:nvSpPr>
        <p:spPr>
          <a:xfrm>
            <a:off x="4447535" y="625453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복사</a:t>
            </a:r>
          </a:p>
        </p:txBody>
      </p:sp>
      <p:graphicFrame>
        <p:nvGraphicFramePr>
          <p:cNvPr id="164" name="표 12">
            <a:extLst>
              <a:ext uri="{FF2B5EF4-FFF2-40B4-BE49-F238E27FC236}">
                <a16:creationId xmlns:a16="http://schemas.microsoft.com/office/drawing/2014/main" id="{B0F57993-B41F-4826-B05B-D707FB01FF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6118671"/>
              </p:ext>
            </p:extLst>
          </p:nvPr>
        </p:nvGraphicFramePr>
        <p:xfrm>
          <a:off x="1270195" y="1121780"/>
          <a:ext cx="6961414" cy="4467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5301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995993">
                  <a:extLst>
                    <a:ext uri="{9D8B030D-6E8A-4147-A177-3AD203B41FA5}">
                      <a16:colId xmlns:a16="http://schemas.microsoft.com/office/drawing/2014/main" val="802284649"/>
                    </a:ext>
                  </a:extLst>
                </a:gridCol>
                <a:gridCol w="3112403">
                  <a:extLst>
                    <a:ext uri="{9D8B030D-6E8A-4147-A177-3AD203B41FA5}">
                      <a16:colId xmlns:a16="http://schemas.microsoft.com/office/drawing/2014/main" val="1497932287"/>
                    </a:ext>
                  </a:extLst>
                </a:gridCol>
              </a:tblGrid>
              <a:tr h="262572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레슨 등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903215"/>
                  </a:ext>
                </a:extLst>
              </a:tr>
              <a:tr h="2625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레슨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파일 업로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설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035321"/>
                  </a:ext>
                </a:extLst>
              </a:tr>
              <a:tr h="9276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9377881"/>
                  </a:ext>
                </a:extLst>
              </a:tr>
              <a:tr h="9275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9751709"/>
                  </a:ext>
                </a:extLst>
              </a:tr>
              <a:tr h="9275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4433585"/>
                  </a:ext>
                </a:extLst>
              </a:tr>
              <a:tr h="9275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08834755"/>
                  </a:ext>
                </a:extLst>
              </a:tr>
              <a:tr h="232113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행 추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9719664"/>
                  </a:ext>
                </a:extLst>
              </a:tr>
            </a:tbl>
          </a:graphicData>
        </a:graphic>
      </p:graphicFrame>
      <p:grpSp>
        <p:nvGrpSpPr>
          <p:cNvPr id="3" name="그룹 2">
            <a:extLst>
              <a:ext uri="{FF2B5EF4-FFF2-40B4-BE49-F238E27FC236}">
                <a16:creationId xmlns:a16="http://schemas.microsoft.com/office/drawing/2014/main" id="{ECA22477-BA2D-44D5-841F-3A4ADE509F31}"/>
              </a:ext>
            </a:extLst>
          </p:cNvPr>
          <p:cNvGrpSpPr/>
          <p:nvPr/>
        </p:nvGrpSpPr>
        <p:grpSpPr>
          <a:xfrm>
            <a:off x="1335734" y="1727553"/>
            <a:ext cx="3700227" cy="585263"/>
            <a:chOff x="1335734" y="1727553"/>
            <a:chExt cx="3700227" cy="585263"/>
          </a:xfrm>
        </p:grpSpPr>
        <p:sp>
          <p:nvSpPr>
            <p:cNvPr id="170" name="직사각형 169">
              <a:extLst>
                <a:ext uri="{FF2B5EF4-FFF2-40B4-BE49-F238E27FC236}">
                  <a16:creationId xmlns:a16="http://schemas.microsoft.com/office/drawing/2014/main" id="{CD3520E2-56CD-4BE1-9A08-BA964947F300}"/>
                </a:ext>
              </a:extLst>
            </p:cNvPr>
            <p:cNvSpPr/>
            <p:nvPr/>
          </p:nvSpPr>
          <p:spPr>
            <a:xfrm>
              <a:off x="1335734" y="1727553"/>
              <a:ext cx="1706155" cy="353112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b="0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1. Opening</a:t>
              </a:r>
              <a:endParaRPr lang="ko-KR" altLang="en-US" sz="800" b="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endParaRPr>
            </a:p>
          </p:txBody>
        </p:sp>
        <p:sp>
          <p:nvSpPr>
            <p:cNvPr id="171" name="직사각형 170">
              <a:extLst>
                <a:ext uri="{FF2B5EF4-FFF2-40B4-BE49-F238E27FC236}">
                  <a16:creationId xmlns:a16="http://schemas.microsoft.com/office/drawing/2014/main" id="{632E4E56-C0A5-42DF-ACAE-3A7564129C93}"/>
                </a:ext>
              </a:extLst>
            </p:cNvPr>
            <p:cNvSpPr/>
            <p:nvPr/>
          </p:nvSpPr>
          <p:spPr>
            <a:xfrm>
              <a:off x="3224113" y="1734101"/>
              <a:ext cx="1349842" cy="349564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원포인트레슨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_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배출량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_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오프닝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.MP4</a:t>
              </a:r>
              <a:endParaRPr lang="ko-KR" altLang="en-US" sz="800" b="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endParaRPr>
            </a:p>
          </p:txBody>
        </p:sp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503E5504-3E43-4D5C-BB3E-48A65EB929D6}"/>
                </a:ext>
              </a:extLst>
            </p:cNvPr>
            <p:cNvSpPr/>
            <p:nvPr/>
          </p:nvSpPr>
          <p:spPr>
            <a:xfrm>
              <a:off x="4621982" y="1741914"/>
              <a:ext cx="413979" cy="33875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파일선택</a:t>
              </a:r>
            </a:p>
          </p:txBody>
        </p:sp>
        <p:grpSp>
          <p:nvGrpSpPr>
            <p:cNvPr id="175" name="그룹 174">
              <a:extLst>
                <a:ext uri="{FF2B5EF4-FFF2-40B4-BE49-F238E27FC236}">
                  <a16:creationId xmlns:a16="http://schemas.microsoft.com/office/drawing/2014/main" id="{0EEA65E3-E9EA-43CB-A923-6A5459D554A1}"/>
                </a:ext>
              </a:extLst>
            </p:cNvPr>
            <p:cNvGrpSpPr/>
            <p:nvPr/>
          </p:nvGrpSpPr>
          <p:grpSpPr>
            <a:xfrm>
              <a:off x="3228084" y="2131766"/>
              <a:ext cx="860019" cy="181050"/>
              <a:chOff x="8027982" y="1823592"/>
              <a:chExt cx="860019" cy="181050"/>
            </a:xfrm>
          </p:grpSpPr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C60D30D8-DC87-4080-A90A-D29E26708FCC}"/>
                  </a:ext>
                </a:extLst>
              </p:cNvPr>
              <p:cNvSpPr/>
              <p:nvPr/>
            </p:nvSpPr>
            <p:spPr>
              <a:xfrm>
                <a:off x="8027982" y="1830016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7" name="직사각형 176">
                <a:extLst>
                  <a:ext uri="{FF2B5EF4-FFF2-40B4-BE49-F238E27FC236}">
                    <a16:creationId xmlns:a16="http://schemas.microsoft.com/office/drawing/2014/main" id="{18BD1B0D-EF13-413A-9004-5AA9926843EF}"/>
                  </a:ext>
                </a:extLst>
              </p:cNvPr>
              <p:cNvSpPr/>
              <p:nvPr/>
            </p:nvSpPr>
            <p:spPr>
              <a:xfrm>
                <a:off x="8345371" y="1830016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8" name="직사각형 177">
                <a:extLst>
                  <a:ext uri="{FF2B5EF4-FFF2-40B4-BE49-F238E27FC236}">
                    <a16:creationId xmlns:a16="http://schemas.microsoft.com/office/drawing/2014/main" id="{54D29E78-27F2-49BB-A693-FC0E8029BCE9}"/>
                  </a:ext>
                </a:extLst>
              </p:cNvPr>
              <p:cNvSpPr/>
              <p:nvPr/>
            </p:nvSpPr>
            <p:spPr>
              <a:xfrm>
                <a:off x="8662684" y="1831842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42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9" name="직사각형 178">
                <a:extLst>
                  <a:ext uri="{FF2B5EF4-FFF2-40B4-BE49-F238E27FC236}">
                    <a16:creationId xmlns:a16="http://schemas.microsoft.com/office/drawing/2014/main" id="{563E92E1-6220-4CD5-89C9-297D0854CC8F}"/>
                  </a:ext>
                </a:extLst>
              </p:cNvPr>
              <p:cNvSpPr/>
              <p:nvPr/>
            </p:nvSpPr>
            <p:spPr>
              <a:xfrm>
                <a:off x="8218854" y="1828918"/>
                <a:ext cx="168969" cy="1669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82" name="직사각형 181">
                <a:extLst>
                  <a:ext uri="{FF2B5EF4-FFF2-40B4-BE49-F238E27FC236}">
                    <a16:creationId xmlns:a16="http://schemas.microsoft.com/office/drawing/2014/main" id="{85C79940-F37E-40EC-9C83-C16BF096829E}"/>
                  </a:ext>
                </a:extLst>
              </p:cNvPr>
              <p:cNvSpPr/>
              <p:nvPr/>
            </p:nvSpPr>
            <p:spPr>
              <a:xfrm>
                <a:off x="8532202" y="1823592"/>
                <a:ext cx="168969" cy="16198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grpSp>
        <p:nvGrpSpPr>
          <p:cNvPr id="183" name="그룹 182">
            <a:extLst>
              <a:ext uri="{FF2B5EF4-FFF2-40B4-BE49-F238E27FC236}">
                <a16:creationId xmlns:a16="http://schemas.microsoft.com/office/drawing/2014/main" id="{D4314C12-9DF7-49AE-8CF8-F65CBEAA7A41}"/>
              </a:ext>
            </a:extLst>
          </p:cNvPr>
          <p:cNvGrpSpPr/>
          <p:nvPr/>
        </p:nvGrpSpPr>
        <p:grpSpPr>
          <a:xfrm>
            <a:off x="1335734" y="2650303"/>
            <a:ext cx="3700227" cy="585263"/>
            <a:chOff x="1335734" y="1727553"/>
            <a:chExt cx="3700227" cy="585263"/>
          </a:xfrm>
        </p:grpSpPr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62FCB9FE-D326-4737-BBD3-CE78D438C644}"/>
                </a:ext>
              </a:extLst>
            </p:cNvPr>
            <p:cNvSpPr/>
            <p:nvPr/>
          </p:nvSpPr>
          <p:spPr>
            <a:xfrm>
              <a:off x="1335734" y="1727553"/>
              <a:ext cx="1706155" cy="353112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2.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배출량 관리 및 측정의 방향성</a:t>
              </a:r>
              <a:endParaRPr lang="ko-KR" altLang="en-US" sz="800" b="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endParaRPr>
            </a:p>
          </p:txBody>
        </p:sp>
        <p:sp>
          <p:nvSpPr>
            <p:cNvPr id="185" name="직사각형 184">
              <a:extLst>
                <a:ext uri="{FF2B5EF4-FFF2-40B4-BE49-F238E27FC236}">
                  <a16:creationId xmlns:a16="http://schemas.microsoft.com/office/drawing/2014/main" id="{9EB8AC96-6B55-4B5B-BE47-72F7A5998D3A}"/>
                </a:ext>
              </a:extLst>
            </p:cNvPr>
            <p:cNvSpPr/>
            <p:nvPr/>
          </p:nvSpPr>
          <p:spPr>
            <a:xfrm>
              <a:off x="3224113" y="1734101"/>
              <a:ext cx="1349842" cy="349564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원포인트레슨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_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배출량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_Lesson2.MP4</a:t>
              </a:r>
              <a:endParaRPr lang="ko-KR" altLang="en-US" sz="800" b="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endParaRPr>
            </a:p>
          </p:txBody>
        </p:sp>
        <p:sp>
          <p:nvSpPr>
            <p:cNvPr id="186" name="직사각형 185">
              <a:extLst>
                <a:ext uri="{FF2B5EF4-FFF2-40B4-BE49-F238E27FC236}">
                  <a16:creationId xmlns:a16="http://schemas.microsoft.com/office/drawing/2014/main" id="{B77274AC-DD00-466E-9422-F1C6034684F7}"/>
                </a:ext>
              </a:extLst>
            </p:cNvPr>
            <p:cNvSpPr/>
            <p:nvPr/>
          </p:nvSpPr>
          <p:spPr>
            <a:xfrm>
              <a:off x="4621982" y="1741914"/>
              <a:ext cx="413979" cy="33875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파일선택</a:t>
              </a:r>
            </a:p>
          </p:txBody>
        </p:sp>
        <p:grpSp>
          <p:nvGrpSpPr>
            <p:cNvPr id="188" name="그룹 187">
              <a:extLst>
                <a:ext uri="{FF2B5EF4-FFF2-40B4-BE49-F238E27FC236}">
                  <a16:creationId xmlns:a16="http://schemas.microsoft.com/office/drawing/2014/main" id="{41AA3362-8D98-4CDA-B4C4-99DBEECBE7BB}"/>
                </a:ext>
              </a:extLst>
            </p:cNvPr>
            <p:cNvGrpSpPr/>
            <p:nvPr/>
          </p:nvGrpSpPr>
          <p:grpSpPr>
            <a:xfrm>
              <a:off x="3228084" y="2131766"/>
              <a:ext cx="860019" cy="181050"/>
              <a:chOff x="8027982" y="1823592"/>
              <a:chExt cx="860019" cy="181050"/>
            </a:xfrm>
          </p:grpSpPr>
          <p:sp>
            <p:nvSpPr>
              <p:cNvPr id="189" name="직사각형 188">
                <a:extLst>
                  <a:ext uri="{FF2B5EF4-FFF2-40B4-BE49-F238E27FC236}">
                    <a16:creationId xmlns:a16="http://schemas.microsoft.com/office/drawing/2014/main" id="{5926DB53-1E5D-4190-A112-312D6BF45CBF}"/>
                  </a:ext>
                </a:extLst>
              </p:cNvPr>
              <p:cNvSpPr/>
              <p:nvPr/>
            </p:nvSpPr>
            <p:spPr>
              <a:xfrm>
                <a:off x="8027982" y="1830016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90" name="직사각형 189">
                <a:extLst>
                  <a:ext uri="{FF2B5EF4-FFF2-40B4-BE49-F238E27FC236}">
                    <a16:creationId xmlns:a16="http://schemas.microsoft.com/office/drawing/2014/main" id="{3741CA58-3A98-4A72-9D2D-FDA010F505A6}"/>
                  </a:ext>
                </a:extLst>
              </p:cNvPr>
              <p:cNvSpPr/>
              <p:nvPr/>
            </p:nvSpPr>
            <p:spPr>
              <a:xfrm>
                <a:off x="8345371" y="1830016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2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91" name="직사각형 190">
                <a:extLst>
                  <a:ext uri="{FF2B5EF4-FFF2-40B4-BE49-F238E27FC236}">
                    <a16:creationId xmlns:a16="http://schemas.microsoft.com/office/drawing/2014/main" id="{5CF9D60F-C12E-4A55-9E52-7F8FF889A037}"/>
                  </a:ext>
                </a:extLst>
              </p:cNvPr>
              <p:cNvSpPr/>
              <p:nvPr/>
            </p:nvSpPr>
            <p:spPr>
              <a:xfrm>
                <a:off x="8662684" y="1831842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3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92" name="직사각형 191">
                <a:extLst>
                  <a:ext uri="{FF2B5EF4-FFF2-40B4-BE49-F238E27FC236}">
                    <a16:creationId xmlns:a16="http://schemas.microsoft.com/office/drawing/2014/main" id="{1ECF1E62-CF7C-489B-83B8-AB9B87CDB44C}"/>
                  </a:ext>
                </a:extLst>
              </p:cNvPr>
              <p:cNvSpPr/>
              <p:nvPr/>
            </p:nvSpPr>
            <p:spPr>
              <a:xfrm>
                <a:off x="8218854" y="1828918"/>
                <a:ext cx="168969" cy="1669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93" name="직사각형 192">
                <a:extLst>
                  <a:ext uri="{FF2B5EF4-FFF2-40B4-BE49-F238E27FC236}">
                    <a16:creationId xmlns:a16="http://schemas.microsoft.com/office/drawing/2014/main" id="{FBF16348-82E9-4469-95AE-BF084B837908}"/>
                  </a:ext>
                </a:extLst>
              </p:cNvPr>
              <p:cNvSpPr/>
              <p:nvPr/>
            </p:nvSpPr>
            <p:spPr>
              <a:xfrm>
                <a:off x="8532202" y="1823592"/>
                <a:ext cx="168969" cy="16198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grpSp>
        <p:nvGrpSpPr>
          <p:cNvPr id="194" name="그룹 193">
            <a:extLst>
              <a:ext uri="{FF2B5EF4-FFF2-40B4-BE49-F238E27FC236}">
                <a16:creationId xmlns:a16="http://schemas.microsoft.com/office/drawing/2014/main" id="{84D63A1C-3915-4913-AD6C-437E766B72B2}"/>
              </a:ext>
            </a:extLst>
          </p:cNvPr>
          <p:cNvGrpSpPr/>
          <p:nvPr/>
        </p:nvGrpSpPr>
        <p:grpSpPr>
          <a:xfrm>
            <a:off x="1335734" y="3618846"/>
            <a:ext cx="3700227" cy="585263"/>
            <a:chOff x="1335734" y="1727553"/>
            <a:chExt cx="3700227" cy="585263"/>
          </a:xfrm>
        </p:grpSpPr>
        <p:sp>
          <p:nvSpPr>
            <p:cNvPr id="196" name="직사각형 195">
              <a:extLst>
                <a:ext uri="{FF2B5EF4-FFF2-40B4-BE49-F238E27FC236}">
                  <a16:creationId xmlns:a16="http://schemas.microsoft.com/office/drawing/2014/main" id="{01BEC1AF-5924-4501-AFBD-DAAA3240217D}"/>
                </a:ext>
              </a:extLst>
            </p:cNvPr>
            <p:cNvSpPr/>
            <p:nvPr/>
          </p:nvSpPr>
          <p:spPr>
            <a:xfrm>
              <a:off x="1335734" y="1727553"/>
              <a:ext cx="1706155" cy="353112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b="0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3. </a:t>
              </a:r>
              <a:r>
                <a:rPr lang="ko-KR" altLang="en-US" sz="800" b="0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탄소국경세 </a:t>
              </a:r>
              <a:r>
                <a:rPr lang="en-US" altLang="ko-KR" sz="800" b="0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: </a:t>
              </a:r>
              <a:r>
                <a:rPr lang="ko-KR" altLang="en-US" sz="800" b="0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각국 진행경과</a:t>
              </a:r>
              <a:r>
                <a:rPr lang="en-US" altLang="ko-KR" sz="800" b="0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, </a:t>
              </a:r>
              <a:r>
                <a:rPr lang="ko-KR" altLang="en-US" sz="800" b="0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한국 기업의 대응</a:t>
              </a:r>
              <a:r>
                <a:rPr lang="en-US" altLang="ko-KR" sz="800" b="0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 </a:t>
              </a:r>
              <a:r>
                <a:rPr lang="ko-KR" altLang="en-US" sz="800" b="0" kern="12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/>
                </a:rPr>
                <a:t> </a:t>
              </a:r>
            </a:p>
          </p:txBody>
        </p:sp>
        <p:sp>
          <p:nvSpPr>
            <p:cNvPr id="197" name="직사각형 196">
              <a:extLst>
                <a:ext uri="{FF2B5EF4-FFF2-40B4-BE49-F238E27FC236}">
                  <a16:creationId xmlns:a16="http://schemas.microsoft.com/office/drawing/2014/main" id="{F5D08DB3-A243-49FE-9401-B25D25FB7759}"/>
                </a:ext>
              </a:extLst>
            </p:cNvPr>
            <p:cNvSpPr/>
            <p:nvPr/>
          </p:nvSpPr>
          <p:spPr>
            <a:xfrm>
              <a:off x="3224113" y="1734101"/>
              <a:ext cx="1349842" cy="349564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원포인트레슨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_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배출량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_Lesson3.MP4</a:t>
              </a:r>
              <a:endParaRPr lang="ko-KR" altLang="en-US" sz="800" b="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endParaRPr>
            </a:p>
          </p:txBody>
        </p:sp>
        <p:sp>
          <p:nvSpPr>
            <p:cNvPr id="198" name="직사각형 197">
              <a:extLst>
                <a:ext uri="{FF2B5EF4-FFF2-40B4-BE49-F238E27FC236}">
                  <a16:creationId xmlns:a16="http://schemas.microsoft.com/office/drawing/2014/main" id="{237E1225-AED3-413A-99A7-D4F5F600BADF}"/>
                </a:ext>
              </a:extLst>
            </p:cNvPr>
            <p:cNvSpPr/>
            <p:nvPr/>
          </p:nvSpPr>
          <p:spPr>
            <a:xfrm>
              <a:off x="4621982" y="1741914"/>
              <a:ext cx="413979" cy="33875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파일선택</a:t>
              </a:r>
            </a:p>
          </p:txBody>
        </p:sp>
        <p:grpSp>
          <p:nvGrpSpPr>
            <p:cNvPr id="202" name="그룹 201">
              <a:extLst>
                <a:ext uri="{FF2B5EF4-FFF2-40B4-BE49-F238E27FC236}">
                  <a16:creationId xmlns:a16="http://schemas.microsoft.com/office/drawing/2014/main" id="{FD20551E-FA8F-46A7-9061-C0E8551D26F1}"/>
                </a:ext>
              </a:extLst>
            </p:cNvPr>
            <p:cNvGrpSpPr/>
            <p:nvPr/>
          </p:nvGrpSpPr>
          <p:grpSpPr>
            <a:xfrm>
              <a:off x="3228084" y="2131766"/>
              <a:ext cx="860019" cy="181050"/>
              <a:chOff x="8027982" y="1823592"/>
              <a:chExt cx="860019" cy="181050"/>
            </a:xfrm>
          </p:grpSpPr>
          <p:sp>
            <p:nvSpPr>
              <p:cNvPr id="203" name="직사각형 202">
                <a:extLst>
                  <a:ext uri="{FF2B5EF4-FFF2-40B4-BE49-F238E27FC236}">
                    <a16:creationId xmlns:a16="http://schemas.microsoft.com/office/drawing/2014/main" id="{5F05AE21-172B-48D4-86B6-1F8FB7A6A4F8}"/>
                  </a:ext>
                </a:extLst>
              </p:cNvPr>
              <p:cNvSpPr/>
              <p:nvPr/>
            </p:nvSpPr>
            <p:spPr>
              <a:xfrm>
                <a:off x="8027982" y="1830016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4" name="직사각형 203">
                <a:extLst>
                  <a:ext uri="{FF2B5EF4-FFF2-40B4-BE49-F238E27FC236}">
                    <a16:creationId xmlns:a16="http://schemas.microsoft.com/office/drawing/2014/main" id="{40CFCF00-B034-4201-BA8D-C031BF329274}"/>
                  </a:ext>
                </a:extLst>
              </p:cNvPr>
              <p:cNvSpPr/>
              <p:nvPr/>
            </p:nvSpPr>
            <p:spPr>
              <a:xfrm>
                <a:off x="8345371" y="1830016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5" name="직사각형 204">
                <a:extLst>
                  <a:ext uri="{FF2B5EF4-FFF2-40B4-BE49-F238E27FC236}">
                    <a16:creationId xmlns:a16="http://schemas.microsoft.com/office/drawing/2014/main" id="{C127782A-70F1-43D0-94C3-C466C15B2464}"/>
                  </a:ext>
                </a:extLst>
              </p:cNvPr>
              <p:cNvSpPr/>
              <p:nvPr/>
            </p:nvSpPr>
            <p:spPr>
              <a:xfrm>
                <a:off x="8662684" y="1831842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3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6" name="직사각형 205">
                <a:extLst>
                  <a:ext uri="{FF2B5EF4-FFF2-40B4-BE49-F238E27FC236}">
                    <a16:creationId xmlns:a16="http://schemas.microsoft.com/office/drawing/2014/main" id="{908E1F81-B6AA-4B00-9479-BEA440ABAE91}"/>
                  </a:ext>
                </a:extLst>
              </p:cNvPr>
              <p:cNvSpPr/>
              <p:nvPr/>
            </p:nvSpPr>
            <p:spPr>
              <a:xfrm>
                <a:off x="8218854" y="1828918"/>
                <a:ext cx="168969" cy="1669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7" name="직사각형 206">
                <a:extLst>
                  <a:ext uri="{FF2B5EF4-FFF2-40B4-BE49-F238E27FC236}">
                    <a16:creationId xmlns:a16="http://schemas.microsoft.com/office/drawing/2014/main" id="{8BB66102-48CB-4CA1-A9BC-DD93BF732F58}"/>
                  </a:ext>
                </a:extLst>
              </p:cNvPr>
              <p:cNvSpPr/>
              <p:nvPr/>
            </p:nvSpPr>
            <p:spPr>
              <a:xfrm>
                <a:off x="8532202" y="1823592"/>
                <a:ext cx="168969" cy="16198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grpSp>
        <p:nvGrpSpPr>
          <p:cNvPr id="208" name="그룹 207">
            <a:extLst>
              <a:ext uri="{FF2B5EF4-FFF2-40B4-BE49-F238E27FC236}">
                <a16:creationId xmlns:a16="http://schemas.microsoft.com/office/drawing/2014/main" id="{12A74F51-810C-4D7C-837D-372A713BC3B7}"/>
              </a:ext>
            </a:extLst>
          </p:cNvPr>
          <p:cNvGrpSpPr/>
          <p:nvPr/>
        </p:nvGrpSpPr>
        <p:grpSpPr>
          <a:xfrm>
            <a:off x="1327995" y="4486416"/>
            <a:ext cx="3700227" cy="585263"/>
            <a:chOff x="1335734" y="1727553"/>
            <a:chExt cx="3700227" cy="585263"/>
          </a:xfrm>
        </p:grpSpPr>
        <p:sp>
          <p:nvSpPr>
            <p:cNvPr id="209" name="직사각형 208">
              <a:extLst>
                <a:ext uri="{FF2B5EF4-FFF2-40B4-BE49-F238E27FC236}">
                  <a16:creationId xmlns:a16="http://schemas.microsoft.com/office/drawing/2014/main" id="{028BE85B-5038-40A3-AC2D-FCAC8E9C2EAC}"/>
                </a:ext>
              </a:extLst>
            </p:cNvPr>
            <p:cNvSpPr/>
            <p:nvPr/>
          </p:nvSpPr>
          <p:spPr>
            <a:xfrm>
              <a:off x="1335734" y="1727553"/>
              <a:ext cx="1706155" cy="353112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4. 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공시기준 업데이트</a:t>
              </a:r>
              <a:endParaRPr lang="ko-KR" altLang="en-US" sz="800" b="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endParaRPr>
            </a:p>
          </p:txBody>
        </p:sp>
        <p:sp>
          <p:nvSpPr>
            <p:cNvPr id="210" name="직사각형 209">
              <a:extLst>
                <a:ext uri="{FF2B5EF4-FFF2-40B4-BE49-F238E27FC236}">
                  <a16:creationId xmlns:a16="http://schemas.microsoft.com/office/drawing/2014/main" id="{1D0EF3ED-20D6-4FB6-9A72-4BAAF3C8217E}"/>
                </a:ext>
              </a:extLst>
            </p:cNvPr>
            <p:cNvSpPr/>
            <p:nvPr/>
          </p:nvSpPr>
          <p:spPr>
            <a:xfrm>
              <a:off x="3224113" y="1734101"/>
              <a:ext cx="1349842" cy="349564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원포인트레슨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_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탄소배출량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_Lesson4.MP4</a:t>
              </a:r>
              <a:endParaRPr lang="ko-KR" altLang="en-US" sz="800" b="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endParaRPr>
            </a:p>
          </p:txBody>
        </p:sp>
        <p:sp>
          <p:nvSpPr>
            <p:cNvPr id="211" name="직사각형 210">
              <a:extLst>
                <a:ext uri="{FF2B5EF4-FFF2-40B4-BE49-F238E27FC236}">
                  <a16:creationId xmlns:a16="http://schemas.microsoft.com/office/drawing/2014/main" id="{B669AFB1-4CA4-4DBE-96C0-82C686861106}"/>
                </a:ext>
              </a:extLst>
            </p:cNvPr>
            <p:cNvSpPr/>
            <p:nvPr/>
          </p:nvSpPr>
          <p:spPr>
            <a:xfrm>
              <a:off x="4621982" y="1741914"/>
              <a:ext cx="413979" cy="33875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파일선택</a:t>
              </a:r>
            </a:p>
          </p:txBody>
        </p:sp>
        <p:grpSp>
          <p:nvGrpSpPr>
            <p:cNvPr id="213" name="그룹 212">
              <a:extLst>
                <a:ext uri="{FF2B5EF4-FFF2-40B4-BE49-F238E27FC236}">
                  <a16:creationId xmlns:a16="http://schemas.microsoft.com/office/drawing/2014/main" id="{46662BC6-E5FC-4405-8B8E-FDDF0D93FF48}"/>
                </a:ext>
              </a:extLst>
            </p:cNvPr>
            <p:cNvGrpSpPr/>
            <p:nvPr/>
          </p:nvGrpSpPr>
          <p:grpSpPr>
            <a:xfrm>
              <a:off x="3228084" y="2131766"/>
              <a:ext cx="860019" cy="181050"/>
              <a:chOff x="8027982" y="1823592"/>
              <a:chExt cx="860019" cy="181050"/>
            </a:xfrm>
          </p:grpSpPr>
          <p:sp>
            <p:nvSpPr>
              <p:cNvPr id="214" name="직사각형 213">
                <a:extLst>
                  <a:ext uri="{FF2B5EF4-FFF2-40B4-BE49-F238E27FC236}">
                    <a16:creationId xmlns:a16="http://schemas.microsoft.com/office/drawing/2014/main" id="{48320D97-F98B-4DD4-B60F-24EE40260B9A}"/>
                  </a:ext>
                </a:extLst>
              </p:cNvPr>
              <p:cNvSpPr/>
              <p:nvPr/>
            </p:nvSpPr>
            <p:spPr>
              <a:xfrm>
                <a:off x="8027982" y="1830016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5" name="직사각형 214">
                <a:extLst>
                  <a:ext uri="{FF2B5EF4-FFF2-40B4-BE49-F238E27FC236}">
                    <a16:creationId xmlns:a16="http://schemas.microsoft.com/office/drawing/2014/main" id="{E60A1182-5CDF-4383-8AAC-973F81814036}"/>
                  </a:ext>
                </a:extLst>
              </p:cNvPr>
              <p:cNvSpPr/>
              <p:nvPr/>
            </p:nvSpPr>
            <p:spPr>
              <a:xfrm>
                <a:off x="8345371" y="1830016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7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6" name="직사각형 215">
                <a:extLst>
                  <a:ext uri="{FF2B5EF4-FFF2-40B4-BE49-F238E27FC236}">
                    <a16:creationId xmlns:a16="http://schemas.microsoft.com/office/drawing/2014/main" id="{6AA519B2-DF10-4E0A-A380-05070DA4463D}"/>
                  </a:ext>
                </a:extLst>
              </p:cNvPr>
              <p:cNvSpPr/>
              <p:nvPr/>
            </p:nvSpPr>
            <p:spPr>
              <a:xfrm>
                <a:off x="8662684" y="1831842"/>
                <a:ext cx="225317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7" name="직사각형 216">
                <a:extLst>
                  <a:ext uri="{FF2B5EF4-FFF2-40B4-BE49-F238E27FC236}">
                    <a16:creationId xmlns:a16="http://schemas.microsoft.com/office/drawing/2014/main" id="{1B358FD1-3745-4B2B-90D5-AD5F315C5D49}"/>
                  </a:ext>
                </a:extLst>
              </p:cNvPr>
              <p:cNvSpPr/>
              <p:nvPr/>
            </p:nvSpPr>
            <p:spPr>
              <a:xfrm>
                <a:off x="8218854" y="1828918"/>
                <a:ext cx="168969" cy="1669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18" name="직사각형 217">
                <a:extLst>
                  <a:ext uri="{FF2B5EF4-FFF2-40B4-BE49-F238E27FC236}">
                    <a16:creationId xmlns:a16="http://schemas.microsoft.com/office/drawing/2014/main" id="{4AF68387-654E-4314-BE70-33C50E8B96B7}"/>
                  </a:ext>
                </a:extLst>
              </p:cNvPr>
              <p:cNvSpPr/>
              <p:nvPr/>
            </p:nvSpPr>
            <p:spPr>
              <a:xfrm>
                <a:off x="8532202" y="1823592"/>
                <a:ext cx="168969" cy="16198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9663F4A8-5D2D-9AE1-CD02-744635FAC2E5}"/>
              </a:ext>
            </a:extLst>
          </p:cNvPr>
          <p:cNvSpPr/>
          <p:nvPr/>
        </p:nvSpPr>
        <p:spPr>
          <a:xfrm>
            <a:off x="5712422" y="1761661"/>
            <a:ext cx="2435256" cy="53614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latinLnBrk="1">
              <a:lnSpc>
                <a:spcPct val="120000"/>
              </a:lnSpc>
              <a:defRPr/>
            </a:pP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주요 국가 동향</a:t>
            </a:r>
          </a:p>
          <a:p>
            <a:pPr defTabSz="914400" latinLnBrk="1">
              <a:lnSpc>
                <a:spcPct val="120000"/>
              </a:lnSpc>
              <a:defRPr/>
            </a:pP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미국은 최근 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CCA(Clean Competition Act, 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청정경쟁법</a:t>
            </a:r>
            <a:r>
              <a:rPr lang="en-US" altLang="ko-KR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  <a:r>
              <a:rPr lang="ko-KR" altLang="en-US" sz="7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을 통과시켜</a:t>
            </a:r>
            <a:endParaRPr lang="en-US" altLang="ko-KR" sz="7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7057DD81-7E59-35C6-43FF-B8DE9C2050FD}"/>
              </a:ext>
            </a:extLst>
          </p:cNvPr>
          <p:cNvGrpSpPr/>
          <p:nvPr/>
        </p:nvGrpSpPr>
        <p:grpSpPr>
          <a:xfrm>
            <a:off x="5153125" y="1771914"/>
            <a:ext cx="512992" cy="171477"/>
            <a:chOff x="1680255" y="1778318"/>
            <a:chExt cx="540955" cy="171477"/>
          </a:xfrm>
        </p:grpSpPr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8177F452-25DC-75E0-E621-CD8AC9774786}"/>
                </a:ext>
              </a:extLst>
            </p:cNvPr>
            <p:cNvSpPr/>
            <p:nvPr/>
          </p:nvSpPr>
          <p:spPr>
            <a:xfrm>
              <a:off x="1680255" y="1778318"/>
              <a:ext cx="325643" cy="17147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BE81F471-3ABB-25EB-BEF9-06E4231740AC}"/>
                </a:ext>
              </a:extLst>
            </p:cNvPr>
            <p:cNvSpPr/>
            <p:nvPr/>
          </p:nvSpPr>
          <p:spPr>
            <a:xfrm>
              <a:off x="2005186" y="1778956"/>
              <a:ext cx="216024" cy="17083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id="{67899879-1D26-506D-0C2A-2326B9D4D97F}"/>
              </a:ext>
            </a:extLst>
          </p:cNvPr>
          <p:cNvSpPr/>
          <p:nvPr/>
        </p:nvSpPr>
        <p:spPr>
          <a:xfrm>
            <a:off x="6402564" y="2344688"/>
            <a:ext cx="1728710" cy="149615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내용 추가 </a:t>
            </a:r>
            <a:endParaRPr lang="en-US" altLang="ko-KR" sz="7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B843BB4-91BA-7414-5643-9DC442BF2204}"/>
              </a:ext>
            </a:extLst>
          </p:cNvPr>
          <p:cNvGrpSpPr/>
          <p:nvPr/>
        </p:nvGrpSpPr>
        <p:grpSpPr>
          <a:xfrm>
            <a:off x="5159896" y="2639868"/>
            <a:ext cx="3004078" cy="808182"/>
            <a:chOff x="5159896" y="2639868"/>
            <a:chExt cx="3004078" cy="808182"/>
          </a:xfrm>
        </p:grpSpPr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86716BA2-5ACD-58BF-2F4B-C459CF80C215}"/>
                </a:ext>
              </a:extLst>
            </p:cNvPr>
            <p:cNvSpPr/>
            <p:nvPr/>
          </p:nvSpPr>
          <p:spPr>
            <a:xfrm>
              <a:off x="5719193" y="2639868"/>
              <a:ext cx="2435256" cy="274963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400" latinLnBrk="1">
                <a:lnSpc>
                  <a:spcPct val="120000"/>
                </a:lnSpc>
                <a:defRPr/>
              </a:pP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국가 동향</a:t>
              </a:r>
            </a:p>
          </p:txBody>
        </p:sp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3BBD06E1-276F-E5EE-E817-F910C661CCB9}"/>
                </a:ext>
              </a:extLst>
            </p:cNvPr>
            <p:cNvGrpSpPr/>
            <p:nvPr/>
          </p:nvGrpSpPr>
          <p:grpSpPr>
            <a:xfrm>
              <a:off x="5159896" y="2650121"/>
              <a:ext cx="512992" cy="171477"/>
              <a:chOff x="1680255" y="1778318"/>
              <a:chExt cx="540955" cy="171477"/>
            </a:xfrm>
          </p:grpSpPr>
          <p:sp>
            <p:nvSpPr>
              <p:cNvPr id="11" name="직사각형 10">
                <a:extLst>
                  <a:ext uri="{FF2B5EF4-FFF2-40B4-BE49-F238E27FC236}">
                    <a16:creationId xmlns:a16="http://schemas.microsoft.com/office/drawing/2014/main" id="{318EE539-3B44-3799-C0F6-C364221EC249}"/>
                  </a:ext>
                </a:extLst>
              </p:cNvPr>
              <p:cNvSpPr/>
              <p:nvPr/>
            </p:nvSpPr>
            <p:spPr>
              <a:xfrm>
                <a:off x="1680255" y="1778318"/>
                <a:ext cx="325643" cy="171477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v1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" name="직사각형 12">
                <a:extLst>
                  <a:ext uri="{FF2B5EF4-FFF2-40B4-BE49-F238E27FC236}">
                    <a16:creationId xmlns:a16="http://schemas.microsoft.com/office/drawing/2014/main" id="{9FB9D36B-91D6-B6DC-1398-1CEB8E8B69FB}"/>
                  </a:ext>
                </a:extLst>
              </p:cNvPr>
              <p:cNvSpPr/>
              <p:nvPr/>
            </p:nvSpPr>
            <p:spPr>
              <a:xfrm>
                <a:off x="2005186" y="1778956"/>
                <a:ext cx="216024" cy="17083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EA0F81D7-D0D3-3232-00FB-9B7164C11D19}"/>
                </a:ext>
              </a:extLst>
            </p:cNvPr>
            <p:cNvSpPr/>
            <p:nvPr/>
          </p:nvSpPr>
          <p:spPr>
            <a:xfrm>
              <a:off x="5728718" y="2970780"/>
              <a:ext cx="2435256" cy="274963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400" latinLnBrk="1">
                <a:lnSpc>
                  <a:spcPct val="120000"/>
                </a:lnSpc>
                <a:defRPr/>
              </a:pP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국가 동향</a:t>
              </a:r>
            </a:p>
          </p:txBody>
        </p: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8DB4F86B-FCA9-4315-2313-ECC87101DABB}"/>
                </a:ext>
              </a:extLst>
            </p:cNvPr>
            <p:cNvGrpSpPr/>
            <p:nvPr/>
          </p:nvGrpSpPr>
          <p:grpSpPr>
            <a:xfrm>
              <a:off x="5169421" y="2981033"/>
              <a:ext cx="512992" cy="171477"/>
              <a:chOff x="1680255" y="1778318"/>
              <a:chExt cx="540955" cy="171477"/>
            </a:xfrm>
          </p:grpSpPr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502F667C-1704-CEC3-12D9-506212CF6A72}"/>
                  </a:ext>
                </a:extLst>
              </p:cNvPr>
              <p:cNvSpPr/>
              <p:nvPr/>
            </p:nvSpPr>
            <p:spPr>
              <a:xfrm>
                <a:off x="1680255" y="1778318"/>
                <a:ext cx="325643" cy="171477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v2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025220E0-EB3F-195B-F3B7-C17216A68096}"/>
                  </a:ext>
                </a:extLst>
              </p:cNvPr>
              <p:cNvSpPr/>
              <p:nvPr/>
            </p:nvSpPr>
            <p:spPr>
              <a:xfrm>
                <a:off x="2005186" y="1778956"/>
                <a:ext cx="216024" cy="17083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25DB84A8-34C4-3639-CF4B-D471CB4715CD}"/>
                </a:ext>
              </a:extLst>
            </p:cNvPr>
            <p:cNvSpPr/>
            <p:nvPr/>
          </p:nvSpPr>
          <p:spPr>
            <a:xfrm>
              <a:off x="6412089" y="3298435"/>
              <a:ext cx="1728710" cy="14961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내용 추가 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42381C90-B26B-76AA-4A7F-E7935A43D1C5}"/>
              </a:ext>
            </a:extLst>
          </p:cNvPr>
          <p:cNvGrpSpPr/>
          <p:nvPr/>
        </p:nvGrpSpPr>
        <p:grpSpPr>
          <a:xfrm>
            <a:off x="5165229" y="3582074"/>
            <a:ext cx="3004078" cy="808182"/>
            <a:chOff x="5159896" y="2639868"/>
            <a:chExt cx="3004078" cy="808182"/>
          </a:xfrm>
        </p:grpSpPr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2C83DF47-3B3C-86F5-6C6D-B8FE4577B3CD}"/>
                </a:ext>
              </a:extLst>
            </p:cNvPr>
            <p:cNvSpPr/>
            <p:nvPr/>
          </p:nvSpPr>
          <p:spPr>
            <a:xfrm>
              <a:off x="5719193" y="2639868"/>
              <a:ext cx="2435256" cy="274963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400" latinLnBrk="1">
                <a:lnSpc>
                  <a:spcPct val="120000"/>
                </a:lnSpc>
                <a:defRPr/>
              </a:pP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국가 동향</a:t>
              </a:r>
            </a:p>
          </p:txBody>
        </p:sp>
        <p:grpSp>
          <p:nvGrpSpPr>
            <p:cNvPr id="37" name="그룹 36">
              <a:extLst>
                <a:ext uri="{FF2B5EF4-FFF2-40B4-BE49-F238E27FC236}">
                  <a16:creationId xmlns:a16="http://schemas.microsoft.com/office/drawing/2014/main" id="{47D5DFC8-A6FE-ECCA-54E8-F62E509000AA}"/>
                </a:ext>
              </a:extLst>
            </p:cNvPr>
            <p:cNvGrpSpPr/>
            <p:nvPr/>
          </p:nvGrpSpPr>
          <p:grpSpPr>
            <a:xfrm>
              <a:off x="5159896" y="2650121"/>
              <a:ext cx="512992" cy="171477"/>
              <a:chOff x="1680255" y="1778318"/>
              <a:chExt cx="540955" cy="171477"/>
            </a:xfrm>
          </p:grpSpPr>
          <p:sp>
            <p:nvSpPr>
              <p:cNvPr id="44" name="직사각형 43">
                <a:extLst>
                  <a:ext uri="{FF2B5EF4-FFF2-40B4-BE49-F238E27FC236}">
                    <a16:creationId xmlns:a16="http://schemas.microsoft.com/office/drawing/2014/main" id="{5B088B69-05B8-605D-834F-E6C65BCBD3B1}"/>
                  </a:ext>
                </a:extLst>
              </p:cNvPr>
              <p:cNvSpPr/>
              <p:nvPr/>
            </p:nvSpPr>
            <p:spPr>
              <a:xfrm>
                <a:off x="1680255" y="1778318"/>
                <a:ext cx="325643" cy="171477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v1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45" name="직사각형 44">
                <a:extLst>
                  <a:ext uri="{FF2B5EF4-FFF2-40B4-BE49-F238E27FC236}">
                    <a16:creationId xmlns:a16="http://schemas.microsoft.com/office/drawing/2014/main" id="{25858057-1E81-2E77-5413-5B7BF95B1A4A}"/>
                  </a:ext>
                </a:extLst>
              </p:cNvPr>
              <p:cNvSpPr/>
              <p:nvPr/>
            </p:nvSpPr>
            <p:spPr>
              <a:xfrm>
                <a:off x="2005186" y="1778956"/>
                <a:ext cx="216024" cy="17083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B409C6DC-854A-E93C-7562-0EEFB60B99D3}"/>
                </a:ext>
              </a:extLst>
            </p:cNvPr>
            <p:cNvSpPr/>
            <p:nvPr/>
          </p:nvSpPr>
          <p:spPr>
            <a:xfrm>
              <a:off x="5728718" y="2970780"/>
              <a:ext cx="2435256" cy="274963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400" latinLnBrk="1">
                <a:lnSpc>
                  <a:spcPct val="120000"/>
                </a:lnSpc>
                <a:defRPr/>
              </a:pP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국가 동향</a:t>
              </a:r>
            </a:p>
          </p:txBody>
        </p:sp>
        <p:grpSp>
          <p:nvGrpSpPr>
            <p:cNvPr id="39" name="그룹 38">
              <a:extLst>
                <a:ext uri="{FF2B5EF4-FFF2-40B4-BE49-F238E27FC236}">
                  <a16:creationId xmlns:a16="http://schemas.microsoft.com/office/drawing/2014/main" id="{33C31469-1AE1-8925-CEC1-234483BD7E1E}"/>
                </a:ext>
              </a:extLst>
            </p:cNvPr>
            <p:cNvGrpSpPr/>
            <p:nvPr/>
          </p:nvGrpSpPr>
          <p:grpSpPr>
            <a:xfrm>
              <a:off x="5169421" y="2981033"/>
              <a:ext cx="512992" cy="171477"/>
              <a:chOff x="1680255" y="1778318"/>
              <a:chExt cx="540955" cy="171477"/>
            </a:xfrm>
          </p:grpSpPr>
          <p:sp>
            <p:nvSpPr>
              <p:cNvPr id="41" name="직사각형 40">
                <a:extLst>
                  <a:ext uri="{FF2B5EF4-FFF2-40B4-BE49-F238E27FC236}">
                    <a16:creationId xmlns:a16="http://schemas.microsoft.com/office/drawing/2014/main" id="{EF95F5AC-1846-1594-3004-544DAD1AFEFF}"/>
                  </a:ext>
                </a:extLst>
              </p:cNvPr>
              <p:cNvSpPr/>
              <p:nvPr/>
            </p:nvSpPr>
            <p:spPr>
              <a:xfrm>
                <a:off x="1680255" y="1778318"/>
                <a:ext cx="325643" cy="171477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v2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42" name="직사각형 41">
                <a:extLst>
                  <a:ext uri="{FF2B5EF4-FFF2-40B4-BE49-F238E27FC236}">
                    <a16:creationId xmlns:a16="http://schemas.microsoft.com/office/drawing/2014/main" id="{76E17EB0-F5C1-96A6-3C2D-A9786F1762A3}"/>
                  </a:ext>
                </a:extLst>
              </p:cNvPr>
              <p:cNvSpPr/>
              <p:nvPr/>
            </p:nvSpPr>
            <p:spPr>
              <a:xfrm>
                <a:off x="2005186" y="1778956"/>
                <a:ext cx="216024" cy="17083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BD7A3C3A-D1F2-27AB-C7D5-16F768E61425}"/>
                </a:ext>
              </a:extLst>
            </p:cNvPr>
            <p:cNvSpPr/>
            <p:nvPr/>
          </p:nvSpPr>
          <p:spPr>
            <a:xfrm>
              <a:off x="6412089" y="3298435"/>
              <a:ext cx="1728710" cy="14961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내용 추가 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37246E44-2326-67D1-9016-8D511A470912}"/>
              </a:ext>
            </a:extLst>
          </p:cNvPr>
          <p:cNvGrpSpPr/>
          <p:nvPr/>
        </p:nvGrpSpPr>
        <p:grpSpPr>
          <a:xfrm>
            <a:off x="5189612" y="4512076"/>
            <a:ext cx="3004078" cy="808182"/>
            <a:chOff x="5159896" y="2639868"/>
            <a:chExt cx="3004078" cy="808182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C52E6C40-D17F-89DB-C27D-8968B89C82F0}"/>
                </a:ext>
              </a:extLst>
            </p:cNvPr>
            <p:cNvSpPr/>
            <p:nvPr/>
          </p:nvSpPr>
          <p:spPr>
            <a:xfrm>
              <a:off x="5719193" y="2639868"/>
              <a:ext cx="2435256" cy="274963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400" latinLnBrk="1">
                <a:lnSpc>
                  <a:spcPct val="120000"/>
                </a:lnSpc>
                <a:defRPr/>
              </a:pP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국가 동향</a:t>
              </a:r>
            </a:p>
          </p:txBody>
        </p:sp>
        <p:grpSp>
          <p:nvGrpSpPr>
            <p:cNvPr id="48" name="그룹 47">
              <a:extLst>
                <a:ext uri="{FF2B5EF4-FFF2-40B4-BE49-F238E27FC236}">
                  <a16:creationId xmlns:a16="http://schemas.microsoft.com/office/drawing/2014/main" id="{2C2DC6EB-5031-B5F2-BB8E-85FDC14B602C}"/>
                </a:ext>
              </a:extLst>
            </p:cNvPr>
            <p:cNvGrpSpPr/>
            <p:nvPr/>
          </p:nvGrpSpPr>
          <p:grpSpPr>
            <a:xfrm>
              <a:off x="5159896" y="2650121"/>
              <a:ext cx="512992" cy="171477"/>
              <a:chOff x="1680255" y="1778318"/>
              <a:chExt cx="540955" cy="171477"/>
            </a:xfrm>
          </p:grpSpPr>
          <p:sp>
            <p:nvSpPr>
              <p:cNvPr id="54" name="직사각형 53">
                <a:extLst>
                  <a:ext uri="{FF2B5EF4-FFF2-40B4-BE49-F238E27FC236}">
                    <a16:creationId xmlns:a16="http://schemas.microsoft.com/office/drawing/2014/main" id="{178BB4AE-54FF-FF0F-E684-D9475F27674C}"/>
                  </a:ext>
                </a:extLst>
              </p:cNvPr>
              <p:cNvSpPr/>
              <p:nvPr/>
            </p:nvSpPr>
            <p:spPr>
              <a:xfrm>
                <a:off x="1680255" y="1778318"/>
                <a:ext cx="325643" cy="171477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v1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5" name="직사각형 54">
                <a:extLst>
                  <a:ext uri="{FF2B5EF4-FFF2-40B4-BE49-F238E27FC236}">
                    <a16:creationId xmlns:a16="http://schemas.microsoft.com/office/drawing/2014/main" id="{F82700F3-B771-3922-2A6E-958D308977B4}"/>
                  </a:ext>
                </a:extLst>
              </p:cNvPr>
              <p:cNvSpPr/>
              <p:nvPr/>
            </p:nvSpPr>
            <p:spPr>
              <a:xfrm>
                <a:off x="2005186" y="1778956"/>
                <a:ext cx="216024" cy="17083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DE891569-F4CC-1853-328C-8E8017BF4F65}"/>
                </a:ext>
              </a:extLst>
            </p:cNvPr>
            <p:cNvSpPr/>
            <p:nvPr/>
          </p:nvSpPr>
          <p:spPr>
            <a:xfrm>
              <a:off x="5728718" y="2970780"/>
              <a:ext cx="2435256" cy="274963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400" latinLnBrk="1">
                <a:lnSpc>
                  <a:spcPct val="120000"/>
                </a:lnSpc>
                <a:defRPr/>
              </a:pPr>
              <a:r>
                <a:rPr lang="ko-KR" altLang="en-US" sz="75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/>
                </a:rPr>
                <a:t>주요 국가 동향</a:t>
              </a:r>
            </a:p>
          </p:txBody>
        </p:sp>
        <p:grpSp>
          <p:nvGrpSpPr>
            <p:cNvPr id="50" name="그룹 49">
              <a:extLst>
                <a:ext uri="{FF2B5EF4-FFF2-40B4-BE49-F238E27FC236}">
                  <a16:creationId xmlns:a16="http://schemas.microsoft.com/office/drawing/2014/main" id="{6F0336D2-B88F-1B2A-C423-F8224AF8CC74}"/>
                </a:ext>
              </a:extLst>
            </p:cNvPr>
            <p:cNvGrpSpPr/>
            <p:nvPr/>
          </p:nvGrpSpPr>
          <p:grpSpPr>
            <a:xfrm>
              <a:off x="5169421" y="2981033"/>
              <a:ext cx="512992" cy="171477"/>
              <a:chOff x="1680255" y="1778318"/>
              <a:chExt cx="540955" cy="171477"/>
            </a:xfrm>
          </p:grpSpPr>
          <p:sp>
            <p:nvSpPr>
              <p:cNvPr id="52" name="직사각형 51">
                <a:extLst>
                  <a:ext uri="{FF2B5EF4-FFF2-40B4-BE49-F238E27FC236}">
                    <a16:creationId xmlns:a16="http://schemas.microsoft.com/office/drawing/2014/main" id="{143C2A11-815E-D0DC-9BF0-88A2ABF3814F}"/>
                  </a:ext>
                </a:extLst>
              </p:cNvPr>
              <p:cNvSpPr/>
              <p:nvPr/>
            </p:nvSpPr>
            <p:spPr>
              <a:xfrm>
                <a:off x="1680255" y="1778318"/>
                <a:ext cx="325643" cy="171477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Lv2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3" name="직사각형 52">
                <a:extLst>
                  <a:ext uri="{FF2B5EF4-FFF2-40B4-BE49-F238E27FC236}">
                    <a16:creationId xmlns:a16="http://schemas.microsoft.com/office/drawing/2014/main" id="{3911A286-F75B-D55E-182A-F45667F62B84}"/>
                  </a:ext>
                </a:extLst>
              </p:cNvPr>
              <p:cNvSpPr/>
              <p:nvPr/>
            </p:nvSpPr>
            <p:spPr>
              <a:xfrm>
                <a:off x="2005186" y="1778956"/>
                <a:ext cx="216024" cy="17083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887E1716-33DE-AF61-5B82-DA35BECA98A9}"/>
                </a:ext>
              </a:extLst>
            </p:cNvPr>
            <p:cNvSpPr/>
            <p:nvPr/>
          </p:nvSpPr>
          <p:spPr>
            <a:xfrm>
              <a:off x="6412089" y="3298435"/>
              <a:ext cx="1728710" cy="14961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7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내용 추가 </a:t>
              </a:r>
              <a:endParaRPr lang="en-US" altLang="ko-KR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97734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FAF17FD3-3302-47AE-AE87-77870BEB0D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2610305"/>
              </p:ext>
            </p:extLst>
          </p:nvPr>
        </p:nvGraphicFramePr>
        <p:xfrm>
          <a:off x="341701" y="2932886"/>
          <a:ext cx="8656145" cy="37371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52413">
                  <a:extLst>
                    <a:ext uri="{9D8B030D-6E8A-4147-A177-3AD203B41FA5}">
                      <a16:colId xmlns:a16="http://schemas.microsoft.com/office/drawing/2014/main" val="2478471540"/>
                    </a:ext>
                  </a:extLst>
                </a:gridCol>
                <a:gridCol w="4175885">
                  <a:extLst>
                    <a:ext uri="{9D8B030D-6E8A-4147-A177-3AD203B41FA5}">
                      <a16:colId xmlns:a16="http://schemas.microsoft.com/office/drawing/2014/main" val="604374833"/>
                    </a:ext>
                  </a:extLst>
                </a:gridCol>
                <a:gridCol w="533383">
                  <a:extLst>
                    <a:ext uri="{9D8B030D-6E8A-4147-A177-3AD203B41FA5}">
                      <a16:colId xmlns:a16="http://schemas.microsoft.com/office/drawing/2014/main" val="1516627662"/>
                    </a:ext>
                  </a:extLst>
                </a:gridCol>
                <a:gridCol w="1359784">
                  <a:extLst>
                    <a:ext uri="{9D8B030D-6E8A-4147-A177-3AD203B41FA5}">
                      <a16:colId xmlns:a16="http://schemas.microsoft.com/office/drawing/2014/main" val="3964999797"/>
                    </a:ext>
                  </a:extLst>
                </a:gridCol>
                <a:gridCol w="562337">
                  <a:extLst>
                    <a:ext uri="{9D8B030D-6E8A-4147-A177-3AD203B41FA5}">
                      <a16:colId xmlns:a16="http://schemas.microsoft.com/office/drawing/2014/main" val="305574594"/>
                    </a:ext>
                  </a:extLst>
                </a:gridCol>
                <a:gridCol w="533383">
                  <a:extLst>
                    <a:ext uri="{9D8B030D-6E8A-4147-A177-3AD203B41FA5}">
                      <a16:colId xmlns:a16="http://schemas.microsoft.com/office/drawing/2014/main" val="163635658"/>
                    </a:ext>
                  </a:extLst>
                </a:gridCol>
                <a:gridCol w="838960">
                  <a:extLst>
                    <a:ext uri="{9D8B030D-6E8A-4147-A177-3AD203B41FA5}">
                      <a16:colId xmlns:a16="http://schemas.microsoft.com/office/drawing/2014/main" val="988339526"/>
                    </a:ext>
                  </a:extLst>
                </a:gridCol>
              </a:tblGrid>
              <a:tr h="233433">
                <a:tc gridSpan="7"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자료 목록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총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3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277735"/>
                  </a:ext>
                </a:extLst>
              </a:tr>
              <a:tr h="243774">
                <a:tc gridSpan="7">
                  <a:txBody>
                    <a:bodyPr/>
                    <a:lstStyle/>
                    <a:p>
                      <a:pPr algn="l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5603647"/>
                  </a:ext>
                </a:extLst>
              </a:tr>
              <a:tr h="2282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자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자료 제목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행연도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행처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여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등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662301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9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경제적 질병부담 추이와 지역 변이</a:t>
                      </a:r>
                      <a:endParaRPr lang="ko-KR" altLang="en-US" sz="800" b="0" u="none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경제연구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sng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URL </a:t>
                      </a:r>
                      <a:r>
                        <a:rPr lang="ko-KR" altLang="en-US" sz="800" b="0" u="sng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u="sng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5750470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9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와 성평등 기업경영 확산 방안 연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출산고령사회위원회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109475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9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시장의 투명성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‧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뢰성 제고방안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「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기관 </a:t>
                      </a:r>
                      <a:r>
                        <a:rPr lang="ko-KR" altLang="en-US" sz="800" b="0" u="none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던스」제정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위원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4623565"/>
                  </a:ext>
                </a:extLst>
              </a:tr>
              <a:tr h="2321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9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체계 현황 분석 연구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영역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E)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중심으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국환경연구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0615149"/>
                  </a:ext>
                </a:extLst>
              </a:tr>
              <a:tr h="2253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9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경제적 질병부담 추이와 지역 변이</a:t>
                      </a:r>
                      <a:endParaRPr lang="ko-KR" altLang="en-US" sz="800" b="0" u="none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경제연구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289684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9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와 성평등 기업경영 확산 방안 연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출산고령사회위원회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2432605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8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시장의 투명성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‧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뢰성 제고방안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「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기관 </a:t>
                      </a:r>
                      <a:r>
                        <a:rPr lang="ko-KR" altLang="en-US" sz="800" b="0" u="none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던스」제정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위원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374898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8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체계 현황 분석 연구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영역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E)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중심으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국환경연구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0535066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8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경제적 질병부담 추이와 지역 변이</a:t>
                      </a:r>
                      <a:endParaRPr lang="ko-KR" altLang="en-US" sz="800" b="0" u="none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경제연구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7744443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7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와 성평등 기업경영 확산 방안 연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출산고령사회위원회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32932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5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시장의 투명성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‧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뢰성 제고방안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「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기관 </a:t>
                      </a:r>
                      <a:r>
                        <a:rPr lang="ko-KR" altLang="en-US" sz="800" b="0" u="none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던스」제정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위원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490053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5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체계 현황 분석 연구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영역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E)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중심으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국환경연구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162227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8-23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경제적 질병부담 추이와 지역 변이</a:t>
                      </a:r>
                      <a:endParaRPr lang="ko-KR" altLang="en-US" sz="800" b="0" u="none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경제연구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RL 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038500"/>
                  </a:ext>
                </a:extLst>
              </a:tr>
            </a:tbl>
          </a:graphicData>
        </a:graphic>
      </p:graphicFrame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078343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40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자료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6918895"/>
              </p:ext>
            </p:extLst>
          </p:nvPr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2945623"/>
              </p:ext>
            </p:extLst>
          </p:nvPr>
        </p:nvGraphicFramePr>
        <p:xfrm>
          <a:off x="9267391" y="759198"/>
          <a:ext cx="2922885" cy="3608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91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 조회 기준에 따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PI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자료 목록을 가져와서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최근 일주일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일자부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 간 데이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5449624"/>
                  </a:ext>
                </a:extLst>
              </a:tr>
              <a:tr h="32195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                                  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일주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당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접입력으로 구분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일주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일자부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 간 데이터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당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한 시점의 해당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터 해당일자까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Default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일주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155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행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행처로 목록 조회 가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Default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행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한 조회 조건으로 조회하여 하위 목록 출력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지워지고 초기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 조건에 따라 조회된 총 건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1434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에서 볼 수 있는 조회 건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2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00, 1,0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7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당 조회건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따른 페이지 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68565"/>
                  </a:ext>
                </a:extLst>
              </a:tr>
              <a:tr h="1155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자료가 있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UR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링크를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링크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1155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M005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API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보를 기반으로 등록정보 자동 작성하여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웃링크 형식으로 우선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659808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C46CC8E9-C6B2-4CBD-99CD-43BDD2223FC3}"/>
              </a:ext>
            </a:extLst>
          </p:cNvPr>
          <p:cNvSpPr/>
          <p:nvPr/>
        </p:nvSpPr>
        <p:spPr>
          <a:xfrm>
            <a:off x="332094" y="1134965"/>
            <a:ext cx="4971818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연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자료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 업데이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연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고 자료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60" name="표 66">
            <a:extLst>
              <a:ext uri="{FF2B5EF4-FFF2-40B4-BE49-F238E27FC236}">
                <a16:creationId xmlns:a16="http://schemas.microsoft.com/office/drawing/2014/main" id="{DEF1AB03-79E2-4BC8-84F8-24CA698E42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1258221"/>
              </p:ext>
            </p:extLst>
          </p:nvPr>
        </p:nvGraphicFramePr>
        <p:xfrm>
          <a:off x="341091" y="1484783"/>
          <a:ext cx="8634452" cy="12435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8365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7776087">
                  <a:extLst>
                    <a:ext uri="{9D8B030D-6E8A-4147-A177-3AD203B41FA5}">
                      <a16:colId xmlns:a16="http://schemas.microsoft.com/office/drawing/2014/main" val="876521912"/>
                    </a:ext>
                  </a:extLst>
                </a:gridCol>
              </a:tblGrid>
              <a:tr h="319221">
                <a:tc gridSpan="2">
                  <a:txBody>
                    <a:bodyPr/>
                    <a:lstStyle/>
                    <a:p>
                      <a:pPr algn="l"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연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 자료 조회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API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30811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● 최근 일주일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당월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직접입력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30811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행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238572"/>
                  </a:ext>
                </a:extLst>
              </a:tr>
              <a:tr h="308115">
                <a:tc gridSpan="2">
                  <a:txBody>
                    <a:bodyPr/>
                    <a:lstStyle/>
                    <a:p>
                      <a:pPr algn="l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26096623"/>
                  </a:ext>
                </a:extLst>
              </a:tr>
            </a:tbl>
          </a:graphicData>
        </a:graphic>
      </p:graphicFrame>
      <p:grpSp>
        <p:nvGrpSpPr>
          <p:cNvPr id="61" name="그룹 60">
            <a:extLst>
              <a:ext uri="{FF2B5EF4-FFF2-40B4-BE49-F238E27FC236}">
                <a16:creationId xmlns:a16="http://schemas.microsoft.com/office/drawing/2014/main" id="{1DB6E189-223B-4FE9-83AF-C8DE4E3C3BE1}"/>
              </a:ext>
            </a:extLst>
          </p:cNvPr>
          <p:cNvGrpSpPr/>
          <p:nvPr/>
        </p:nvGrpSpPr>
        <p:grpSpPr>
          <a:xfrm>
            <a:off x="3647728" y="1812807"/>
            <a:ext cx="1697790" cy="237576"/>
            <a:chOff x="1260033" y="1487609"/>
            <a:chExt cx="1697790" cy="207863"/>
          </a:xfrm>
        </p:grpSpPr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3EC784DC-E857-4EE6-B1CB-AC4374FA2B17}"/>
                </a:ext>
              </a:extLst>
            </p:cNvPr>
            <p:cNvSpPr/>
            <p:nvPr/>
          </p:nvSpPr>
          <p:spPr>
            <a:xfrm>
              <a:off x="2177088" y="1522883"/>
              <a:ext cx="672438" cy="1725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0019ADAF-362B-40E5-828B-A9E03A058E56}"/>
                </a:ext>
              </a:extLst>
            </p:cNvPr>
            <p:cNvSpPr/>
            <p:nvPr/>
          </p:nvSpPr>
          <p:spPr>
            <a:xfrm>
              <a:off x="1260033" y="1522517"/>
              <a:ext cx="671379" cy="1725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64" name="그룹 63">
              <a:extLst>
                <a:ext uri="{FF2B5EF4-FFF2-40B4-BE49-F238E27FC236}">
                  <a16:creationId xmlns:a16="http://schemas.microsoft.com/office/drawing/2014/main" id="{A8F13091-5FF1-4816-A5AE-E5253649BB61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70" name="직사각형 69">
                <a:extLst>
                  <a:ext uri="{FF2B5EF4-FFF2-40B4-BE49-F238E27FC236}">
                    <a16:creationId xmlns:a16="http://schemas.microsoft.com/office/drawing/2014/main" id="{3F3976B7-40EF-4C09-8B92-444E6F478E93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1" name="직사각형 70">
                <a:extLst>
                  <a:ext uri="{FF2B5EF4-FFF2-40B4-BE49-F238E27FC236}">
                    <a16:creationId xmlns:a16="http://schemas.microsoft.com/office/drawing/2014/main" id="{F5D55A0D-726F-44FD-B535-CDEDE2202DF5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72" name="그림 71">
                <a:extLst>
                  <a:ext uri="{FF2B5EF4-FFF2-40B4-BE49-F238E27FC236}">
                    <a16:creationId xmlns:a16="http://schemas.microsoft.com/office/drawing/2014/main" id="{425BE8CE-3F9B-4A01-B485-7516E32DA0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D3BEA7A-217F-4579-B0AA-2897C18547FE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9A6D26E1-A3C3-4AE4-8188-A5BB8C5F0712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0A2EE328-952D-4DFA-B940-961F9B758E39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69" name="그림 68">
                <a:extLst>
                  <a:ext uri="{FF2B5EF4-FFF2-40B4-BE49-F238E27FC236}">
                    <a16:creationId xmlns:a16="http://schemas.microsoft.com/office/drawing/2014/main" id="{4083A3B0-6DBD-45A7-9ABF-7AF9792374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644C2E60-115D-492B-AE34-83A304B1ED85}"/>
                </a:ext>
              </a:extLst>
            </p:cNvPr>
            <p:cNvSpPr/>
            <p:nvPr/>
          </p:nvSpPr>
          <p:spPr>
            <a:xfrm>
              <a:off x="2022412" y="1487609"/>
              <a:ext cx="197965" cy="184911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</p:grp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12380F19-965B-4FC0-ACBE-DE8A44165367}"/>
              </a:ext>
            </a:extLst>
          </p:cNvPr>
          <p:cNvSpPr/>
          <p:nvPr/>
        </p:nvSpPr>
        <p:spPr>
          <a:xfrm>
            <a:off x="4037484" y="2487659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6488A899-F343-4FA7-8C66-EBD9635ED90E}"/>
              </a:ext>
            </a:extLst>
          </p:cNvPr>
          <p:cNvSpPr/>
          <p:nvPr/>
        </p:nvSpPr>
        <p:spPr>
          <a:xfrm>
            <a:off x="4747036" y="2487659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1AC0C3E8-5856-497D-B798-510262A09C5C}"/>
              </a:ext>
            </a:extLst>
          </p:cNvPr>
          <p:cNvSpPr/>
          <p:nvPr/>
        </p:nvSpPr>
        <p:spPr>
          <a:xfrm>
            <a:off x="2452706" y="2164095"/>
            <a:ext cx="306254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내용입력</a:t>
            </a: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42C85A71-F1EC-40F2-A0DE-3DCF7F687B21}"/>
              </a:ext>
            </a:extLst>
          </p:cNvPr>
          <p:cNvGrpSpPr/>
          <p:nvPr/>
        </p:nvGrpSpPr>
        <p:grpSpPr>
          <a:xfrm>
            <a:off x="1303777" y="2164414"/>
            <a:ext cx="1067418" cy="173003"/>
            <a:chOff x="1258567" y="1778638"/>
            <a:chExt cx="1067418" cy="173003"/>
          </a:xfrm>
        </p:grpSpPr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1509B868-9945-4FCD-A72C-0CC874073213}"/>
                </a:ext>
              </a:extLst>
            </p:cNvPr>
            <p:cNvSpPr/>
            <p:nvPr/>
          </p:nvSpPr>
          <p:spPr>
            <a:xfrm>
              <a:off x="1258567" y="1778841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목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+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발행처</a:t>
              </a:r>
            </a:p>
          </p:txBody>
        </p:sp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4B23C41A-EF44-4CCB-BD97-4356D52C3917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pic>
        <p:nvPicPr>
          <p:cNvPr id="57" name="그림 56">
            <a:extLst>
              <a:ext uri="{FF2B5EF4-FFF2-40B4-BE49-F238E27FC236}">
                <a16:creationId xmlns:a16="http://schemas.microsoft.com/office/drawing/2014/main" id="{56A71A88-DA63-48F7-9CB7-AA16EFED17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6160" y="3749934"/>
            <a:ext cx="161003" cy="156908"/>
          </a:xfrm>
          <a:prstGeom prst="rect">
            <a:avLst/>
          </a:prstGeom>
        </p:spPr>
      </p:pic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6AB4DC8F-2D9E-4976-A72A-AF1050053117}"/>
              </a:ext>
            </a:extLst>
          </p:cNvPr>
          <p:cNvSpPr/>
          <p:nvPr/>
        </p:nvSpPr>
        <p:spPr>
          <a:xfrm>
            <a:off x="3951818" y="245572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3EFF42A6-7216-47FF-B516-D93A2C7693F5}"/>
              </a:ext>
            </a:extLst>
          </p:cNvPr>
          <p:cNvSpPr/>
          <p:nvPr/>
        </p:nvSpPr>
        <p:spPr>
          <a:xfrm>
            <a:off x="4707579" y="24601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52806B62-0F04-4824-93BA-F44CF6FDFA2B}"/>
              </a:ext>
            </a:extLst>
          </p:cNvPr>
          <p:cNvSpPr/>
          <p:nvPr/>
        </p:nvSpPr>
        <p:spPr>
          <a:xfrm>
            <a:off x="1292926" y="28529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D15D21EE-DA50-4831-B204-AAAE58EA6460}"/>
              </a:ext>
            </a:extLst>
          </p:cNvPr>
          <p:cNvSpPr/>
          <p:nvPr/>
        </p:nvSpPr>
        <p:spPr>
          <a:xfrm>
            <a:off x="259613" y="17985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75037DEA-9181-4F2B-A58F-0FE7D0A980F8}"/>
              </a:ext>
            </a:extLst>
          </p:cNvPr>
          <p:cNvSpPr/>
          <p:nvPr/>
        </p:nvSpPr>
        <p:spPr>
          <a:xfrm>
            <a:off x="259613" y="21122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A2DBBEC3-6BF9-4553-B4AE-346C1FEE8BA8}"/>
              </a:ext>
            </a:extLst>
          </p:cNvPr>
          <p:cNvGrpSpPr/>
          <p:nvPr/>
        </p:nvGrpSpPr>
        <p:grpSpPr>
          <a:xfrm>
            <a:off x="315455" y="3113889"/>
            <a:ext cx="1606500" cy="258826"/>
            <a:chOff x="9969577" y="6052085"/>
            <a:chExt cx="1606500" cy="258826"/>
          </a:xfrm>
        </p:grpSpPr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0A2A8210-6A3E-43E3-A2DA-4DE1CF43FF9B}"/>
                </a:ext>
              </a:extLst>
            </p:cNvPr>
            <p:cNvGrpSpPr/>
            <p:nvPr/>
          </p:nvGrpSpPr>
          <p:grpSpPr>
            <a:xfrm>
              <a:off x="10056440" y="6132881"/>
              <a:ext cx="696669" cy="172800"/>
              <a:chOff x="1260033" y="1778319"/>
              <a:chExt cx="696669" cy="172800"/>
            </a:xfrm>
          </p:grpSpPr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9F2909CB-2DC4-48B7-B9D9-7AC230BCAD73}"/>
                  </a:ext>
                </a:extLst>
              </p:cNvPr>
              <p:cNvSpPr/>
              <p:nvPr/>
            </p:nvSpPr>
            <p:spPr>
              <a:xfrm>
                <a:off x="1260033" y="1778319"/>
                <a:ext cx="480645" cy="1728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00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</a:t>
                </a:r>
              </a:p>
            </p:txBody>
          </p:sp>
          <p:sp>
            <p:nvSpPr>
              <p:cNvPr id="84" name="직사각형 83">
                <a:extLst>
                  <a:ext uri="{FF2B5EF4-FFF2-40B4-BE49-F238E27FC236}">
                    <a16:creationId xmlns:a16="http://schemas.microsoft.com/office/drawing/2014/main" id="{2F78E0BA-D742-40C4-897E-E17141102B9D}"/>
                  </a:ext>
                </a:extLst>
              </p:cNvPr>
              <p:cNvSpPr/>
              <p:nvPr/>
            </p:nvSpPr>
            <p:spPr>
              <a:xfrm>
                <a:off x="1740678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85" name="그룹 84">
              <a:extLst>
                <a:ext uri="{FF2B5EF4-FFF2-40B4-BE49-F238E27FC236}">
                  <a16:creationId xmlns:a16="http://schemas.microsoft.com/office/drawing/2014/main" id="{60ABC36D-D1B6-4590-B319-A08B714728B4}"/>
                </a:ext>
              </a:extLst>
            </p:cNvPr>
            <p:cNvGrpSpPr/>
            <p:nvPr/>
          </p:nvGrpSpPr>
          <p:grpSpPr>
            <a:xfrm>
              <a:off x="10879408" y="6138111"/>
              <a:ext cx="696669" cy="172800"/>
              <a:chOff x="1260033" y="1778319"/>
              <a:chExt cx="696669" cy="172800"/>
            </a:xfrm>
          </p:grpSpPr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88E26752-4798-4451-B543-3925AD7C9FFC}"/>
                  </a:ext>
                </a:extLst>
              </p:cNvPr>
              <p:cNvSpPr/>
              <p:nvPr/>
            </p:nvSpPr>
            <p:spPr>
              <a:xfrm>
                <a:off x="1260033" y="1778319"/>
                <a:ext cx="480645" cy="1728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/2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D37CAA43-97ED-43E0-8BEC-EC335CD88E0A}"/>
                  </a:ext>
                </a:extLst>
              </p:cNvPr>
              <p:cNvSpPr/>
              <p:nvPr/>
            </p:nvSpPr>
            <p:spPr>
              <a:xfrm>
                <a:off x="1740678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487B3CCD-29A0-48CB-B320-7494DBD4E476}"/>
                </a:ext>
              </a:extLst>
            </p:cNvPr>
            <p:cNvSpPr/>
            <p:nvPr/>
          </p:nvSpPr>
          <p:spPr>
            <a:xfrm>
              <a:off x="9969577" y="6075754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6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3ED17EAA-4BA1-40E0-81F9-31C8D05B8E7F}"/>
                </a:ext>
              </a:extLst>
            </p:cNvPr>
            <p:cNvSpPr/>
            <p:nvPr/>
          </p:nvSpPr>
          <p:spPr>
            <a:xfrm>
              <a:off x="10816580" y="6052085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7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4" name="사각형: 둥근 모서리 93">
            <a:extLst>
              <a:ext uri="{FF2B5EF4-FFF2-40B4-BE49-F238E27FC236}">
                <a16:creationId xmlns:a16="http://schemas.microsoft.com/office/drawing/2014/main" id="{5306842D-24A7-4BF4-B9A9-7A37EAF02259}"/>
              </a:ext>
            </a:extLst>
          </p:cNvPr>
          <p:cNvSpPr/>
          <p:nvPr/>
        </p:nvSpPr>
        <p:spPr>
          <a:xfrm>
            <a:off x="8147844" y="351743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5" name="사각형: 둥근 모서리 94">
            <a:extLst>
              <a:ext uri="{FF2B5EF4-FFF2-40B4-BE49-F238E27FC236}">
                <a16:creationId xmlns:a16="http://schemas.microsoft.com/office/drawing/2014/main" id="{4F250F5C-2913-4DC3-ACF2-DC3B78826D19}"/>
              </a:ext>
            </a:extLst>
          </p:cNvPr>
          <p:cNvSpPr/>
          <p:nvPr/>
        </p:nvSpPr>
        <p:spPr>
          <a:xfrm>
            <a:off x="7472091" y="358383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6" name="사각형: 둥근 모서리 95">
            <a:extLst>
              <a:ext uri="{FF2B5EF4-FFF2-40B4-BE49-F238E27FC236}">
                <a16:creationId xmlns:a16="http://schemas.microsoft.com/office/drawing/2014/main" id="{36C44481-75EB-4414-B9AC-ECA767B2D5EC}"/>
              </a:ext>
            </a:extLst>
          </p:cNvPr>
          <p:cNvSpPr/>
          <p:nvPr/>
        </p:nvSpPr>
        <p:spPr>
          <a:xfrm>
            <a:off x="8236374" y="3674722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732136F1-B6F6-4CA0-A956-012E2CDF542A}"/>
              </a:ext>
            </a:extLst>
          </p:cNvPr>
          <p:cNvSpPr/>
          <p:nvPr/>
        </p:nvSpPr>
        <p:spPr>
          <a:xfrm>
            <a:off x="8236374" y="3903926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94516DD8-F598-4992-A7D2-5412730A0583}"/>
              </a:ext>
            </a:extLst>
          </p:cNvPr>
          <p:cNvSpPr/>
          <p:nvPr/>
        </p:nvSpPr>
        <p:spPr>
          <a:xfrm>
            <a:off x="8236374" y="4141209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B7C2EF02-7147-4E2B-9CE6-1041DCAFF21C}"/>
              </a:ext>
            </a:extLst>
          </p:cNvPr>
          <p:cNvSpPr/>
          <p:nvPr/>
        </p:nvSpPr>
        <p:spPr>
          <a:xfrm>
            <a:off x="8236374" y="4370413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6AA4C7B1-AC21-4839-B374-512E8F814103}"/>
              </a:ext>
            </a:extLst>
          </p:cNvPr>
          <p:cNvSpPr/>
          <p:nvPr/>
        </p:nvSpPr>
        <p:spPr>
          <a:xfrm>
            <a:off x="8236374" y="4607696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09" name="사각형: 둥근 모서리 108">
            <a:extLst>
              <a:ext uri="{FF2B5EF4-FFF2-40B4-BE49-F238E27FC236}">
                <a16:creationId xmlns:a16="http://schemas.microsoft.com/office/drawing/2014/main" id="{7A4CD2F3-717F-4624-8CBE-870DE2E89164}"/>
              </a:ext>
            </a:extLst>
          </p:cNvPr>
          <p:cNvSpPr/>
          <p:nvPr/>
        </p:nvSpPr>
        <p:spPr>
          <a:xfrm>
            <a:off x="8236374" y="4836900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9A532383-9351-49D7-AC4C-0F5B9FD22766}"/>
              </a:ext>
            </a:extLst>
          </p:cNvPr>
          <p:cNvSpPr/>
          <p:nvPr/>
        </p:nvSpPr>
        <p:spPr>
          <a:xfrm>
            <a:off x="8236374" y="5074183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B8AA692E-B671-46D9-A58D-3503CD07D312}"/>
              </a:ext>
            </a:extLst>
          </p:cNvPr>
          <p:cNvSpPr/>
          <p:nvPr/>
        </p:nvSpPr>
        <p:spPr>
          <a:xfrm>
            <a:off x="8236374" y="5303387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1B686801-6B22-4D5D-AEC1-F7C1AA983500}"/>
              </a:ext>
            </a:extLst>
          </p:cNvPr>
          <p:cNvSpPr/>
          <p:nvPr/>
        </p:nvSpPr>
        <p:spPr>
          <a:xfrm>
            <a:off x="8236374" y="5540670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9A15BF22-FEBE-4AD4-B3FE-1AC7018626AD}"/>
              </a:ext>
            </a:extLst>
          </p:cNvPr>
          <p:cNvSpPr/>
          <p:nvPr/>
        </p:nvSpPr>
        <p:spPr>
          <a:xfrm>
            <a:off x="8236374" y="5769874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5F77509F-ADCD-426B-A2DB-324B4C5DBDD5}"/>
              </a:ext>
            </a:extLst>
          </p:cNvPr>
          <p:cNvSpPr/>
          <p:nvPr/>
        </p:nvSpPr>
        <p:spPr>
          <a:xfrm>
            <a:off x="8236374" y="6007157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04356A7F-E6AA-4165-92E5-E9748F1E269C}"/>
              </a:ext>
            </a:extLst>
          </p:cNvPr>
          <p:cNvSpPr/>
          <p:nvPr/>
        </p:nvSpPr>
        <p:spPr>
          <a:xfrm>
            <a:off x="8236374" y="6236361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E5F199F7-F100-4119-B703-9D6697E42887}"/>
              </a:ext>
            </a:extLst>
          </p:cNvPr>
          <p:cNvSpPr/>
          <p:nvPr/>
        </p:nvSpPr>
        <p:spPr>
          <a:xfrm>
            <a:off x="8236374" y="6474048"/>
            <a:ext cx="651426" cy="15733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32C187A-D27C-47E2-AFE2-E49B7F2D1AC2}"/>
              </a:ext>
            </a:extLst>
          </p:cNvPr>
          <p:cNvSpPr/>
          <p:nvPr/>
        </p:nvSpPr>
        <p:spPr>
          <a:xfrm>
            <a:off x="8975543" y="-18917"/>
            <a:ext cx="3218221" cy="6872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</a:t>
            </a: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gt;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API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연동하여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신규 연구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보고 자료 조회화면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신규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78524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7822651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4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키워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관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118463"/>
              </p:ext>
            </p:extLst>
          </p:nvPr>
        </p:nvGraphicFramePr>
        <p:xfrm>
          <a:off x="9267391" y="759197"/>
          <a:ext cx="2922885" cy="21892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152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                                  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재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화면에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노출된 키워드와 후보 키워드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목록을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의 키워드 제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152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한 키워드의 뉴스를 클릭하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별 뉴스 리스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0000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105945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 체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제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 체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제 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4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적용버튼 클릭하면 전시 상태 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: 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O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컨텐츠 중 상위 랭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키워드가 화면에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※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면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위랭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위 내 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=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 전시되는 키워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ol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표기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C46CC8E9-C6B2-4CBD-99CD-43BDD2223FC3}"/>
              </a:ext>
            </a:extLst>
          </p:cNvPr>
          <p:cNvSpPr/>
          <p:nvPr/>
        </p:nvSpPr>
        <p:spPr>
          <a:xfrm>
            <a:off x="332094" y="1134965"/>
            <a:ext cx="4971818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키워드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업데이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키워드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60" name="표 66">
            <a:extLst>
              <a:ext uri="{FF2B5EF4-FFF2-40B4-BE49-F238E27FC236}">
                <a16:creationId xmlns:a16="http://schemas.microsoft.com/office/drawing/2014/main" id="{DEF1AB03-79E2-4BC8-84F8-24CA698E42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215440"/>
              </p:ext>
            </p:extLst>
          </p:nvPr>
        </p:nvGraphicFramePr>
        <p:xfrm>
          <a:off x="341089" y="1484784"/>
          <a:ext cx="8634453" cy="51921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9045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1110957">
                  <a:extLst>
                    <a:ext uri="{9D8B030D-6E8A-4147-A177-3AD203B41FA5}">
                      <a16:colId xmlns:a16="http://schemas.microsoft.com/office/drawing/2014/main" val="1641443894"/>
                    </a:ext>
                  </a:extLst>
                </a:gridCol>
                <a:gridCol w="1031603">
                  <a:extLst>
                    <a:ext uri="{9D8B030D-6E8A-4147-A177-3AD203B41FA5}">
                      <a16:colId xmlns:a16="http://schemas.microsoft.com/office/drawing/2014/main" val="1395515380"/>
                    </a:ext>
                  </a:extLst>
                </a:gridCol>
                <a:gridCol w="5454143">
                  <a:extLst>
                    <a:ext uri="{9D8B030D-6E8A-4147-A177-3AD203B41FA5}">
                      <a16:colId xmlns:a16="http://schemas.microsoft.com/office/drawing/2014/main" val="936458211"/>
                    </a:ext>
                  </a:extLst>
                </a:gridCol>
                <a:gridCol w="647294">
                  <a:extLst>
                    <a:ext uri="{9D8B030D-6E8A-4147-A177-3AD203B41FA5}">
                      <a16:colId xmlns:a16="http://schemas.microsoft.com/office/drawing/2014/main" val="680784428"/>
                    </a:ext>
                  </a:extLst>
                </a:gridCol>
              </a:tblGrid>
              <a:tr h="271993">
                <a:tc gridSpan="5">
                  <a:txBody>
                    <a:bodyPr/>
                    <a:lstStyle/>
                    <a:p>
                      <a:pPr algn="l" latinLnBrk="1"/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키워드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관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30836">
                <a:tc gridSpan="5"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 관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갱신시점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2023.10.15 02:00)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6623390"/>
                  </a:ext>
                </a:extLst>
              </a:tr>
              <a:tr h="151583">
                <a:tc gridSpan="5">
                  <a:txBody>
                    <a:bodyPr/>
                    <a:lstStyle/>
                    <a:p>
                      <a:pPr algn="l" latinLnBrk="1"/>
                      <a:endParaRPr lang="en-US" altLang="ko-KR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557733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위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명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중치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기사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</a:t>
                      </a:r>
                      <a:endParaRPr lang="ko-KR" altLang="en-US" sz="800" b="1" u="sng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7.950</a:t>
                      </a:r>
                      <a:endParaRPr lang="ko-KR" altLang="en-US" sz="800" b="1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 의무화</a:t>
                      </a:r>
                      <a:r>
                        <a:rPr lang="en-US" altLang="ko-KR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 </a:t>
                      </a:r>
                      <a:endParaRPr lang="ko-KR" altLang="en-US" sz="800" b="1" u="none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너지 전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6.342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들 에너지 전환 준비에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3134837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1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협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.434</a:t>
                      </a:r>
                      <a:endParaRPr lang="ko-KR" altLang="en-US" sz="800" b="1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기업들의 업무협약</a:t>
                      </a:r>
                      <a:r>
                        <a:rPr lang="en-US" altLang="ko-KR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1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640011"/>
                  </a:ext>
                </a:extLst>
              </a:tr>
              <a:tr h="2288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  <a:endParaRPr lang="ko-KR" altLang="en-US" sz="800" b="1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3.452</a:t>
                      </a:r>
                      <a:endParaRPr lang="ko-KR" altLang="en-US" sz="800" b="1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FRS, </a:t>
                      </a:r>
                      <a:r>
                        <a:rPr lang="ko-KR" altLang="en-US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년 </a:t>
                      </a:r>
                      <a:r>
                        <a:rPr lang="en-US" altLang="ko-KR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…</a:t>
                      </a:r>
                      <a:endParaRPr lang="ko-KR" altLang="en-US" sz="800" b="1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983049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FRS</a:t>
                      </a:r>
                      <a:endParaRPr lang="ko-KR" altLang="en-US" sz="800" b="1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.234</a:t>
                      </a:r>
                      <a:endParaRPr lang="ko-KR" altLang="en-US" sz="800" b="1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FRS, </a:t>
                      </a:r>
                      <a:r>
                        <a:rPr lang="ko-KR" altLang="en-US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년 지속가능성</a:t>
                      </a:r>
                      <a:r>
                        <a:rPr lang="en-US" altLang="ko-KR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1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752411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6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1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증권거래위원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9.103</a:t>
                      </a:r>
                      <a:endParaRPr lang="ko-KR" altLang="en-US" sz="800" b="1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국 증권거래위원회에서 기후 변화와 관련</a:t>
                      </a:r>
                      <a:r>
                        <a:rPr lang="en-US" altLang="ko-KR" sz="800" b="1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1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741006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9.093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역내 기업들을 대상으로 공시 의무화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. 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739807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.798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기후 변화 관련 지침으로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121333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9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럽연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.568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럽연합은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 기업들을 대상으로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. 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782401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재활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.454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폐기물을 재활용하여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을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74049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1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대 엔지니어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.12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803086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2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2017892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3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196203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4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905024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4374559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6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360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7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220167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581574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9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355070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511669"/>
                  </a:ext>
                </a:extLst>
              </a:tr>
            </a:tbl>
          </a:graphicData>
        </a:graphic>
      </p:graphicFrame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12380F19-965B-4FC0-ACBE-DE8A44165367}"/>
              </a:ext>
            </a:extLst>
          </p:cNvPr>
          <p:cNvSpPr/>
          <p:nvPr/>
        </p:nvSpPr>
        <p:spPr>
          <a:xfrm>
            <a:off x="8285325" y="1531455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적용</a:t>
            </a: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DF348134-30CA-44EB-BDBA-49C4ECC5D57B}"/>
              </a:ext>
            </a:extLst>
          </p:cNvPr>
          <p:cNvSpPr/>
          <p:nvPr/>
        </p:nvSpPr>
        <p:spPr>
          <a:xfrm>
            <a:off x="8975543" y="-18917"/>
            <a:ext cx="3218221" cy="457982"/>
          </a:xfrm>
          <a:prstGeom prst="rect">
            <a:avLst/>
          </a:prstGeom>
          <a:solidFill>
            <a:schemeClr val="accent2"/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10.20&gt;</a:t>
            </a: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뉴스키워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관리 </a:t>
            </a: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DA9A19C2-4D55-0327-1892-2C9986514721}"/>
              </a:ext>
            </a:extLst>
          </p:cNvPr>
          <p:cNvSpPr/>
          <p:nvPr/>
        </p:nvSpPr>
        <p:spPr>
          <a:xfrm>
            <a:off x="279902" y="174433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C061226E-47E2-F8B7-9175-C7F10926E420}"/>
              </a:ext>
            </a:extLst>
          </p:cNvPr>
          <p:cNvSpPr/>
          <p:nvPr/>
        </p:nvSpPr>
        <p:spPr>
          <a:xfrm>
            <a:off x="8285325" y="21225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E56BFFB3-BE62-5E7F-BCA6-B4F8AACCFD4F}"/>
              </a:ext>
            </a:extLst>
          </p:cNvPr>
          <p:cNvSpPr/>
          <p:nvPr/>
        </p:nvSpPr>
        <p:spPr>
          <a:xfrm>
            <a:off x="694454" y="228566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71BD5659-FC88-2F92-489B-F7C659E720B2}"/>
              </a:ext>
            </a:extLst>
          </p:cNvPr>
          <p:cNvGrpSpPr/>
          <p:nvPr/>
        </p:nvGrpSpPr>
        <p:grpSpPr>
          <a:xfrm>
            <a:off x="8561856" y="2381591"/>
            <a:ext cx="139353" cy="4259721"/>
            <a:chOff x="8542208" y="2381591"/>
            <a:chExt cx="139353" cy="4259721"/>
          </a:xfrm>
        </p:grpSpPr>
        <p:grpSp>
          <p:nvGrpSpPr>
            <p:cNvPr id="2" name="그룹 1">
              <a:extLst>
                <a:ext uri="{FF2B5EF4-FFF2-40B4-BE49-F238E27FC236}">
                  <a16:creationId xmlns:a16="http://schemas.microsoft.com/office/drawing/2014/main" id="{C3B1C9F6-8EBE-C86E-E530-8E501C9AE587}"/>
                </a:ext>
              </a:extLst>
            </p:cNvPr>
            <p:cNvGrpSpPr/>
            <p:nvPr/>
          </p:nvGrpSpPr>
          <p:grpSpPr>
            <a:xfrm>
              <a:off x="8542208" y="2381591"/>
              <a:ext cx="139353" cy="139353"/>
              <a:chOff x="1996996" y="2755568"/>
              <a:chExt cx="139353" cy="139353"/>
            </a:xfrm>
          </p:grpSpPr>
          <p:sp>
            <p:nvSpPr>
              <p:cNvPr id="44" name="사각형: 둥근 모서리 43">
                <a:extLst>
                  <a:ext uri="{FF2B5EF4-FFF2-40B4-BE49-F238E27FC236}">
                    <a16:creationId xmlns:a16="http://schemas.microsoft.com/office/drawing/2014/main" id="{53D1BA19-8323-9465-F689-663469A15D3C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45" name="그림 44">
                <a:extLst>
                  <a:ext uri="{FF2B5EF4-FFF2-40B4-BE49-F238E27FC236}">
                    <a16:creationId xmlns:a16="http://schemas.microsoft.com/office/drawing/2014/main" id="{64439CDB-ED65-DDBC-0848-6F7A6005B3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7A5E81BD-78EB-C7E3-EFFA-8E47E065A795}"/>
                </a:ext>
              </a:extLst>
            </p:cNvPr>
            <p:cNvGrpSpPr/>
            <p:nvPr/>
          </p:nvGrpSpPr>
          <p:grpSpPr>
            <a:xfrm>
              <a:off x="8542208" y="2598452"/>
              <a:ext cx="139353" cy="139353"/>
              <a:chOff x="1996996" y="2755568"/>
              <a:chExt cx="139353" cy="139353"/>
            </a:xfrm>
          </p:grpSpPr>
          <p:sp>
            <p:nvSpPr>
              <p:cNvPr id="18" name="사각형: 둥근 모서리 17">
                <a:extLst>
                  <a:ext uri="{FF2B5EF4-FFF2-40B4-BE49-F238E27FC236}">
                    <a16:creationId xmlns:a16="http://schemas.microsoft.com/office/drawing/2014/main" id="{167D5837-B3E8-4F40-7237-52A97CE310EA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9" name="그림 18">
                <a:extLst>
                  <a:ext uri="{FF2B5EF4-FFF2-40B4-BE49-F238E27FC236}">
                    <a16:creationId xmlns:a16="http://schemas.microsoft.com/office/drawing/2014/main" id="{61781C8B-C393-9CE9-78CE-AB834E0103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3B698D45-0736-F7AD-7897-B9F9308CB24E}"/>
                </a:ext>
              </a:extLst>
            </p:cNvPr>
            <p:cNvGrpSpPr/>
            <p:nvPr/>
          </p:nvGrpSpPr>
          <p:grpSpPr>
            <a:xfrm>
              <a:off x="8542208" y="2815313"/>
              <a:ext cx="139353" cy="139353"/>
              <a:chOff x="1996996" y="2755568"/>
              <a:chExt cx="139353" cy="139353"/>
            </a:xfrm>
          </p:grpSpPr>
          <p:sp>
            <p:nvSpPr>
              <p:cNvPr id="21" name="사각형: 둥근 모서리 20">
                <a:extLst>
                  <a:ext uri="{FF2B5EF4-FFF2-40B4-BE49-F238E27FC236}">
                    <a16:creationId xmlns:a16="http://schemas.microsoft.com/office/drawing/2014/main" id="{BC5D88C7-27AC-67AB-0813-81600D7EAF7F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22" name="그림 21">
                <a:extLst>
                  <a:ext uri="{FF2B5EF4-FFF2-40B4-BE49-F238E27FC236}">
                    <a16:creationId xmlns:a16="http://schemas.microsoft.com/office/drawing/2014/main" id="{027FB711-A954-8B32-7B31-70CA8736BB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23" name="그룹 22">
              <a:extLst>
                <a:ext uri="{FF2B5EF4-FFF2-40B4-BE49-F238E27FC236}">
                  <a16:creationId xmlns:a16="http://schemas.microsoft.com/office/drawing/2014/main" id="{33E9DB14-964B-4189-6725-73257480F471}"/>
                </a:ext>
              </a:extLst>
            </p:cNvPr>
            <p:cNvGrpSpPr/>
            <p:nvPr/>
          </p:nvGrpSpPr>
          <p:grpSpPr>
            <a:xfrm>
              <a:off x="8542208" y="3032174"/>
              <a:ext cx="139353" cy="139353"/>
              <a:chOff x="1996996" y="2755568"/>
              <a:chExt cx="139353" cy="139353"/>
            </a:xfrm>
          </p:grpSpPr>
          <p:sp>
            <p:nvSpPr>
              <p:cNvPr id="24" name="사각형: 둥근 모서리 23">
                <a:extLst>
                  <a:ext uri="{FF2B5EF4-FFF2-40B4-BE49-F238E27FC236}">
                    <a16:creationId xmlns:a16="http://schemas.microsoft.com/office/drawing/2014/main" id="{67AA69D2-A2A2-EE97-1D60-839BDD007C7A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26" name="그림 25">
                <a:extLst>
                  <a:ext uri="{FF2B5EF4-FFF2-40B4-BE49-F238E27FC236}">
                    <a16:creationId xmlns:a16="http://schemas.microsoft.com/office/drawing/2014/main" id="{6A3B67E7-2D1B-E8AE-5D7D-28DE7A0DCA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777C29F3-B28C-C89D-3A07-EB7F17C72938}"/>
                </a:ext>
              </a:extLst>
            </p:cNvPr>
            <p:cNvGrpSpPr/>
            <p:nvPr/>
          </p:nvGrpSpPr>
          <p:grpSpPr>
            <a:xfrm>
              <a:off x="8542208" y="3249035"/>
              <a:ext cx="139353" cy="139353"/>
              <a:chOff x="1996996" y="2755568"/>
              <a:chExt cx="139353" cy="139353"/>
            </a:xfrm>
          </p:grpSpPr>
          <p:sp>
            <p:nvSpPr>
              <p:cNvPr id="28" name="사각형: 둥근 모서리 27">
                <a:extLst>
                  <a:ext uri="{FF2B5EF4-FFF2-40B4-BE49-F238E27FC236}">
                    <a16:creationId xmlns:a16="http://schemas.microsoft.com/office/drawing/2014/main" id="{0C7C3A0E-C1E3-AFF8-03E4-6988534E0561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37" name="그림 36">
                <a:extLst>
                  <a:ext uri="{FF2B5EF4-FFF2-40B4-BE49-F238E27FC236}">
                    <a16:creationId xmlns:a16="http://schemas.microsoft.com/office/drawing/2014/main" id="{5608429A-AC1D-CC1F-EF3B-856BA33132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46" name="그룹 45">
              <a:extLst>
                <a:ext uri="{FF2B5EF4-FFF2-40B4-BE49-F238E27FC236}">
                  <a16:creationId xmlns:a16="http://schemas.microsoft.com/office/drawing/2014/main" id="{1EEB2F0A-8EF1-13E7-45B3-33E43FA2AC25}"/>
                </a:ext>
              </a:extLst>
            </p:cNvPr>
            <p:cNvGrpSpPr/>
            <p:nvPr/>
          </p:nvGrpSpPr>
          <p:grpSpPr>
            <a:xfrm>
              <a:off x="8542208" y="3465896"/>
              <a:ext cx="139353" cy="139353"/>
              <a:chOff x="1996996" y="2755568"/>
              <a:chExt cx="139353" cy="139353"/>
            </a:xfrm>
          </p:grpSpPr>
          <p:sp>
            <p:nvSpPr>
              <p:cNvPr id="47" name="사각형: 둥근 모서리 46">
                <a:extLst>
                  <a:ext uri="{FF2B5EF4-FFF2-40B4-BE49-F238E27FC236}">
                    <a16:creationId xmlns:a16="http://schemas.microsoft.com/office/drawing/2014/main" id="{166C5D55-187D-FCF5-896B-B21217E9B49D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48" name="그림 47">
                <a:extLst>
                  <a:ext uri="{FF2B5EF4-FFF2-40B4-BE49-F238E27FC236}">
                    <a16:creationId xmlns:a16="http://schemas.microsoft.com/office/drawing/2014/main" id="{D105DB29-2912-057E-A699-EB56FC7044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49" name="그룹 48">
              <a:extLst>
                <a:ext uri="{FF2B5EF4-FFF2-40B4-BE49-F238E27FC236}">
                  <a16:creationId xmlns:a16="http://schemas.microsoft.com/office/drawing/2014/main" id="{72C8BB7A-118B-EE41-4427-2E93B0084DFF}"/>
                </a:ext>
              </a:extLst>
            </p:cNvPr>
            <p:cNvGrpSpPr/>
            <p:nvPr/>
          </p:nvGrpSpPr>
          <p:grpSpPr>
            <a:xfrm>
              <a:off x="8542208" y="3682757"/>
              <a:ext cx="139353" cy="139353"/>
              <a:chOff x="1996996" y="2755568"/>
              <a:chExt cx="139353" cy="139353"/>
            </a:xfrm>
          </p:grpSpPr>
          <p:sp>
            <p:nvSpPr>
              <p:cNvPr id="50" name="사각형: 둥근 모서리 49">
                <a:extLst>
                  <a:ext uri="{FF2B5EF4-FFF2-40B4-BE49-F238E27FC236}">
                    <a16:creationId xmlns:a16="http://schemas.microsoft.com/office/drawing/2014/main" id="{BB950C58-94D2-AD2E-9095-1DD6CDE6B3A9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51" name="그림 50">
                <a:extLst>
                  <a:ext uri="{FF2B5EF4-FFF2-40B4-BE49-F238E27FC236}">
                    <a16:creationId xmlns:a16="http://schemas.microsoft.com/office/drawing/2014/main" id="{05D489DD-DEE2-8ED0-BC07-72E1DAA39F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52" name="그룹 51">
              <a:extLst>
                <a:ext uri="{FF2B5EF4-FFF2-40B4-BE49-F238E27FC236}">
                  <a16:creationId xmlns:a16="http://schemas.microsoft.com/office/drawing/2014/main" id="{F4B2EDAE-0B8E-F388-5B52-830F2A0326D8}"/>
                </a:ext>
              </a:extLst>
            </p:cNvPr>
            <p:cNvGrpSpPr/>
            <p:nvPr/>
          </p:nvGrpSpPr>
          <p:grpSpPr>
            <a:xfrm>
              <a:off x="8542208" y="3899618"/>
              <a:ext cx="139353" cy="139353"/>
              <a:chOff x="1996996" y="2755568"/>
              <a:chExt cx="139353" cy="139353"/>
            </a:xfrm>
          </p:grpSpPr>
          <p:sp>
            <p:nvSpPr>
              <p:cNvPr id="53" name="사각형: 둥근 모서리 52">
                <a:extLst>
                  <a:ext uri="{FF2B5EF4-FFF2-40B4-BE49-F238E27FC236}">
                    <a16:creationId xmlns:a16="http://schemas.microsoft.com/office/drawing/2014/main" id="{F1E75D8F-9DF6-888D-FBA0-842935BAF007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54" name="그림 53">
                <a:extLst>
                  <a:ext uri="{FF2B5EF4-FFF2-40B4-BE49-F238E27FC236}">
                    <a16:creationId xmlns:a16="http://schemas.microsoft.com/office/drawing/2014/main" id="{FC94D4FE-33A3-A08C-ED57-684914D1DE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55" name="그룹 54">
              <a:extLst>
                <a:ext uri="{FF2B5EF4-FFF2-40B4-BE49-F238E27FC236}">
                  <a16:creationId xmlns:a16="http://schemas.microsoft.com/office/drawing/2014/main" id="{0E18B96C-529B-30EB-A240-5FB169DDA469}"/>
                </a:ext>
              </a:extLst>
            </p:cNvPr>
            <p:cNvGrpSpPr/>
            <p:nvPr/>
          </p:nvGrpSpPr>
          <p:grpSpPr>
            <a:xfrm>
              <a:off x="8542208" y="4116479"/>
              <a:ext cx="139353" cy="139353"/>
              <a:chOff x="1996996" y="2755568"/>
              <a:chExt cx="139353" cy="139353"/>
            </a:xfrm>
          </p:grpSpPr>
          <p:sp>
            <p:nvSpPr>
              <p:cNvPr id="56" name="사각형: 둥근 모서리 55">
                <a:extLst>
                  <a:ext uri="{FF2B5EF4-FFF2-40B4-BE49-F238E27FC236}">
                    <a16:creationId xmlns:a16="http://schemas.microsoft.com/office/drawing/2014/main" id="{8F8B18A1-67B5-4631-B154-DD58283DEFF7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57" name="그림 56">
                <a:extLst>
                  <a:ext uri="{FF2B5EF4-FFF2-40B4-BE49-F238E27FC236}">
                    <a16:creationId xmlns:a16="http://schemas.microsoft.com/office/drawing/2014/main" id="{F1751630-3EB2-D10D-0DAF-356CD732FE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58" name="그룹 57">
              <a:extLst>
                <a:ext uri="{FF2B5EF4-FFF2-40B4-BE49-F238E27FC236}">
                  <a16:creationId xmlns:a16="http://schemas.microsoft.com/office/drawing/2014/main" id="{DFB3C952-7606-615E-F713-E0240697E140}"/>
                </a:ext>
              </a:extLst>
            </p:cNvPr>
            <p:cNvGrpSpPr/>
            <p:nvPr/>
          </p:nvGrpSpPr>
          <p:grpSpPr>
            <a:xfrm>
              <a:off x="8542208" y="4333340"/>
              <a:ext cx="139353" cy="139353"/>
              <a:chOff x="1996996" y="2755568"/>
              <a:chExt cx="139353" cy="139353"/>
            </a:xfrm>
          </p:grpSpPr>
          <p:sp>
            <p:nvSpPr>
              <p:cNvPr id="59" name="사각형: 둥근 모서리 58">
                <a:extLst>
                  <a:ext uri="{FF2B5EF4-FFF2-40B4-BE49-F238E27FC236}">
                    <a16:creationId xmlns:a16="http://schemas.microsoft.com/office/drawing/2014/main" id="{19E7C043-4FA9-77A4-05A0-1DC6531475A4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61" name="그림 60">
                <a:extLst>
                  <a:ext uri="{FF2B5EF4-FFF2-40B4-BE49-F238E27FC236}">
                    <a16:creationId xmlns:a16="http://schemas.microsoft.com/office/drawing/2014/main" id="{8E00CA83-5CE3-B27B-7660-591222A2DF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62" name="그룹 61">
              <a:extLst>
                <a:ext uri="{FF2B5EF4-FFF2-40B4-BE49-F238E27FC236}">
                  <a16:creationId xmlns:a16="http://schemas.microsoft.com/office/drawing/2014/main" id="{C7D1696D-677E-F3BF-4555-32520FBFD702}"/>
                </a:ext>
              </a:extLst>
            </p:cNvPr>
            <p:cNvGrpSpPr/>
            <p:nvPr/>
          </p:nvGrpSpPr>
          <p:grpSpPr>
            <a:xfrm>
              <a:off x="8542208" y="4550201"/>
              <a:ext cx="139353" cy="139353"/>
              <a:chOff x="1996996" y="2755568"/>
              <a:chExt cx="139353" cy="139353"/>
            </a:xfrm>
          </p:grpSpPr>
          <p:sp>
            <p:nvSpPr>
              <p:cNvPr id="63" name="사각형: 둥근 모서리 62">
                <a:extLst>
                  <a:ext uri="{FF2B5EF4-FFF2-40B4-BE49-F238E27FC236}">
                    <a16:creationId xmlns:a16="http://schemas.microsoft.com/office/drawing/2014/main" id="{79AD9284-E185-8C48-69E8-F85BA64A26A3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64" name="그림 63">
                <a:extLst>
                  <a:ext uri="{FF2B5EF4-FFF2-40B4-BE49-F238E27FC236}">
                    <a16:creationId xmlns:a16="http://schemas.microsoft.com/office/drawing/2014/main" id="{4C565A33-7991-DE5C-6E35-C09FDAC101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9D190486-2B15-0A59-375A-4326D3E12188}"/>
                </a:ext>
              </a:extLst>
            </p:cNvPr>
            <p:cNvGrpSpPr/>
            <p:nvPr/>
          </p:nvGrpSpPr>
          <p:grpSpPr>
            <a:xfrm>
              <a:off x="8542208" y="4767062"/>
              <a:ext cx="139353" cy="139353"/>
              <a:chOff x="1996996" y="2755568"/>
              <a:chExt cx="139353" cy="139353"/>
            </a:xfrm>
          </p:grpSpPr>
          <p:sp>
            <p:nvSpPr>
              <p:cNvPr id="66" name="사각형: 둥근 모서리 65">
                <a:extLst>
                  <a:ext uri="{FF2B5EF4-FFF2-40B4-BE49-F238E27FC236}">
                    <a16:creationId xmlns:a16="http://schemas.microsoft.com/office/drawing/2014/main" id="{EA54FC3F-7608-E514-BAA9-6C9965FC55FE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67" name="그림 66">
                <a:extLst>
                  <a:ext uri="{FF2B5EF4-FFF2-40B4-BE49-F238E27FC236}">
                    <a16:creationId xmlns:a16="http://schemas.microsoft.com/office/drawing/2014/main" id="{33D04893-1F37-1613-70C4-FD034CF9B2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68" name="그룹 67">
              <a:extLst>
                <a:ext uri="{FF2B5EF4-FFF2-40B4-BE49-F238E27FC236}">
                  <a16:creationId xmlns:a16="http://schemas.microsoft.com/office/drawing/2014/main" id="{70EFF08B-781E-7130-157C-C836420AB2A9}"/>
                </a:ext>
              </a:extLst>
            </p:cNvPr>
            <p:cNvGrpSpPr/>
            <p:nvPr/>
          </p:nvGrpSpPr>
          <p:grpSpPr>
            <a:xfrm>
              <a:off x="8542208" y="4983923"/>
              <a:ext cx="139353" cy="139353"/>
              <a:chOff x="1996996" y="2755568"/>
              <a:chExt cx="139353" cy="139353"/>
            </a:xfrm>
          </p:grpSpPr>
          <p:sp>
            <p:nvSpPr>
              <p:cNvPr id="69" name="사각형: 둥근 모서리 68">
                <a:extLst>
                  <a:ext uri="{FF2B5EF4-FFF2-40B4-BE49-F238E27FC236}">
                    <a16:creationId xmlns:a16="http://schemas.microsoft.com/office/drawing/2014/main" id="{1C536354-596C-1208-E969-84195D1CD1BE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70" name="그림 69">
                <a:extLst>
                  <a:ext uri="{FF2B5EF4-FFF2-40B4-BE49-F238E27FC236}">
                    <a16:creationId xmlns:a16="http://schemas.microsoft.com/office/drawing/2014/main" id="{FE6CDD8E-EB2F-AEEE-1B87-8847592DC3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71" name="그룹 70">
              <a:extLst>
                <a:ext uri="{FF2B5EF4-FFF2-40B4-BE49-F238E27FC236}">
                  <a16:creationId xmlns:a16="http://schemas.microsoft.com/office/drawing/2014/main" id="{94A1054A-1470-444C-C738-E22B1EBCF4B2}"/>
                </a:ext>
              </a:extLst>
            </p:cNvPr>
            <p:cNvGrpSpPr/>
            <p:nvPr/>
          </p:nvGrpSpPr>
          <p:grpSpPr>
            <a:xfrm>
              <a:off x="8542208" y="5200784"/>
              <a:ext cx="139353" cy="139353"/>
              <a:chOff x="1996996" y="2755568"/>
              <a:chExt cx="139353" cy="139353"/>
            </a:xfrm>
          </p:grpSpPr>
          <p:sp>
            <p:nvSpPr>
              <p:cNvPr id="72" name="사각형: 둥근 모서리 71">
                <a:extLst>
                  <a:ext uri="{FF2B5EF4-FFF2-40B4-BE49-F238E27FC236}">
                    <a16:creationId xmlns:a16="http://schemas.microsoft.com/office/drawing/2014/main" id="{B17CEB70-1636-7286-C739-3DC81C9B57D3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75" name="그림 74">
                <a:extLst>
                  <a:ext uri="{FF2B5EF4-FFF2-40B4-BE49-F238E27FC236}">
                    <a16:creationId xmlns:a16="http://schemas.microsoft.com/office/drawing/2014/main" id="{D9D69201-704E-6A4E-283E-1C04A3EF17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6C0D24D5-3DFC-495F-D1D9-27BD4CC63038}"/>
                </a:ext>
              </a:extLst>
            </p:cNvPr>
            <p:cNvGrpSpPr/>
            <p:nvPr/>
          </p:nvGrpSpPr>
          <p:grpSpPr>
            <a:xfrm>
              <a:off x="8542208" y="5417645"/>
              <a:ext cx="139353" cy="139353"/>
              <a:chOff x="1996996" y="2755568"/>
              <a:chExt cx="139353" cy="139353"/>
            </a:xfrm>
          </p:grpSpPr>
          <p:sp>
            <p:nvSpPr>
              <p:cNvPr id="77" name="사각형: 둥근 모서리 76">
                <a:extLst>
                  <a:ext uri="{FF2B5EF4-FFF2-40B4-BE49-F238E27FC236}">
                    <a16:creationId xmlns:a16="http://schemas.microsoft.com/office/drawing/2014/main" id="{7372D395-45AB-7877-9AFE-83096D91B233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78" name="그림 77">
                <a:extLst>
                  <a:ext uri="{FF2B5EF4-FFF2-40B4-BE49-F238E27FC236}">
                    <a16:creationId xmlns:a16="http://schemas.microsoft.com/office/drawing/2014/main" id="{56CFFA6B-1AD1-FB80-DBE3-4635916422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D28FF909-03AE-054D-2BBC-247C6662BA44}"/>
                </a:ext>
              </a:extLst>
            </p:cNvPr>
            <p:cNvGrpSpPr/>
            <p:nvPr/>
          </p:nvGrpSpPr>
          <p:grpSpPr>
            <a:xfrm>
              <a:off x="8542208" y="5634506"/>
              <a:ext cx="139353" cy="139353"/>
              <a:chOff x="1996996" y="2755568"/>
              <a:chExt cx="139353" cy="139353"/>
            </a:xfrm>
          </p:grpSpPr>
          <p:sp>
            <p:nvSpPr>
              <p:cNvPr id="81" name="사각형: 둥근 모서리 80">
                <a:extLst>
                  <a:ext uri="{FF2B5EF4-FFF2-40B4-BE49-F238E27FC236}">
                    <a16:creationId xmlns:a16="http://schemas.microsoft.com/office/drawing/2014/main" id="{750B14DC-8AEF-2B0C-2AC6-5497F7C74F53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82" name="그림 81">
                <a:extLst>
                  <a:ext uri="{FF2B5EF4-FFF2-40B4-BE49-F238E27FC236}">
                    <a16:creationId xmlns:a16="http://schemas.microsoft.com/office/drawing/2014/main" id="{D98E99ED-3F69-8482-4638-0D2C06F820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60F6BF47-82FD-EFA7-DAD7-ADD5F6541A31}"/>
                </a:ext>
              </a:extLst>
            </p:cNvPr>
            <p:cNvGrpSpPr/>
            <p:nvPr/>
          </p:nvGrpSpPr>
          <p:grpSpPr>
            <a:xfrm>
              <a:off x="8542208" y="5851367"/>
              <a:ext cx="139353" cy="139353"/>
              <a:chOff x="1996996" y="2755568"/>
              <a:chExt cx="139353" cy="139353"/>
            </a:xfrm>
          </p:grpSpPr>
          <p:sp>
            <p:nvSpPr>
              <p:cNvPr id="84" name="사각형: 둥근 모서리 83">
                <a:extLst>
                  <a:ext uri="{FF2B5EF4-FFF2-40B4-BE49-F238E27FC236}">
                    <a16:creationId xmlns:a16="http://schemas.microsoft.com/office/drawing/2014/main" id="{A693F31E-5745-96B6-F0C0-8A3C19971534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85" name="그림 84">
                <a:extLst>
                  <a:ext uri="{FF2B5EF4-FFF2-40B4-BE49-F238E27FC236}">
                    <a16:creationId xmlns:a16="http://schemas.microsoft.com/office/drawing/2014/main" id="{E53752C8-C1D5-CAEF-E891-53E17CBACF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86" name="그룹 85">
              <a:extLst>
                <a:ext uri="{FF2B5EF4-FFF2-40B4-BE49-F238E27FC236}">
                  <a16:creationId xmlns:a16="http://schemas.microsoft.com/office/drawing/2014/main" id="{5F769073-8702-C235-F1B5-2342E4BD4043}"/>
                </a:ext>
              </a:extLst>
            </p:cNvPr>
            <p:cNvGrpSpPr/>
            <p:nvPr/>
          </p:nvGrpSpPr>
          <p:grpSpPr>
            <a:xfrm>
              <a:off x="8542208" y="6068228"/>
              <a:ext cx="139353" cy="139353"/>
              <a:chOff x="1996996" y="2755568"/>
              <a:chExt cx="139353" cy="139353"/>
            </a:xfrm>
          </p:grpSpPr>
          <p:sp>
            <p:nvSpPr>
              <p:cNvPr id="87" name="사각형: 둥근 모서리 86">
                <a:extLst>
                  <a:ext uri="{FF2B5EF4-FFF2-40B4-BE49-F238E27FC236}">
                    <a16:creationId xmlns:a16="http://schemas.microsoft.com/office/drawing/2014/main" id="{49A6FDB9-E7DE-F998-D3B4-C15A1D5AF819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88" name="그림 87">
                <a:extLst>
                  <a:ext uri="{FF2B5EF4-FFF2-40B4-BE49-F238E27FC236}">
                    <a16:creationId xmlns:a16="http://schemas.microsoft.com/office/drawing/2014/main" id="{DBFBC33E-2BF2-3F62-6BA1-DECB97CCDE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62F90ECF-96EE-A247-4C04-2E51303EA2AF}"/>
                </a:ext>
              </a:extLst>
            </p:cNvPr>
            <p:cNvGrpSpPr/>
            <p:nvPr/>
          </p:nvGrpSpPr>
          <p:grpSpPr>
            <a:xfrm>
              <a:off x="8542208" y="6285089"/>
              <a:ext cx="139353" cy="139353"/>
              <a:chOff x="1996996" y="2755568"/>
              <a:chExt cx="139353" cy="139353"/>
            </a:xfrm>
          </p:grpSpPr>
          <p:sp>
            <p:nvSpPr>
              <p:cNvPr id="90" name="사각형: 둥근 모서리 89">
                <a:extLst>
                  <a:ext uri="{FF2B5EF4-FFF2-40B4-BE49-F238E27FC236}">
                    <a16:creationId xmlns:a16="http://schemas.microsoft.com/office/drawing/2014/main" id="{8FDBD7FC-3186-83FB-18B2-56EFB400CFAD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91" name="그림 90">
                <a:extLst>
                  <a:ext uri="{FF2B5EF4-FFF2-40B4-BE49-F238E27FC236}">
                    <a16:creationId xmlns:a16="http://schemas.microsoft.com/office/drawing/2014/main" id="{6ABE9440-B77F-CE74-E2F4-9BCD207C72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92" name="그룹 91">
              <a:extLst>
                <a:ext uri="{FF2B5EF4-FFF2-40B4-BE49-F238E27FC236}">
                  <a16:creationId xmlns:a16="http://schemas.microsoft.com/office/drawing/2014/main" id="{7BF7A2D7-5ABA-99E6-B18D-FE817EF921C3}"/>
                </a:ext>
              </a:extLst>
            </p:cNvPr>
            <p:cNvGrpSpPr/>
            <p:nvPr/>
          </p:nvGrpSpPr>
          <p:grpSpPr>
            <a:xfrm>
              <a:off x="8542208" y="6501959"/>
              <a:ext cx="139353" cy="139353"/>
              <a:chOff x="1996996" y="2755568"/>
              <a:chExt cx="139353" cy="139353"/>
            </a:xfrm>
          </p:grpSpPr>
          <p:sp>
            <p:nvSpPr>
              <p:cNvPr id="93" name="사각형: 둥근 모서리 92">
                <a:extLst>
                  <a:ext uri="{FF2B5EF4-FFF2-40B4-BE49-F238E27FC236}">
                    <a16:creationId xmlns:a16="http://schemas.microsoft.com/office/drawing/2014/main" id="{7144B232-E07D-F50D-815F-DFEF1FB5F431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94" name="그림 93">
                <a:extLst>
                  <a:ext uri="{FF2B5EF4-FFF2-40B4-BE49-F238E27FC236}">
                    <a16:creationId xmlns:a16="http://schemas.microsoft.com/office/drawing/2014/main" id="{568CC09F-0F54-AE5F-1EC8-42A257D13E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</p:grpSp>
      <p:sp>
        <p:nvSpPr>
          <p:cNvPr id="96" name="사각형: 둥근 모서리 95">
            <a:extLst>
              <a:ext uri="{FF2B5EF4-FFF2-40B4-BE49-F238E27FC236}">
                <a16:creationId xmlns:a16="http://schemas.microsoft.com/office/drawing/2014/main" id="{8B88DE3D-CA58-0677-C12E-AF964E47FA13}"/>
              </a:ext>
            </a:extLst>
          </p:cNvPr>
          <p:cNvSpPr/>
          <p:nvPr/>
        </p:nvSpPr>
        <p:spPr>
          <a:xfrm>
            <a:off x="8247643" y="149723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013079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3545"/>
              </p:ext>
            </p:extLst>
          </p:nvPr>
        </p:nvGraphicFramePr>
        <p:xfrm>
          <a:off x="1" y="0"/>
          <a:ext cx="12191999" cy="5126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60648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4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별 뉴스 리스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5009047"/>
              </p:ext>
            </p:extLst>
          </p:nvPr>
        </p:nvGraphicFramePr>
        <p:xfrm>
          <a:off x="9267391" y="759197"/>
          <a:ext cx="2922885" cy="19887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5218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                                  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키워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0000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선택된 키워드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를 표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키워드별 뉴스로 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의 뉴스 목록 제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0824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별 뉴스 기사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기사 페이지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 체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제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 체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제 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4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적용버튼 클릭하면 전시 상태 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: 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= O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컨텐츠 중 상위 랭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뉴스 기사가 화면에 출력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※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면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위랭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위 내 기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=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에 전시되는 기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ol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표기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C46CC8E9-C6B2-4CBD-99CD-43BDD2223FC3}"/>
              </a:ext>
            </a:extLst>
          </p:cNvPr>
          <p:cNvSpPr/>
          <p:nvPr/>
        </p:nvSpPr>
        <p:spPr>
          <a:xfrm>
            <a:off x="332094" y="1134965"/>
            <a:ext cx="4971818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키워드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업데이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키워드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60" name="표 66">
            <a:extLst>
              <a:ext uri="{FF2B5EF4-FFF2-40B4-BE49-F238E27FC236}">
                <a16:creationId xmlns:a16="http://schemas.microsoft.com/office/drawing/2014/main" id="{DEF1AB03-79E2-4BC8-84F8-24CA698E42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6093831"/>
              </p:ext>
            </p:extLst>
          </p:nvPr>
        </p:nvGraphicFramePr>
        <p:xfrm>
          <a:off x="341089" y="1484784"/>
          <a:ext cx="8634453" cy="51921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9045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1110957">
                  <a:extLst>
                    <a:ext uri="{9D8B030D-6E8A-4147-A177-3AD203B41FA5}">
                      <a16:colId xmlns:a16="http://schemas.microsoft.com/office/drawing/2014/main" val="1641443894"/>
                    </a:ext>
                  </a:extLst>
                </a:gridCol>
                <a:gridCol w="1031603">
                  <a:extLst>
                    <a:ext uri="{9D8B030D-6E8A-4147-A177-3AD203B41FA5}">
                      <a16:colId xmlns:a16="http://schemas.microsoft.com/office/drawing/2014/main" val="1395515380"/>
                    </a:ext>
                  </a:extLst>
                </a:gridCol>
                <a:gridCol w="5454143">
                  <a:extLst>
                    <a:ext uri="{9D8B030D-6E8A-4147-A177-3AD203B41FA5}">
                      <a16:colId xmlns:a16="http://schemas.microsoft.com/office/drawing/2014/main" val="936458211"/>
                    </a:ext>
                  </a:extLst>
                </a:gridCol>
                <a:gridCol w="647294">
                  <a:extLst>
                    <a:ext uri="{9D8B030D-6E8A-4147-A177-3AD203B41FA5}">
                      <a16:colId xmlns:a16="http://schemas.microsoft.com/office/drawing/2014/main" val="680784428"/>
                    </a:ext>
                  </a:extLst>
                </a:gridCol>
              </a:tblGrid>
              <a:tr h="271993">
                <a:tc gridSpan="5">
                  <a:txBody>
                    <a:bodyPr/>
                    <a:lstStyle/>
                    <a:p>
                      <a:pPr algn="l" latinLnBrk="1"/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키워드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관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30836">
                <a:tc gridSpan="5"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 관리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갱신시점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2023.10.15 02:00)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6623390"/>
                  </a:ext>
                </a:extLst>
              </a:tr>
              <a:tr h="151583">
                <a:tc gridSpan="5">
                  <a:txBody>
                    <a:bodyPr/>
                    <a:lstStyle/>
                    <a:p>
                      <a:pPr algn="l" latinLnBrk="1"/>
                      <a:endParaRPr lang="en-US" altLang="ko-KR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557733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위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명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중치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기사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</a:t>
                      </a:r>
                      <a:endParaRPr lang="ko-KR" altLang="en-US" sz="800" b="0" u="sng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7.950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 의무화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 </a:t>
                      </a:r>
                      <a:endParaRPr lang="ko-KR" altLang="en-US" sz="800" b="0" u="none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너지 전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6.342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업들 에너지 전환 준비에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3134837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협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.434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기업들의 업무협약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640011"/>
                  </a:ext>
                </a:extLst>
              </a:tr>
              <a:tr h="2288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3.452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FRS,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년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…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983049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FRS</a:t>
                      </a:r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.234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FRS,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년 지속가능성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752411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6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증권거래위원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9.103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국 증권거래위원회에서 기후 변화와 관련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741006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9.093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역내 기업들을 대상으로 공시 의무화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. 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739807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.798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기후 변화 관련 지침으로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121333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9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럽연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.568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럽연합은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 기업들을 대상으로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. 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782401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재활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.454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폐기물을 재활용하여 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을</a:t>
                      </a:r>
                      <a:r>
                        <a:rPr lang="en-US" altLang="ko-KR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74049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1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대 엔지니어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.12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803086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2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2017892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3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196203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4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905024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4374559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6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360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7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220167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8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581574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9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355070"/>
                  </a:ext>
                </a:extLst>
              </a:tr>
              <a:tr h="215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511669"/>
                  </a:ext>
                </a:extLst>
              </a:tr>
            </a:tbl>
          </a:graphicData>
        </a:graphic>
      </p:graphicFrame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12380F19-965B-4FC0-ACBE-DE8A44165367}"/>
              </a:ext>
            </a:extLst>
          </p:cNvPr>
          <p:cNvSpPr/>
          <p:nvPr/>
        </p:nvSpPr>
        <p:spPr>
          <a:xfrm>
            <a:off x="8285325" y="1531455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적용</a:t>
            </a:r>
          </a:p>
        </p:txBody>
      </p: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71BD5659-FC88-2F92-489B-F7C659E720B2}"/>
              </a:ext>
            </a:extLst>
          </p:cNvPr>
          <p:cNvGrpSpPr/>
          <p:nvPr/>
        </p:nvGrpSpPr>
        <p:grpSpPr>
          <a:xfrm>
            <a:off x="8561856" y="2381591"/>
            <a:ext cx="139353" cy="4259721"/>
            <a:chOff x="8542208" y="2381591"/>
            <a:chExt cx="139353" cy="4259721"/>
          </a:xfrm>
        </p:grpSpPr>
        <p:grpSp>
          <p:nvGrpSpPr>
            <p:cNvPr id="2" name="그룹 1">
              <a:extLst>
                <a:ext uri="{FF2B5EF4-FFF2-40B4-BE49-F238E27FC236}">
                  <a16:creationId xmlns:a16="http://schemas.microsoft.com/office/drawing/2014/main" id="{C3B1C9F6-8EBE-C86E-E530-8E501C9AE587}"/>
                </a:ext>
              </a:extLst>
            </p:cNvPr>
            <p:cNvGrpSpPr/>
            <p:nvPr/>
          </p:nvGrpSpPr>
          <p:grpSpPr>
            <a:xfrm>
              <a:off x="8542208" y="2381591"/>
              <a:ext cx="139353" cy="139353"/>
              <a:chOff x="1996996" y="2755568"/>
              <a:chExt cx="139353" cy="139353"/>
            </a:xfrm>
          </p:grpSpPr>
          <p:sp>
            <p:nvSpPr>
              <p:cNvPr id="44" name="사각형: 둥근 모서리 43">
                <a:extLst>
                  <a:ext uri="{FF2B5EF4-FFF2-40B4-BE49-F238E27FC236}">
                    <a16:creationId xmlns:a16="http://schemas.microsoft.com/office/drawing/2014/main" id="{53D1BA19-8323-9465-F689-663469A15D3C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45" name="그림 44">
                <a:extLst>
                  <a:ext uri="{FF2B5EF4-FFF2-40B4-BE49-F238E27FC236}">
                    <a16:creationId xmlns:a16="http://schemas.microsoft.com/office/drawing/2014/main" id="{64439CDB-ED65-DDBC-0848-6F7A6005B3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7A5E81BD-78EB-C7E3-EFFA-8E47E065A795}"/>
                </a:ext>
              </a:extLst>
            </p:cNvPr>
            <p:cNvGrpSpPr/>
            <p:nvPr/>
          </p:nvGrpSpPr>
          <p:grpSpPr>
            <a:xfrm>
              <a:off x="8542208" y="2598452"/>
              <a:ext cx="139353" cy="139353"/>
              <a:chOff x="1996996" y="2755568"/>
              <a:chExt cx="139353" cy="139353"/>
            </a:xfrm>
          </p:grpSpPr>
          <p:sp>
            <p:nvSpPr>
              <p:cNvPr id="18" name="사각형: 둥근 모서리 17">
                <a:extLst>
                  <a:ext uri="{FF2B5EF4-FFF2-40B4-BE49-F238E27FC236}">
                    <a16:creationId xmlns:a16="http://schemas.microsoft.com/office/drawing/2014/main" id="{167D5837-B3E8-4F40-7237-52A97CE310EA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9" name="그림 18">
                <a:extLst>
                  <a:ext uri="{FF2B5EF4-FFF2-40B4-BE49-F238E27FC236}">
                    <a16:creationId xmlns:a16="http://schemas.microsoft.com/office/drawing/2014/main" id="{61781C8B-C393-9CE9-78CE-AB834E0103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3B698D45-0736-F7AD-7897-B9F9308CB24E}"/>
                </a:ext>
              </a:extLst>
            </p:cNvPr>
            <p:cNvGrpSpPr/>
            <p:nvPr/>
          </p:nvGrpSpPr>
          <p:grpSpPr>
            <a:xfrm>
              <a:off x="8542208" y="2815313"/>
              <a:ext cx="139353" cy="139353"/>
              <a:chOff x="1996996" y="2755568"/>
              <a:chExt cx="139353" cy="139353"/>
            </a:xfrm>
          </p:grpSpPr>
          <p:sp>
            <p:nvSpPr>
              <p:cNvPr id="21" name="사각형: 둥근 모서리 20">
                <a:extLst>
                  <a:ext uri="{FF2B5EF4-FFF2-40B4-BE49-F238E27FC236}">
                    <a16:creationId xmlns:a16="http://schemas.microsoft.com/office/drawing/2014/main" id="{BC5D88C7-27AC-67AB-0813-81600D7EAF7F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22" name="그림 21">
                <a:extLst>
                  <a:ext uri="{FF2B5EF4-FFF2-40B4-BE49-F238E27FC236}">
                    <a16:creationId xmlns:a16="http://schemas.microsoft.com/office/drawing/2014/main" id="{027FB711-A954-8B32-7B31-70CA8736BB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23" name="그룹 22">
              <a:extLst>
                <a:ext uri="{FF2B5EF4-FFF2-40B4-BE49-F238E27FC236}">
                  <a16:creationId xmlns:a16="http://schemas.microsoft.com/office/drawing/2014/main" id="{33E9DB14-964B-4189-6725-73257480F471}"/>
                </a:ext>
              </a:extLst>
            </p:cNvPr>
            <p:cNvGrpSpPr/>
            <p:nvPr/>
          </p:nvGrpSpPr>
          <p:grpSpPr>
            <a:xfrm>
              <a:off x="8542208" y="3032174"/>
              <a:ext cx="139353" cy="139353"/>
              <a:chOff x="1996996" y="2755568"/>
              <a:chExt cx="139353" cy="139353"/>
            </a:xfrm>
          </p:grpSpPr>
          <p:sp>
            <p:nvSpPr>
              <p:cNvPr id="24" name="사각형: 둥근 모서리 23">
                <a:extLst>
                  <a:ext uri="{FF2B5EF4-FFF2-40B4-BE49-F238E27FC236}">
                    <a16:creationId xmlns:a16="http://schemas.microsoft.com/office/drawing/2014/main" id="{67AA69D2-A2A2-EE97-1D60-839BDD007C7A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26" name="그림 25">
                <a:extLst>
                  <a:ext uri="{FF2B5EF4-FFF2-40B4-BE49-F238E27FC236}">
                    <a16:creationId xmlns:a16="http://schemas.microsoft.com/office/drawing/2014/main" id="{6A3B67E7-2D1B-E8AE-5D7D-28DE7A0DCA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777C29F3-B28C-C89D-3A07-EB7F17C72938}"/>
                </a:ext>
              </a:extLst>
            </p:cNvPr>
            <p:cNvGrpSpPr/>
            <p:nvPr/>
          </p:nvGrpSpPr>
          <p:grpSpPr>
            <a:xfrm>
              <a:off x="8542208" y="3249035"/>
              <a:ext cx="139353" cy="139353"/>
              <a:chOff x="1996996" y="2755568"/>
              <a:chExt cx="139353" cy="139353"/>
            </a:xfrm>
          </p:grpSpPr>
          <p:sp>
            <p:nvSpPr>
              <p:cNvPr id="28" name="사각형: 둥근 모서리 27">
                <a:extLst>
                  <a:ext uri="{FF2B5EF4-FFF2-40B4-BE49-F238E27FC236}">
                    <a16:creationId xmlns:a16="http://schemas.microsoft.com/office/drawing/2014/main" id="{0C7C3A0E-C1E3-AFF8-03E4-6988534E0561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37" name="그림 36">
                <a:extLst>
                  <a:ext uri="{FF2B5EF4-FFF2-40B4-BE49-F238E27FC236}">
                    <a16:creationId xmlns:a16="http://schemas.microsoft.com/office/drawing/2014/main" id="{5608429A-AC1D-CC1F-EF3B-856BA33132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46" name="그룹 45">
              <a:extLst>
                <a:ext uri="{FF2B5EF4-FFF2-40B4-BE49-F238E27FC236}">
                  <a16:creationId xmlns:a16="http://schemas.microsoft.com/office/drawing/2014/main" id="{1EEB2F0A-8EF1-13E7-45B3-33E43FA2AC25}"/>
                </a:ext>
              </a:extLst>
            </p:cNvPr>
            <p:cNvGrpSpPr/>
            <p:nvPr/>
          </p:nvGrpSpPr>
          <p:grpSpPr>
            <a:xfrm>
              <a:off x="8542208" y="3465896"/>
              <a:ext cx="139353" cy="139353"/>
              <a:chOff x="1996996" y="2755568"/>
              <a:chExt cx="139353" cy="139353"/>
            </a:xfrm>
          </p:grpSpPr>
          <p:sp>
            <p:nvSpPr>
              <p:cNvPr id="47" name="사각형: 둥근 모서리 46">
                <a:extLst>
                  <a:ext uri="{FF2B5EF4-FFF2-40B4-BE49-F238E27FC236}">
                    <a16:creationId xmlns:a16="http://schemas.microsoft.com/office/drawing/2014/main" id="{166C5D55-187D-FCF5-896B-B21217E9B49D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48" name="그림 47">
                <a:extLst>
                  <a:ext uri="{FF2B5EF4-FFF2-40B4-BE49-F238E27FC236}">
                    <a16:creationId xmlns:a16="http://schemas.microsoft.com/office/drawing/2014/main" id="{D105DB29-2912-057E-A699-EB56FC7044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49" name="그룹 48">
              <a:extLst>
                <a:ext uri="{FF2B5EF4-FFF2-40B4-BE49-F238E27FC236}">
                  <a16:creationId xmlns:a16="http://schemas.microsoft.com/office/drawing/2014/main" id="{72C8BB7A-118B-EE41-4427-2E93B0084DFF}"/>
                </a:ext>
              </a:extLst>
            </p:cNvPr>
            <p:cNvGrpSpPr/>
            <p:nvPr/>
          </p:nvGrpSpPr>
          <p:grpSpPr>
            <a:xfrm>
              <a:off x="8542208" y="3682757"/>
              <a:ext cx="139353" cy="139353"/>
              <a:chOff x="1996996" y="2755568"/>
              <a:chExt cx="139353" cy="139353"/>
            </a:xfrm>
          </p:grpSpPr>
          <p:sp>
            <p:nvSpPr>
              <p:cNvPr id="50" name="사각형: 둥근 모서리 49">
                <a:extLst>
                  <a:ext uri="{FF2B5EF4-FFF2-40B4-BE49-F238E27FC236}">
                    <a16:creationId xmlns:a16="http://schemas.microsoft.com/office/drawing/2014/main" id="{BB950C58-94D2-AD2E-9095-1DD6CDE6B3A9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51" name="그림 50">
                <a:extLst>
                  <a:ext uri="{FF2B5EF4-FFF2-40B4-BE49-F238E27FC236}">
                    <a16:creationId xmlns:a16="http://schemas.microsoft.com/office/drawing/2014/main" id="{05D489DD-DEE2-8ED0-BC07-72E1DAA39F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52" name="그룹 51">
              <a:extLst>
                <a:ext uri="{FF2B5EF4-FFF2-40B4-BE49-F238E27FC236}">
                  <a16:creationId xmlns:a16="http://schemas.microsoft.com/office/drawing/2014/main" id="{F4B2EDAE-0B8E-F388-5B52-830F2A0326D8}"/>
                </a:ext>
              </a:extLst>
            </p:cNvPr>
            <p:cNvGrpSpPr/>
            <p:nvPr/>
          </p:nvGrpSpPr>
          <p:grpSpPr>
            <a:xfrm>
              <a:off x="8542208" y="3899618"/>
              <a:ext cx="139353" cy="139353"/>
              <a:chOff x="1996996" y="2755568"/>
              <a:chExt cx="139353" cy="139353"/>
            </a:xfrm>
          </p:grpSpPr>
          <p:sp>
            <p:nvSpPr>
              <p:cNvPr id="53" name="사각형: 둥근 모서리 52">
                <a:extLst>
                  <a:ext uri="{FF2B5EF4-FFF2-40B4-BE49-F238E27FC236}">
                    <a16:creationId xmlns:a16="http://schemas.microsoft.com/office/drawing/2014/main" id="{F1E75D8F-9DF6-888D-FBA0-842935BAF007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54" name="그림 53">
                <a:extLst>
                  <a:ext uri="{FF2B5EF4-FFF2-40B4-BE49-F238E27FC236}">
                    <a16:creationId xmlns:a16="http://schemas.microsoft.com/office/drawing/2014/main" id="{FC94D4FE-33A3-A08C-ED57-684914D1DE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55" name="그룹 54">
              <a:extLst>
                <a:ext uri="{FF2B5EF4-FFF2-40B4-BE49-F238E27FC236}">
                  <a16:creationId xmlns:a16="http://schemas.microsoft.com/office/drawing/2014/main" id="{0E18B96C-529B-30EB-A240-5FB169DDA469}"/>
                </a:ext>
              </a:extLst>
            </p:cNvPr>
            <p:cNvGrpSpPr/>
            <p:nvPr/>
          </p:nvGrpSpPr>
          <p:grpSpPr>
            <a:xfrm>
              <a:off x="8542208" y="4116479"/>
              <a:ext cx="139353" cy="139353"/>
              <a:chOff x="1996996" y="2755568"/>
              <a:chExt cx="139353" cy="139353"/>
            </a:xfrm>
          </p:grpSpPr>
          <p:sp>
            <p:nvSpPr>
              <p:cNvPr id="56" name="사각형: 둥근 모서리 55">
                <a:extLst>
                  <a:ext uri="{FF2B5EF4-FFF2-40B4-BE49-F238E27FC236}">
                    <a16:creationId xmlns:a16="http://schemas.microsoft.com/office/drawing/2014/main" id="{8F8B18A1-67B5-4631-B154-DD58283DEFF7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57" name="그림 56">
                <a:extLst>
                  <a:ext uri="{FF2B5EF4-FFF2-40B4-BE49-F238E27FC236}">
                    <a16:creationId xmlns:a16="http://schemas.microsoft.com/office/drawing/2014/main" id="{F1751630-3EB2-D10D-0DAF-356CD732FE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58" name="그룹 57">
              <a:extLst>
                <a:ext uri="{FF2B5EF4-FFF2-40B4-BE49-F238E27FC236}">
                  <a16:creationId xmlns:a16="http://schemas.microsoft.com/office/drawing/2014/main" id="{DFB3C952-7606-615E-F713-E0240697E140}"/>
                </a:ext>
              </a:extLst>
            </p:cNvPr>
            <p:cNvGrpSpPr/>
            <p:nvPr/>
          </p:nvGrpSpPr>
          <p:grpSpPr>
            <a:xfrm>
              <a:off x="8542208" y="4333340"/>
              <a:ext cx="139353" cy="139353"/>
              <a:chOff x="1996996" y="2755568"/>
              <a:chExt cx="139353" cy="139353"/>
            </a:xfrm>
          </p:grpSpPr>
          <p:sp>
            <p:nvSpPr>
              <p:cNvPr id="59" name="사각형: 둥근 모서리 58">
                <a:extLst>
                  <a:ext uri="{FF2B5EF4-FFF2-40B4-BE49-F238E27FC236}">
                    <a16:creationId xmlns:a16="http://schemas.microsoft.com/office/drawing/2014/main" id="{19E7C043-4FA9-77A4-05A0-1DC6531475A4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61" name="그림 60">
                <a:extLst>
                  <a:ext uri="{FF2B5EF4-FFF2-40B4-BE49-F238E27FC236}">
                    <a16:creationId xmlns:a16="http://schemas.microsoft.com/office/drawing/2014/main" id="{8E00CA83-5CE3-B27B-7660-591222A2DF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62" name="그룹 61">
              <a:extLst>
                <a:ext uri="{FF2B5EF4-FFF2-40B4-BE49-F238E27FC236}">
                  <a16:creationId xmlns:a16="http://schemas.microsoft.com/office/drawing/2014/main" id="{C7D1696D-677E-F3BF-4555-32520FBFD702}"/>
                </a:ext>
              </a:extLst>
            </p:cNvPr>
            <p:cNvGrpSpPr/>
            <p:nvPr/>
          </p:nvGrpSpPr>
          <p:grpSpPr>
            <a:xfrm>
              <a:off x="8542208" y="4550201"/>
              <a:ext cx="139353" cy="139353"/>
              <a:chOff x="1996996" y="2755568"/>
              <a:chExt cx="139353" cy="139353"/>
            </a:xfrm>
          </p:grpSpPr>
          <p:sp>
            <p:nvSpPr>
              <p:cNvPr id="63" name="사각형: 둥근 모서리 62">
                <a:extLst>
                  <a:ext uri="{FF2B5EF4-FFF2-40B4-BE49-F238E27FC236}">
                    <a16:creationId xmlns:a16="http://schemas.microsoft.com/office/drawing/2014/main" id="{79AD9284-E185-8C48-69E8-F85BA64A26A3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64" name="그림 63">
                <a:extLst>
                  <a:ext uri="{FF2B5EF4-FFF2-40B4-BE49-F238E27FC236}">
                    <a16:creationId xmlns:a16="http://schemas.microsoft.com/office/drawing/2014/main" id="{4C565A33-7991-DE5C-6E35-C09FDAC101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9D190486-2B15-0A59-375A-4326D3E12188}"/>
                </a:ext>
              </a:extLst>
            </p:cNvPr>
            <p:cNvGrpSpPr/>
            <p:nvPr/>
          </p:nvGrpSpPr>
          <p:grpSpPr>
            <a:xfrm>
              <a:off x="8542208" y="4767062"/>
              <a:ext cx="139353" cy="139353"/>
              <a:chOff x="1996996" y="2755568"/>
              <a:chExt cx="139353" cy="139353"/>
            </a:xfrm>
          </p:grpSpPr>
          <p:sp>
            <p:nvSpPr>
              <p:cNvPr id="66" name="사각형: 둥근 모서리 65">
                <a:extLst>
                  <a:ext uri="{FF2B5EF4-FFF2-40B4-BE49-F238E27FC236}">
                    <a16:creationId xmlns:a16="http://schemas.microsoft.com/office/drawing/2014/main" id="{EA54FC3F-7608-E514-BAA9-6C9965FC55FE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67" name="그림 66">
                <a:extLst>
                  <a:ext uri="{FF2B5EF4-FFF2-40B4-BE49-F238E27FC236}">
                    <a16:creationId xmlns:a16="http://schemas.microsoft.com/office/drawing/2014/main" id="{33D04893-1F37-1613-70C4-FD034CF9B2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68" name="그룹 67">
              <a:extLst>
                <a:ext uri="{FF2B5EF4-FFF2-40B4-BE49-F238E27FC236}">
                  <a16:creationId xmlns:a16="http://schemas.microsoft.com/office/drawing/2014/main" id="{70EFF08B-781E-7130-157C-C836420AB2A9}"/>
                </a:ext>
              </a:extLst>
            </p:cNvPr>
            <p:cNvGrpSpPr/>
            <p:nvPr/>
          </p:nvGrpSpPr>
          <p:grpSpPr>
            <a:xfrm>
              <a:off x="8542208" y="4983923"/>
              <a:ext cx="139353" cy="139353"/>
              <a:chOff x="1996996" y="2755568"/>
              <a:chExt cx="139353" cy="139353"/>
            </a:xfrm>
          </p:grpSpPr>
          <p:sp>
            <p:nvSpPr>
              <p:cNvPr id="69" name="사각형: 둥근 모서리 68">
                <a:extLst>
                  <a:ext uri="{FF2B5EF4-FFF2-40B4-BE49-F238E27FC236}">
                    <a16:creationId xmlns:a16="http://schemas.microsoft.com/office/drawing/2014/main" id="{1C536354-596C-1208-E969-84195D1CD1BE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70" name="그림 69">
                <a:extLst>
                  <a:ext uri="{FF2B5EF4-FFF2-40B4-BE49-F238E27FC236}">
                    <a16:creationId xmlns:a16="http://schemas.microsoft.com/office/drawing/2014/main" id="{FE6CDD8E-EB2F-AEEE-1B87-8847592DC3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71" name="그룹 70">
              <a:extLst>
                <a:ext uri="{FF2B5EF4-FFF2-40B4-BE49-F238E27FC236}">
                  <a16:creationId xmlns:a16="http://schemas.microsoft.com/office/drawing/2014/main" id="{94A1054A-1470-444C-C738-E22B1EBCF4B2}"/>
                </a:ext>
              </a:extLst>
            </p:cNvPr>
            <p:cNvGrpSpPr/>
            <p:nvPr/>
          </p:nvGrpSpPr>
          <p:grpSpPr>
            <a:xfrm>
              <a:off x="8542208" y="5200784"/>
              <a:ext cx="139353" cy="139353"/>
              <a:chOff x="1996996" y="2755568"/>
              <a:chExt cx="139353" cy="139353"/>
            </a:xfrm>
          </p:grpSpPr>
          <p:sp>
            <p:nvSpPr>
              <p:cNvPr id="72" name="사각형: 둥근 모서리 71">
                <a:extLst>
                  <a:ext uri="{FF2B5EF4-FFF2-40B4-BE49-F238E27FC236}">
                    <a16:creationId xmlns:a16="http://schemas.microsoft.com/office/drawing/2014/main" id="{B17CEB70-1636-7286-C739-3DC81C9B57D3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75" name="그림 74">
                <a:extLst>
                  <a:ext uri="{FF2B5EF4-FFF2-40B4-BE49-F238E27FC236}">
                    <a16:creationId xmlns:a16="http://schemas.microsoft.com/office/drawing/2014/main" id="{D9D69201-704E-6A4E-283E-1C04A3EF17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6C0D24D5-3DFC-495F-D1D9-27BD4CC63038}"/>
                </a:ext>
              </a:extLst>
            </p:cNvPr>
            <p:cNvGrpSpPr/>
            <p:nvPr/>
          </p:nvGrpSpPr>
          <p:grpSpPr>
            <a:xfrm>
              <a:off x="8542208" y="5417645"/>
              <a:ext cx="139353" cy="139353"/>
              <a:chOff x="1996996" y="2755568"/>
              <a:chExt cx="139353" cy="139353"/>
            </a:xfrm>
          </p:grpSpPr>
          <p:sp>
            <p:nvSpPr>
              <p:cNvPr id="77" name="사각형: 둥근 모서리 76">
                <a:extLst>
                  <a:ext uri="{FF2B5EF4-FFF2-40B4-BE49-F238E27FC236}">
                    <a16:creationId xmlns:a16="http://schemas.microsoft.com/office/drawing/2014/main" id="{7372D395-45AB-7877-9AFE-83096D91B233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78" name="그림 77">
                <a:extLst>
                  <a:ext uri="{FF2B5EF4-FFF2-40B4-BE49-F238E27FC236}">
                    <a16:creationId xmlns:a16="http://schemas.microsoft.com/office/drawing/2014/main" id="{56CFFA6B-1AD1-FB80-DBE3-4635916422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D28FF909-03AE-054D-2BBC-247C6662BA44}"/>
                </a:ext>
              </a:extLst>
            </p:cNvPr>
            <p:cNvGrpSpPr/>
            <p:nvPr/>
          </p:nvGrpSpPr>
          <p:grpSpPr>
            <a:xfrm>
              <a:off x="8542208" y="5634506"/>
              <a:ext cx="139353" cy="139353"/>
              <a:chOff x="1996996" y="2755568"/>
              <a:chExt cx="139353" cy="139353"/>
            </a:xfrm>
          </p:grpSpPr>
          <p:sp>
            <p:nvSpPr>
              <p:cNvPr id="81" name="사각형: 둥근 모서리 80">
                <a:extLst>
                  <a:ext uri="{FF2B5EF4-FFF2-40B4-BE49-F238E27FC236}">
                    <a16:creationId xmlns:a16="http://schemas.microsoft.com/office/drawing/2014/main" id="{750B14DC-8AEF-2B0C-2AC6-5497F7C74F53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82" name="그림 81">
                <a:extLst>
                  <a:ext uri="{FF2B5EF4-FFF2-40B4-BE49-F238E27FC236}">
                    <a16:creationId xmlns:a16="http://schemas.microsoft.com/office/drawing/2014/main" id="{D98E99ED-3F69-8482-4638-0D2C06F820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60F6BF47-82FD-EFA7-DAD7-ADD5F6541A31}"/>
                </a:ext>
              </a:extLst>
            </p:cNvPr>
            <p:cNvGrpSpPr/>
            <p:nvPr/>
          </p:nvGrpSpPr>
          <p:grpSpPr>
            <a:xfrm>
              <a:off x="8542208" y="5851367"/>
              <a:ext cx="139353" cy="139353"/>
              <a:chOff x="1996996" y="2755568"/>
              <a:chExt cx="139353" cy="139353"/>
            </a:xfrm>
          </p:grpSpPr>
          <p:sp>
            <p:nvSpPr>
              <p:cNvPr id="84" name="사각형: 둥근 모서리 83">
                <a:extLst>
                  <a:ext uri="{FF2B5EF4-FFF2-40B4-BE49-F238E27FC236}">
                    <a16:creationId xmlns:a16="http://schemas.microsoft.com/office/drawing/2014/main" id="{A693F31E-5745-96B6-F0C0-8A3C19971534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85" name="그림 84">
                <a:extLst>
                  <a:ext uri="{FF2B5EF4-FFF2-40B4-BE49-F238E27FC236}">
                    <a16:creationId xmlns:a16="http://schemas.microsoft.com/office/drawing/2014/main" id="{E53752C8-C1D5-CAEF-E891-53E17CBACF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86" name="그룹 85">
              <a:extLst>
                <a:ext uri="{FF2B5EF4-FFF2-40B4-BE49-F238E27FC236}">
                  <a16:creationId xmlns:a16="http://schemas.microsoft.com/office/drawing/2014/main" id="{5F769073-8702-C235-F1B5-2342E4BD4043}"/>
                </a:ext>
              </a:extLst>
            </p:cNvPr>
            <p:cNvGrpSpPr/>
            <p:nvPr/>
          </p:nvGrpSpPr>
          <p:grpSpPr>
            <a:xfrm>
              <a:off x="8542208" y="6068228"/>
              <a:ext cx="139353" cy="139353"/>
              <a:chOff x="1996996" y="2755568"/>
              <a:chExt cx="139353" cy="139353"/>
            </a:xfrm>
          </p:grpSpPr>
          <p:sp>
            <p:nvSpPr>
              <p:cNvPr id="87" name="사각형: 둥근 모서리 86">
                <a:extLst>
                  <a:ext uri="{FF2B5EF4-FFF2-40B4-BE49-F238E27FC236}">
                    <a16:creationId xmlns:a16="http://schemas.microsoft.com/office/drawing/2014/main" id="{49A6FDB9-E7DE-F998-D3B4-C15A1D5AF819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88" name="그림 87">
                <a:extLst>
                  <a:ext uri="{FF2B5EF4-FFF2-40B4-BE49-F238E27FC236}">
                    <a16:creationId xmlns:a16="http://schemas.microsoft.com/office/drawing/2014/main" id="{DBFBC33E-2BF2-3F62-6BA1-DECB97CCDE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89" name="그룹 88">
              <a:extLst>
                <a:ext uri="{FF2B5EF4-FFF2-40B4-BE49-F238E27FC236}">
                  <a16:creationId xmlns:a16="http://schemas.microsoft.com/office/drawing/2014/main" id="{62F90ECF-96EE-A247-4C04-2E51303EA2AF}"/>
                </a:ext>
              </a:extLst>
            </p:cNvPr>
            <p:cNvGrpSpPr/>
            <p:nvPr/>
          </p:nvGrpSpPr>
          <p:grpSpPr>
            <a:xfrm>
              <a:off x="8542208" y="6285089"/>
              <a:ext cx="139353" cy="139353"/>
              <a:chOff x="1996996" y="2755568"/>
              <a:chExt cx="139353" cy="139353"/>
            </a:xfrm>
          </p:grpSpPr>
          <p:sp>
            <p:nvSpPr>
              <p:cNvPr id="90" name="사각형: 둥근 모서리 89">
                <a:extLst>
                  <a:ext uri="{FF2B5EF4-FFF2-40B4-BE49-F238E27FC236}">
                    <a16:creationId xmlns:a16="http://schemas.microsoft.com/office/drawing/2014/main" id="{8FDBD7FC-3186-83FB-18B2-56EFB400CFAD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91" name="그림 90">
                <a:extLst>
                  <a:ext uri="{FF2B5EF4-FFF2-40B4-BE49-F238E27FC236}">
                    <a16:creationId xmlns:a16="http://schemas.microsoft.com/office/drawing/2014/main" id="{6ABE9440-B77F-CE74-E2F4-9BCD207C72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92" name="그룹 91">
              <a:extLst>
                <a:ext uri="{FF2B5EF4-FFF2-40B4-BE49-F238E27FC236}">
                  <a16:creationId xmlns:a16="http://schemas.microsoft.com/office/drawing/2014/main" id="{7BF7A2D7-5ABA-99E6-B18D-FE817EF921C3}"/>
                </a:ext>
              </a:extLst>
            </p:cNvPr>
            <p:cNvGrpSpPr/>
            <p:nvPr/>
          </p:nvGrpSpPr>
          <p:grpSpPr>
            <a:xfrm>
              <a:off x="8542208" y="6501959"/>
              <a:ext cx="139353" cy="139353"/>
              <a:chOff x="1996996" y="2755568"/>
              <a:chExt cx="139353" cy="139353"/>
            </a:xfrm>
          </p:grpSpPr>
          <p:sp>
            <p:nvSpPr>
              <p:cNvPr id="93" name="사각형: 둥근 모서리 92">
                <a:extLst>
                  <a:ext uri="{FF2B5EF4-FFF2-40B4-BE49-F238E27FC236}">
                    <a16:creationId xmlns:a16="http://schemas.microsoft.com/office/drawing/2014/main" id="{7144B232-E07D-F50D-815F-DFEF1FB5F431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94" name="그림 93">
                <a:extLst>
                  <a:ext uri="{FF2B5EF4-FFF2-40B4-BE49-F238E27FC236}">
                    <a16:creationId xmlns:a16="http://schemas.microsoft.com/office/drawing/2014/main" id="{568CC09F-0F54-AE5F-1EC8-42A257D13E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</p:grp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993F2502-1BD7-DDF9-66A2-9A20D4C7AE1E}"/>
              </a:ext>
            </a:extLst>
          </p:cNvPr>
          <p:cNvSpPr/>
          <p:nvPr/>
        </p:nvSpPr>
        <p:spPr>
          <a:xfrm>
            <a:off x="341089" y="1084141"/>
            <a:ext cx="8645747" cy="5599737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8" name="표 97">
            <a:extLst>
              <a:ext uri="{FF2B5EF4-FFF2-40B4-BE49-F238E27FC236}">
                <a16:creationId xmlns:a16="http://schemas.microsoft.com/office/drawing/2014/main" id="{41E2A4BB-D728-450B-C01E-2783EA2318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487516"/>
              </p:ext>
            </p:extLst>
          </p:nvPr>
        </p:nvGraphicFramePr>
        <p:xfrm>
          <a:off x="843799" y="1645148"/>
          <a:ext cx="7660869" cy="39703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70522">
                  <a:extLst>
                    <a:ext uri="{9D8B030D-6E8A-4147-A177-3AD203B41FA5}">
                      <a16:colId xmlns:a16="http://schemas.microsoft.com/office/drawing/2014/main" val="1014520273"/>
                    </a:ext>
                  </a:extLst>
                </a:gridCol>
                <a:gridCol w="1070113">
                  <a:extLst>
                    <a:ext uri="{9D8B030D-6E8A-4147-A177-3AD203B41FA5}">
                      <a16:colId xmlns:a16="http://schemas.microsoft.com/office/drawing/2014/main" val="662839037"/>
                    </a:ext>
                  </a:extLst>
                </a:gridCol>
                <a:gridCol w="1533735">
                  <a:extLst>
                    <a:ext uri="{9D8B030D-6E8A-4147-A177-3AD203B41FA5}">
                      <a16:colId xmlns:a16="http://schemas.microsoft.com/office/drawing/2014/main" val="4075970888"/>
                    </a:ext>
                  </a:extLst>
                </a:gridCol>
                <a:gridCol w="3335575">
                  <a:extLst>
                    <a:ext uri="{9D8B030D-6E8A-4147-A177-3AD203B41FA5}">
                      <a16:colId xmlns:a16="http://schemas.microsoft.com/office/drawing/2014/main" val="1223531987"/>
                    </a:ext>
                  </a:extLst>
                </a:gridCol>
                <a:gridCol w="950924">
                  <a:extLst>
                    <a:ext uri="{9D8B030D-6E8A-4147-A177-3AD203B41FA5}">
                      <a16:colId xmlns:a16="http://schemas.microsoft.com/office/drawing/2014/main" val="2437899737"/>
                    </a:ext>
                  </a:extLst>
                </a:gridCol>
              </a:tblGrid>
              <a:tr h="265019">
                <a:tc gridSpan="5"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별 뉴스 리스트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0444132"/>
                  </a:ext>
                </a:extLst>
              </a:tr>
              <a:tr h="276759"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키워드 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증권거래위원회</a:t>
                      </a:r>
                      <a:endParaRPr lang="en-US" altLang="ko-KR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2990474"/>
                  </a:ext>
                </a:extLst>
              </a:tr>
              <a:tr h="2591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순위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사명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전시여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106654"/>
                  </a:ext>
                </a:extLst>
              </a:tr>
              <a:tr h="2656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##.##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none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코리아 타임즈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u="sng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 claims … </a:t>
                      </a:r>
                      <a:endParaRPr lang="ko-KR" altLang="en-US" sz="800" b="1" u="sng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792933"/>
                  </a:ext>
                </a:extLst>
              </a:tr>
              <a:tr h="2656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##.##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중앙일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국 증권거래위원회에서 기후 변화와 관련</a:t>
                      </a: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805805"/>
                  </a:ext>
                </a:extLst>
              </a:tr>
              <a:tr h="2656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##.##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민일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KRX</a:t>
                      </a:r>
                      <a:r>
                        <a:rPr kumimoji="0" lang="ko-KR" altLang="en-US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증권거래소에서 내년 초</a:t>
                      </a:r>
                      <a:r>
                        <a:rPr kumimoji="0" lang="en-US" altLang="ko-KR" sz="800" b="0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555385"/>
                  </a:ext>
                </a:extLst>
              </a:tr>
              <a:tr h="2636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##.##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자신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국 증권거래위원회에서 기후 변화와 관련</a:t>
                      </a:r>
                      <a:r>
                        <a:rPr kumimoji="0" lang="en-US" altLang="ko-KR" sz="800" b="1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800" b="1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6263734"/>
                  </a:ext>
                </a:extLst>
              </a:tr>
              <a:tr h="2636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##.##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선일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국 증권거래위원회에서 기후 변화와 관련</a:t>
                      </a:r>
                      <a:r>
                        <a:rPr kumimoji="0" lang="en-US" altLang="ko-KR" sz="800" b="1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800" b="1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910508"/>
                  </a:ext>
                </a:extLst>
              </a:tr>
              <a:tr h="2636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6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##.##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아일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KRX</a:t>
                      </a:r>
                      <a:r>
                        <a:rPr kumimoji="0" lang="ko-KR" altLang="en-US" sz="800" b="1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증권거래소에서 내년 초</a:t>
                      </a:r>
                      <a:r>
                        <a:rPr kumimoji="0" lang="en-US" altLang="ko-KR" sz="800" b="1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800" b="1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797311"/>
                  </a:ext>
                </a:extLst>
              </a:tr>
              <a:tr h="2636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##.##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국일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국 증권거래위원회에서 기후 변화와 관련</a:t>
                      </a:r>
                      <a:r>
                        <a:rPr kumimoji="0" lang="en-US" altLang="ko-KR" sz="800" b="1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800" b="1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727316"/>
                  </a:ext>
                </a:extLst>
              </a:tr>
              <a:tr h="2636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9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8435649"/>
                  </a:ext>
                </a:extLst>
              </a:tr>
              <a:tr h="2636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9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818558"/>
                  </a:ext>
                </a:extLst>
              </a:tr>
              <a:tr h="2636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0427933"/>
                  </a:ext>
                </a:extLst>
              </a:tr>
              <a:tr h="2636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1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070409"/>
                  </a:ext>
                </a:extLst>
              </a:tr>
              <a:tr h="2636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2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325607"/>
                  </a:ext>
                </a:extLst>
              </a:tr>
            </a:tbl>
          </a:graphicData>
        </a:graphic>
      </p:graphicFrame>
      <p:grpSp>
        <p:nvGrpSpPr>
          <p:cNvPr id="161" name="그룹 160">
            <a:extLst>
              <a:ext uri="{FF2B5EF4-FFF2-40B4-BE49-F238E27FC236}">
                <a16:creationId xmlns:a16="http://schemas.microsoft.com/office/drawing/2014/main" id="{78AE39FA-E1C9-9E76-704C-0F6E879DD543}"/>
              </a:ext>
            </a:extLst>
          </p:cNvPr>
          <p:cNvGrpSpPr/>
          <p:nvPr/>
        </p:nvGrpSpPr>
        <p:grpSpPr>
          <a:xfrm>
            <a:off x="7836326" y="2487335"/>
            <a:ext cx="139353" cy="3038689"/>
            <a:chOff x="8042405" y="2487335"/>
            <a:chExt cx="139353" cy="3038689"/>
          </a:xfrm>
        </p:grpSpPr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97886DC7-56D2-DAF8-1E43-CF9AA1398D92}"/>
                </a:ext>
              </a:extLst>
            </p:cNvPr>
            <p:cNvGrpSpPr/>
            <p:nvPr/>
          </p:nvGrpSpPr>
          <p:grpSpPr>
            <a:xfrm>
              <a:off x="8042405" y="2487335"/>
              <a:ext cx="139353" cy="139353"/>
              <a:chOff x="1996996" y="2755568"/>
              <a:chExt cx="139353" cy="139353"/>
            </a:xfrm>
          </p:grpSpPr>
          <p:sp>
            <p:nvSpPr>
              <p:cNvPr id="159" name="사각형: 둥근 모서리 158">
                <a:extLst>
                  <a:ext uri="{FF2B5EF4-FFF2-40B4-BE49-F238E27FC236}">
                    <a16:creationId xmlns:a16="http://schemas.microsoft.com/office/drawing/2014/main" id="{6FC5797E-B50C-8C35-6FA4-3C8248E837DC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60" name="그림 159">
                <a:extLst>
                  <a:ext uri="{FF2B5EF4-FFF2-40B4-BE49-F238E27FC236}">
                    <a16:creationId xmlns:a16="http://schemas.microsoft.com/office/drawing/2014/main" id="{1FB3E0B3-57F9-B9B1-63AE-90889C27D0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1F51E717-5AFD-68FA-AC49-9EB9B636E927}"/>
                </a:ext>
              </a:extLst>
            </p:cNvPr>
            <p:cNvGrpSpPr/>
            <p:nvPr/>
          </p:nvGrpSpPr>
          <p:grpSpPr>
            <a:xfrm>
              <a:off x="8042405" y="2750911"/>
              <a:ext cx="139353" cy="139353"/>
              <a:chOff x="1996996" y="2755568"/>
              <a:chExt cx="139353" cy="139353"/>
            </a:xfrm>
          </p:grpSpPr>
          <p:sp>
            <p:nvSpPr>
              <p:cNvPr id="155" name="사각형: 둥근 모서리 154">
                <a:extLst>
                  <a:ext uri="{FF2B5EF4-FFF2-40B4-BE49-F238E27FC236}">
                    <a16:creationId xmlns:a16="http://schemas.microsoft.com/office/drawing/2014/main" id="{FD6CEAC1-7338-AE72-592F-E42350421617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56" name="그림 155">
                <a:extLst>
                  <a:ext uri="{FF2B5EF4-FFF2-40B4-BE49-F238E27FC236}">
                    <a16:creationId xmlns:a16="http://schemas.microsoft.com/office/drawing/2014/main" id="{C2313588-D785-237E-9A79-03EBEC4C32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85270799-CFE0-304C-8561-93EC8F131B6B}"/>
                </a:ext>
              </a:extLst>
            </p:cNvPr>
            <p:cNvGrpSpPr/>
            <p:nvPr/>
          </p:nvGrpSpPr>
          <p:grpSpPr>
            <a:xfrm>
              <a:off x="8042405" y="3014487"/>
              <a:ext cx="139353" cy="139353"/>
              <a:chOff x="1996996" y="2755568"/>
              <a:chExt cx="139353" cy="139353"/>
            </a:xfrm>
          </p:grpSpPr>
          <p:sp>
            <p:nvSpPr>
              <p:cNvPr id="153" name="사각형: 둥근 모서리 152">
                <a:extLst>
                  <a:ext uri="{FF2B5EF4-FFF2-40B4-BE49-F238E27FC236}">
                    <a16:creationId xmlns:a16="http://schemas.microsoft.com/office/drawing/2014/main" id="{D1475EF3-7DA4-64F0-D796-83EAE21567E5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54" name="그림 153">
                <a:extLst>
                  <a:ext uri="{FF2B5EF4-FFF2-40B4-BE49-F238E27FC236}">
                    <a16:creationId xmlns:a16="http://schemas.microsoft.com/office/drawing/2014/main" id="{361E81AA-563A-A037-8150-BFE1C0D7D4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B080538F-C8A6-9315-7062-3E018FDFD8F4}"/>
                </a:ext>
              </a:extLst>
            </p:cNvPr>
            <p:cNvGrpSpPr/>
            <p:nvPr/>
          </p:nvGrpSpPr>
          <p:grpSpPr>
            <a:xfrm>
              <a:off x="8042405" y="3278063"/>
              <a:ext cx="139353" cy="139353"/>
              <a:chOff x="1996996" y="2755568"/>
              <a:chExt cx="139353" cy="139353"/>
            </a:xfrm>
          </p:grpSpPr>
          <p:sp>
            <p:nvSpPr>
              <p:cNvPr id="151" name="사각형: 둥근 모서리 150">
                <a:extLst>
                  <a:ext uri="{FF2B5EF4-FFF2-40B4-BE49-F238E27FC236}">
                    <a16:creationId xmlns:a16="http://schemas.microsoft.com/office/drawing/2014/main" id="{1CA5F7BF-4B63-94C6-D3BD-06F32DFC8DA8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52" name="그림 151">
                <a:extLst>
                  <a:ext uri="{FF2B5EF4-FFF2-40B4-BE49-F238E27FC236}">
                    <a16:creationId xmlns:a16="http://schemas.microsoft.com/office/drawing/2014/main" id="{E84C271C-7EAA-ADF0-ABC0-23A3B97DA4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F323A340-ADA9-6422-030F-04984E9DA980}"/>
                </a:ext>
              </a:extLst>
            </p:cNvPr>
            <p:cNvGrpSpPr/>
            <p:nvPr/>
          </p:nvGrpSpPr>
          <p:grpSpPr>
            <a:xfrm>
              <a:off x="8042405" y="3541639"/>
              <a:ext cx="139353" cy="139353"/>
              <a:chOff x="1996996" y="2755568"/>
              <a:chExt cx="139353" cy="139353"/>
            </a:xfrm>
          </p:grpSpPr>
          <p:sp>
            <p:nvSpPr>
              <p:cNvPr id="149" name="사각형: 둥근 모서리 148">
                <a:extLst>
                  <a:ext uri="{FF2B5EF4-FFF2-40B4-BE49-F238E27FC236}">
                    <a16:creationId xmlns:a16="http://schemas.microsoft.com/office/drawing/2014/main" id="{306C7CED-D85D-1A9F-D83A-A767AA74EFEF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50" name="그림 149">
                <a:extLst>
                  <a:ext uri="{FF2B5EF4-FFF2-40B4-BE49-F238E27FC236}">
                    <a16:creationId xmlns:a16="http://schemas.microsoft.com/office/drawing/2014/main" id="{0360A500-13B0-7B14-FD59-C65F43011B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07" name="그룹 106">
              <a:extLst>
                <a:ext uri="{FF2B5EF4-FFF2-40B4-BE49-F238E27FC236}">
                  <a16:creationId xmlns:a16="http://schemas.microsoft.com/office/drawing/2014/main" id="{7494B704-52F8-5FE1-4546-FE72803ADC51}"/>
                </a:ext>
              </a:extLst>
            </p:cNvPr>
            <p:cNvGrpSpPr/>
            <p:nvPr/>
          </p:nvGrpSpPr>
          <p:grpSpPr>
            <a:xfrm>
              <a:off x="8042405" y="3805215"/>
              <a:ext cx="139353" cy="139353"/>
              <a:chOff x="1996996" y="2755568"/>
              <a:chExt cx="139353" cy="139353"/>
            </a:xfrm>
          </p:grpSpPr>
          <p:sp>
            <p:nvSpPr>
              <p:cNvPr id="147" name="사각형: 둥근 모서리 146">
                <a:extLst>
                  <a:ext uri="{FF2B5EF4-FFF2-40B4-BE49-F238E27FC236}">
                    <a16:creationId xmlns:a16="http://schemas.microsoft.com/office/drawing/2014/main" id="{33CA302A-1ADB-AE6E-F1BD-4BD753DA2D5B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48" name="그림 147">
                <a:extLst>
                  <a:ext uri="{FF2B5EF4-FFF2-40B4-BE49-F238E27FC236}">
                    <a16:creationId xmlns:a16="http://schemas.microsoft.com/office/drawing/2014/main" id="{7375B0E7-EDA5-F288-8915-C985AC43E1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08" name="그룹 107">
              <a:extLst>
                <a:ext uri="{FF2B5EF4-FFF2-40B4-BE49-F238E27FC236}">
                  <a16:creationId xmlns:a16="http://schemas.microsoft.com/office/drawing/2014/main" id="{794F4997-C05F-D14D-E77B-9F1B45639AA3}"/>
                </a:ext>
              </a:extLst>
            </p:cNvPr>
            <p:cNvGrpSpPr/>
            <p:nvPr/>
          </p:nvGrpSpPr>
          <p:grpSpPr>
            <a:xfrm>
              <a:off x="8042405" y="4068791"/>
              <a:ext cx="139353" cy="139353"/>
              <a:chOff x="1996996" y="2755568"/>
              <a:chExt cx="139353" cy="139353"/>
            </a:xfrm>
          </p:grpSpPr>
          <p:sp>
            <p:nvSpPr>
              <p:cNvPr id="145" name="사각형: 둥근 모서리 144">
                <a:extLst>
                  <a:ext uri="{FF2B5EF4-FFF2-40B4-BE49-F238E27FC236}">
                    <a16:creationId xmlns:a16="http://schemas.microsoft.com/office/drawing/2014/main" id="{E522CC1F-C041-A075-A27F-F2E072071B20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46" name="그림 145">
                <a:extLst>
                  <a:ext uri="{FF2B5EF4-FFF2-40B4-BE49-F238E27FC236}">
                    <a16:creationId xmlns:a16="http://schemas.microsoft.com/office/drawing/2014/main" id="{DF8C2605-B898-D778-7D4A-96A9800750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09" name="그룹 108">
              <a:extLst>
                <a:ext uri="{FF2B5EF4-FFF2-40B4-BE49-F238E27FC236}">
                  <a16:creationId xmlns:a16="http://schemas.microsoft.com/office/drawing/2014/main" id="{BED2D59C-CA5C-A602-FE9E-DE189FF102CF}"/>
                </a:ext>
              </a:extLst>
            </p:cNvPr>
            <p:cNvGrpSpPr/>
            <p:nvPr/>
          </p:nvGrpSpPr>
          <p:grpSpPr>
            <a:xfrm>
              <a:off x="8042405" y="4332367"/>
              <a:ext cx="139353" cy="139353"/>
              <a:chOff x="1996996" y="2755568"/>
              <a:chExt cx="139353" cy="139353"/>
            </a:xfrm>
          </p:grpSpPr>
          <p:sp>
            <p:nvSpPr>
              <p:cNvPr id="143" name="사각형: 둥근 모서리 142">
                <a:extLst>
                  <a:ext uri="{FF2B5EF4-FFF2-40B4-BE49-F238E27FC236}">
                    <a16:creationId xmlns:a16="http://schemas.microsoft.com/office/drawing/2014/main" id="{40082B84-A7AE-E8F9-F62E-BA3CD3C1AB3D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44" name="그림 143">
                <a:extLst>
                  <a:ext uri="{FF2B5EF4-FFF2-40B4-BE49-F238E27FC236}">
                    <a16:creationId xmlns:a16="http://schemas.microsoft.com/office/drawing/2014/main" id="{EE518841-4C47-F317-046C-7FEA68AAFA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10" name="그룹 109">
              <a:extLst>
                <a:ext uri="{FF2B5EF4-FFF2-40B4-BE49-F238E27FC236}">
                  <a16:creationId xmlns:a16="http://schemas.microsoft.com/office/drawing/2014/main" id="{0B9696BB-751B-C578-E189-900A9D8E960C}"/>
                </a:ext>
              </a:extLst>
            </p:cNvPr>
            <p:cNvGrpSpPr/>
            <p:nvPr/>
          </p:nvGrpSpPr>
          <p:grpSpPr>
            <a:xfrm>
              <a:off x="8042405" y="4595943"/>
              <a:ext cx="139353" cy="139353"/>
              <a:chOff x="1996996" y="2755568"/>
              <a:chExt cx="139353" cy="139353"/>
            </a:xfrm>
          </p:grpSpPr>
          <p:sp>
            <p:nvSpPr>
              <p:cNvPr id="141" name="사각형: 둥근 모서리 140">
                <a:extLst>
                  <a:ext uri="{FF2B5EF4-FFF2-40B4-BE49-F238E27FC236}">
                    <a16:creationId xmlns:a16="http://schemas.microsoft.com/office/drawing/2014/main" id="{3E3CAD25-FF81-05A3-90CB-E6B722643A5C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42" name="그림 141">
                <a:extLst>
                  <a:ext uri="{FF2B5EF4-FFF2-40B4-BE49-F238E27FC236}">
                    <a16:creationId xmlns:a16="http://schemas.microsoft.com/office/drawing/2014/main" id="{1DA6CD8F-1853-CEE1-485D-286FCF8E10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12" name="그룹 111">
              <a:extLst>
                <a:ext uri="{FF2B5EF4-FFF2-40B4-BE49-F238E27FC236}">
                  <a16:creationId xmlns:a16="http://schemas.microsoft.com/office/drawing/2014/main" id="{8604978E-2C7B-134B-FB0E-1556EDD9FDD4}"/>
                </a:ext>
              </a:extLst>
            </p:cNvPr>
            <p:cNvGrpSpPr/>
            <p:nvPr/>
          </p:nvGrpSpPr>
          <p:grpSpPr>
            <a:xfrm>
              <a:off x="8042405" y="4859519"/>
              <a:ext cx="139353" cy="139353"/>
              <a:chOff x="1996996" y="2755568"/>
              <a:chExt cx="139353" cy="139353"/>
            </a:xfrm>
          </p:grpSpPr>
          <p:sp>
            <p:nvSpPr>
              <p:cNvPr id="137" name="사각형: 둥근 모서리 136">
                <a:extLst>
                  <a:ext uri="{FF2B5EF4-FFF2-40B4-BE49-F238E27FC236}">
                    <a16:creationId xmlns:a16="http://schemas.microsoft.com/office/drawing/2014/main" id="{007EAEBC-2519-C83B-7EE2-4D94D7FF88F4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38" name="그림 137">
                <a:extLst>
                  <a:ext uri="{FF2B5EF4-FFF2-40B4-BE49-F238E27FC236}">
                    <a16:creationId xmlns:a16="http://schemas.microsoft.com/office/drawing/2014/main" id="{146821CC-D1C0-5555-704F-028F96B8D2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13" name="그룹 112">
              <a:extLst>
                <a:ext uri="{FF2B5EF4-FFF2-40B4-BE49-F238E27FC236}">
                  <a16:creationId xmlns:a16="http://schemas.microsoft.com/office/drawing/2014/main" id="{1821D783-8E2D-7EC6-49B2-0947B7D4F4A6}"/>
                </a:ext>
              </a:extLst>
            </p:cNvPr>
            <p:cNvGrpSpPr/>
            <p:nvPr/>
          </p:nvGrpSpPr>
          <p:grpSpPr>
            <a:xfrm>
              <a:off x="8042405" y="5123095"/>
              <a:ext cx="139353" cy="139353"/>
              <a:chOff x="1996996" y="2755568"/>
              <a:chExt cx="139353" cy="139353"/>
            </a:xfrm>
          </p:grpSpPr>
          <p:sp>
            <p:nvSpPr>
              <p:cNvPr id="135" name="사각형: 둥근 모서리 134">
                <a:extLst>
                  <a:ext uri="{FF2B5EF4-FFF2-40B4-BE49-F238E27FC236}">
                    <a16:creationId xmlns:a16="http://schemas.microsoft.com/office/drawing/2014/main" id="{A25787EF-916B-7121-182E-B62A2AEECA07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36" name="그림 135">
                <a:extLst>
                  <a:ext uri="{FF2B5EF4-FFF2-40B4-BE49-F238E27FC236}">
                    <a16:creationId xmlns:a16="http://schemas.microsoft.com/office/drawing/2014/main" id="{CDF6B57F-D243-E303-FD3A-4A848D8687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  <p:grpSp>
          <p:nvGrpSpPr>
            <p:cNvPr id="114" name="그룹 113">
              <a:extLst>
                <a:ext uri="{FF2B5EF4-FFF2-40B4-BE49-F238E27FC236}">
                  <a16:creationId xmlns:a16="http://schemas.microsoft.com/office/drawing/2014/main" id="{A2693653-2618-8690-83B8-11DAF27594D6}"/>
                </a:ext>
              </a:extLst>
            </p:cNvPr>
            <p:cNvGrpSpPr/>
            <p:nvPr/>
          </p:nvGrpSpPr>
          <p:grpSpPr>
            <a:xfrm>
              <a:off x="8042405" y="5386671"/>
              <a:ext cx="139353" cy="139353"/>
              <a:chOff x="1996996" y="2755568"/>
              <a:chExt cx="139353" cy="139353"/>
            </a:xfrm>
          </p:grpSpPr>
          <p:sp>
            <p:nvSpPr>
              <p:cNvPr id="133" name="사각형: 둥근 모서리 132">
                <a:extLst>
                  <a:ext uri="{FF2B5EF4-FFF2-40B4-BE49-F238E27FC236}">
                    <a16:creationId xmlns:a16="http://schemas.microsoft.com/office/drawing/2014/main" id="{D7278364-8F11-7EA9-ECEF-F7EBC9352D24}"/>
                  </a:ext>
                </a:extLst>
              </p:cNvPr>
              <p:cNvSpPr/>
              <p:nvPr/>
            </p:nvSpPr>
            <p:spPr>
              <a:xfrm>
                <a:off x="1996996" y="2755568"/>
                <a:ext cx="139353" cy="139353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134" name="그림 133">
                <a:extLst>
                  <a:ext uri="{FF2B5EF4-FFF2-40B4-BE49-F238E27FC236}">
                    <a16:creationId xmlns:a16="http://schemas.microsoft.com/office/drawing/2014/main" id="{5700A7E6-8F0E-5BDA-7EB8-3FE90BE397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22559" y="2789430"/>
                <a:ext cx="81910" cy="81910"/>
              </a:xfrm>
              <a:prstGeom prst="rect">
                <a:avLst/>
              </a:prstGeom>
            </p:spPr>
          </p:pic>
        </p:grpSp>
      </p:grpSp>
      <p:grpSp>
        <p:nvGrpSpPr>
          <p:cNvPr id="162" name="그룹 161">
            <a:extLst>
              <a:ext uri="{FF2B5EF4-FFF2-40B4-BE49-F238E27FC236}">
                <a16:creationId xmlns:a16="http://schemas.microsoft.com/office/drawing/2014/main" id="{5D70D001-2576-F646-2233-43033FD15AA5}"/>
              </a:ext>
            </a:extLst>
          </p:cNvPr>
          <p:cNvGrpSpPr/>
          <p:nvPr/>
        </p:nvGrpSpPr>
        <p:grpSpPr>
          <a:xfrm>
            <a:off x="8355210" y="2456593"/>
            <a:ext cx="152350" cy="3159299"/>
            <a:chOff x="9201470" y="1601344"/>
            <a:chExt cx="188126" cy="4198758"/>
          </a:xfrm>
        </p:grpSpPr>
        <p:sp>
          <p:nvSpPr>
            <p:cNvPr id="163" name="직사각형 162">
              <a:extLst>
                <a:ext uri="{FF2B5EF4-FFF2-40B4-BE49-F238E27FC236}">
                  <a16:creationId xmlns:a16="http://schemas.microsoft.com/office/drawing/2014/main" id="{550454B9-DA29-A1A5-9D77-E6CE9767C114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64" name="그룹 163">
              <a:extLst>
                <a:ext uri="{FF2B5EF4-FFF2-40B4-BE49-F238E27FC236}">
                  <a16:creationId xmlns:a16="http://schemas.microsoft.com/office/drawing/2014/main" id="{2B263060-D639-1E11-ECD4-C275F9401E2A}"/>
                </a:ext>
              </a:extLst>
            </p:cNvPr>
            <p:cNvGrpSpPr/>
            <p:nvPr/>
          </p:nvGrpSpPr>
          <p:grpSpPr>
            <a:xfrm>
              <a:off x="9201470" y="1601344"/>
              <a:ext cx="188126" cy="4198758"/>
              <a:chOff x="9201470" y="1601344"/>
              <a:chExt cx="188126" cy="4198758"/>
            </a:xfrm>
          </p:grpSpPr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4FA1147C-217E-1CBA-4429-B2BF6442E50F}"/>
                  </a:ext>
                </a:extLst>
              </p:cNvPr>
              <p:cNvSpPr/>
              <p:nvPr/>
            </p:nvSpPr>
            <p:spPr>
              <a:xfrm>
                <a:off x="9201482" y="1810108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BAF690D0-1B91-22AD-22BD-D5586A905D1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0ACF1B29-D632-29E1-4A9B-1F320C6BA00D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68" name="사각형: 둥근 모서리 167">
            <a:extLst>
              <a:ext uri="{FF2B5EF4-FFF2-40B4-BE49-F238E27FC236}">
                <a16:creationId xmlns:a16="http://schemas.microsoft.com/office/drawing/2014/main" id="{F22294AC-0CEF-0818-F2E6-821905E366F7}"/>
              </a:ext>
            </a:extLst>
          </p:cNvPr>
          <p:cNvSpPr/>
          <p:nvPr/>
        </p:nvSpPr>
        <p:spPr>
          <a:xfrm>
            <a:off x="766462" y="1880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9" name="사각형: 둥근 모서리 168">
            <a:extLst>
              <a:ext uri="{FF2B5EF4-FFF2-40B4-BE49-F238E27FC236}">
                <a16:creationId xmlns:a16="http://schemas.microsoft.com/office/drawing/2014/main" id="{7ABBF54D-EA40-C91C-E7E8-FD5F4AFDC4CC}"/>
              </a:ext>
            </a:extLst>
          </p:cNvPr>
          <p:cNvSpPr/>
          <p:nvPr/>
        </p:nvSpPr>
        <p:spPr>
          <a:xfrm>
            <a:off x="4150838" y="23845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0" name="사각형: 둥근 모서리 169">
            <a:extLst>
              <a:ext uri="{FF2B5EF4-FFF2-40B4-BE49-F238E27FC236}">
                <a16:creationId xmlns:a16="http://schemas.microsoft.com/office/drawing/2014/main" id="{722D1D2F-7AFD-4E32-8B36-DD78AC101F73}"/>
              </a:ext>
            </a:extLst>
          </p:cNvPr>
          <p:cNvSpPr/>
          <p:nvPr/>
        </p:nvSpPr>
        <p:spPr>
          <a:xfrm>
            <a:off x="7547026" y="23946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1" name="사각형: 둥근 모서리 170">
            <a:extLst>
              <a:ext uri="{FF2B5EF4-FFF2-40B4-BE49-F238E27FC236}">
                <a16:creationId xmlns:a16="http://schemas.microsoft.com/office/drawing/2014/main" id="{2981ADB4-D5B4-8E0E-A624-7202A5800348}"/>
              </a:ext>
            </a:extLst>
          </p:cNvPr>
          <p:cNvSpPr/>
          <p:nvPr/>
        </p:nvSpPr>
        <p:spPr>
          <a:xfrm>
            <a:off x="7771198" y="1694020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적용</a:t>
            </a:r>
          </a:p>
        </p:txBody>
      </p:sp>
      <p:sp>
        <p:nvSpPr>
          <p:cNvPr id="172" name="사각형: 둥근 모서리 171">
            <a:extLst>
              <a:ext uri="{FF2B5EF4-FFF2-40B4-BE49-F238E27FC236}">
                <a16:creationId xmlns:a16="http://schemas.microsoft.com/office/drawing/2014/main" id="{D5B647DC-073E-060C-4310-4CF5E3028A49}"/>
              </a:ext>
            </a:extLst>
          </p:cNvPr>
          <p:cNvSpPr/>
          <p:nvPr/>
        </p:nvSpPr>
        <p:spPr>
          <a:xfrm>
            <a:off x="7733516" y="165979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3" name="직사각형 172">
            <a:extLst>
              <a:ext uri="{FF2B5EF4-FFF2-40B4-BE49-F238E27FC236}">
                <a16:creationId xmlns:a16="http://schemas.microsoft.com/office/drawing/2014/main" id="{CAA44B56-0428-F585-99D6-F57254C3EA5F}"/>
              </a:ext>
            </a:extLst>
          </p:cNvPr>
          <p:cNvSpPr/>
          <p:nvPr/>
        </p:nvSpPr>
        <p:spPr>
          <a:xfrm>
            <a:off x="8986836" y="0"/>
            <a:ext cx="3218221" cy="457982"/>
          </a:xfrm>
          <a:prstGeom prst="rect">
            <a:avLst/>
          </a:prstGeom>
          <a:solidFill>
            <a:schemeClr val="accent2"/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10.20&gt;</a:t>
            </a: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뉴스키워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관리 </a:t>
            </a: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09797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입수 뉴스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7"/>
          <a:ext cx="2922885" cy="44801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6535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                                   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발간일자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설정안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당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일주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접입력으로 구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입수 뉴스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B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저장기간은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휴업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팩트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과 계약조건 정해진 후 확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당일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338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으로 리스트 조회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1644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내 작성자명 자유 입력하여 리스트 조회 가능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534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조건에 맞게 뉴스 컨텐츠 출력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지워지고 초기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1963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 조건에 따라 조회된 총 건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에서 볼 수 있는 조회 건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2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00, 1,0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68565"/>
                  </a:ext>
                </a:extLst>
              </a:tr>
              <a:tr h="2841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7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당 조회건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따른 페이지 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17398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선택 가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복수 선택 가능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후 일괄등록 버튼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컨텐츠 일괄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0000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659808"/>
                  </a:ext>
                </a:extLst>
              </a:tr>
              <a:tr h="1325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를 복수 개 선택 후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컨텐츠 일괄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0000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출력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1631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별 뉴스 제목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컨텐츠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0000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946405"/>
                  </a:ext>
                </a:extLst>
              </a:tr>
              <a:tr h="1631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뉴스 컨텐츠 등록여부 체크 가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2241491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C46CC8E9-C6B2-4CBD-99CD-43BDD2223FC3}"/>
              </a:ext>
            </a:extLst>
          </p:cNvPr>
          <p:cNvSpPr/>
          <p:nvPr/>
        </p:nvSpPr>
        <p:spPr>
          <a:xfrm>
            <a:off x="332094" y="1134965"/>
            <a:ext cx="4971818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입수 뉴스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업데이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입수 뉴스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60" name="표 66">
            <a:extLst>
              <a:ext uri="{FF2B5EF4-FFF2-40B4-BE49-F238E27FC236}">
                <a16:creationId xmlns:a16="http://schemas.microsoft.com/office/drawing/2014/main" id="{DEF1AB03-79E2-4BC8-84F8-24CA698E42B2}"/>
              </a:ext>
            </a:extLst>
          </p:cNvPr>
          <p:cNvGraphicFramePr>
            <a:graphicFrameLocks noGrp="1"/>
          </p:cNvGraphicFramePr>
          <p:nvPr/>
        </p:nvGraphicFramePr>
        <p:xfrm>
          <a:off x="341091" y="1484783"/>
          <a:ext cx="8634453" cy="51991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2301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5727233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876521912"/>
                    </a:ext>
                  </a:extLst>
                </a:gridCol>
                <a:gridCol w="4536504">
                  <a:extLst>
                    <a:ext uri="{9D8B030D-6E8A-4147-A177-3AD203B41FA5}">
                      <a16:colId xmlns:a16="http://schemas.microsoft.com/office/drawing/2014/main" val="1641443894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936458211"/>
                    </a:ext>
                  </a:extLst>
                </a:gridCol>
                <a:gridCol w="971720">
                  <a:extLst>
                    <a:ext uri="{9D8B030D-6E8A-4147-A177-3AD203B41FA5}">
                      <a16:colId xmlns:a16="http://schemas.microsoft.com/office/drawing/2014/main" val="680784428"/>
                    </a:ext>
                  </a:extLst>
                </a:gridCol>
                <a:gridCol w="611680">
                  <a:extLst>
                    <a:ext uri="{9D8B030D-6E8A-4147-A177-3AD203B41FA5}">
                      <a16:colId xmlns:a16="http://schemas.microsoft.com/office/drawing/2014/main" val="2435249738"/>
                    </a:ext>
                  </a:extLst>
                </a:gridCol>
              </a:tblGrid>
              <a:tr h="319221">
                <a:tc gridSpan="7">
                  <a:txBody>
                    <a:bodyPr/>
                    <a:lstStyle/>
                    <a:p>
                      <a:pPr algn="l"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뉴스 조회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RSS)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308115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● 기간설정 안함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당일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최근 일주일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직접입력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당일    </a:t>
                      </a:r>
                      <a:r>
                        <a:rPr lang="ko-KR" altLang="en-US" sz="800" b="1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최근 일주일</a:t>
                      </a:r>
                      <a:r>
                        <a:rPr lang="en-US" altLang="ko-KR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1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직접선택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308115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제목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8238572"/>
                  </a:ext>
                </a:extLst>
              </a:tr>
              <a:tr h="308115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작성자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l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806429"/>
                  </a:ext>
                </a:extLst>
              </a:tr>
              <a:tr h="308115">
                <a:tc gridSpan="7">
                  <a:txBody>
                    <a:bodyPr/>
                    <a:lstStyle/>
                    <a:p>
                      <a:pPr algn="l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096623"/>
                  </a:ext>
                </a:extLst>
              </a:tr>
              <a:tr h="144251">
                <a:tc gridSpan="7">
                  <a:txBody>
                    <a:bodyPr/>
                    <a:lstStyle/>
                    <a:p>
                      <a:pPr algn="l" latinLnBrk="1"/>
                      <a:endParaRPr lang="en-US" altLang="ko-KR" sz="3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4552697"/>
                  </a:ext>
                </a:extLst>
              </a:tr>
              <a:tr h="233433">
                <a:tc gridSpan="7"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리스트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총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3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6623390"/>
                  </a:ext>
                </a:extLst>
              </a:tr>
              <a:tr h="243774">
                <a:tc gridSpan="7">
                  <a:txBody>
                    <a:bodyPr/>
                    <a:lstStyle/>
                    <a:p>
                      <a:pPr algn="l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557733"/>
                  </a:ext>
                </a:extLst>
              </a:tr>
              <a:tr h="228236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제목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공업체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작성자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여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5:48:44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한상의 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포럼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u="sng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애그테크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관심 급부상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 문제 해결이 과제</a:t>
                      </a:r>
                      <a:endParaRPr lang="ko-KR" altLang="en-US" sz="800" b="0" u="sng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종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5:19:49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u="sng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린워싱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u="sng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탐사대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공지능으로 기후 문제 해결하는 혁신 스타트업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김환이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3134837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5:17:26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u="sng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린워싱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u="sng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탐사대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글로벌 음반 산업의 탄소중립 노력은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?</a:t>
                      </a:r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양윤혁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640011"/>
                  </a:ext>
                </a:extLst>
              </a:tr>
              <a:tr h="2321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5:11:29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거용 태양광 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0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억달러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존 차량제조공장 전환 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억달러 지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김환이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983049"/>
                  </a:ext>
                </a:extLst>
              </a:tr>
              <a:tr h="2253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4:49:20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본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지속가능항공연료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SAF)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쟁에 뛰어들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홍명표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752411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4:34:17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김형중의 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콘서트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ESG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무자로서 갖춰야 할 필수 역량은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?</a:t>
                      </a:r>
                      <a:endParaRPr lang="ko-KR" altLang="en-US" sz="800" b="0" u="sng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홍명표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741006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2:06:54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국 정부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너지 기술에 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8000</a:t>
                      </a:r>
                      <a:r>
                        <a:rPr lang="ko-KR" altLang="en-US" sz="800" b="0" u="sng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만파운드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투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동훈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739807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2:03:00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난항을 거듭하는 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U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의 전력시장 개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홍명표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121333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1:30:51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플래닛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u="sng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트래커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심해 채굴 비용 육상보다 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배 높다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.. CDP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도 우울한 보고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미지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O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782401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1:24:40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S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탄소 제거 보고서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탄소 제거 거래량 지난해보다 세 배 이상 늘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양윤혁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74049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6-30 10:11:41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도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청정에너지 전환 위해 핵심광물 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0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종 선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홍명표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4278692"/>
                  </a:ext>
                </a:extLst>
              </a:tr>
              <a:tr h="234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-5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6-30 09:46:39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국 퇴직연금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 비중 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%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만</a:t>
                      </a:r>
                      <a:r>
                        <a:rPr lang="en-US" altLang="ko-KR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..</a:t>
                      </a:r>
                      <a:r>
                        <a:rPr lang="ko-KR" altLang="en-US" sz="800" b="0" u="sng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위기 악화에 기여할 수 있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재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X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583414"/>
                  </a:ext>
                </a:extLst>
              </a:tr>
            </a:tbl>
          </a:graphicData>
        </a:graphic>
      </p:graphicFrame>
      <p:grpSp>
        <p:nvGrpSpPr>
          <p:cNvPr id="61" name="그룹 60">
            <a:extLst>
              <a:ext uri="{FF2B5EF4-FFF2-40B4-BE49-F238E27FC236}">
                <a16:creationId xmlns:a16="http://schemas.microsoft.com/office/drawing/2014/main" id="{1DB6E189-223B-4FE9-83AF-C8DE4E3C3BE1}"/>
              </a:ext>
            </a:extLst>
          </p:cNvPr>
          <p:cNvGrpSpPr/>
          <p:nvPr/>
        </p:nvGrpSpPr>
        <p:grpSpPr>
          <a:xfrm>
            <a:off x="4579216" y="1812807"/>
            <a:ext cx="1697790" cy="237576"/>
            <a:chOff x="1260033" y="1487609"/>
            <a:chExt cx="1697790" cy="207863"/>
          </a:xfrm>
        </p:grpSpPr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3EC784DC-E857-4EE6-B1CB-AC4374FA2B17}"/>
                </a:ext>
              </a:extLst>
            </p:cNvPr>
            <p:cNvSpPr/>
            <p:nvPr/>
          </p:nvSpPr>
          <p:spPr>
            <a:xfrm>
              <a:off x="2177088" y="1522883"/>
              <a:ext cx="672438" cy="1725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0019ADAF-362B-40E5-828B-A9E03A058E56}"/>
                </a:ext>
              </a:extLst>
            </p:cNvPr>
            <p:cNvSpPr/>
            <p:nvPr/>
          </p:nvSpPr>
          <p:spPr>
            <a:xfrm>
              <a:off x="1260033" y="1522517"/>
              <a:ext cx="671379" cy="1725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64" name="그룹 63">
              <a:extLst>
                <a:ext uri="{FF2B5EF4-FFF2-40B4-BE49-F238E27FC236}">
                  <a16:creationId xmlns:a16="http://schemas.microsoft.com/office/drawing/2014/main" id="{A8F13091-5FF1-4816-A5AE-E5253649BB61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70" name="직사각형 69">
                <a:extLst>
                  <a:ext uri="{FF2B5EF4-FFF2-40B4-BE49-F238E27FC236}">
                    <a16:creationId xmlns:a16="http://schemas.microsoft.com/office/drawing/2014/main" id="{3F3976B7-40EF-4C09-8B92-444E6F478E93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1" name="직사각형 70">
                <a:extLst>
                  <a:ext uri="{FF2B5EF4-FFF2-40B4-BE49-F238E27FC236}">
                    <a16:creationId xmlns:a16="http://schemas.microsoft.com/office/drawing/2014/main" id="{F5D55A0D-726F-44FD-B535-CDEDE2202DF5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72" name="그림 71">
                <a:extLst>
                  <a:ext uri="{FF2B5EF4-FFF2-40B4-BE49-F238E27FC236}">
                    <a16:creationId xmlns:a16="http://schemas.microsoft.com/office/drawing/2014/main" id="{425BE8CE-3F9B-4A01-B485-7516E32DA0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CD3BEA7A-217F-4579-B0AA-2897C18547FE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9A6D26E1-A3C3-4AE4-8188-A5BB8C5F0712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0A2EE328-952D-4DFA-B940-961F9B758E39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69" name="그림 68">
                <a:extLst>
                  <a:ext uri="{FF2B5EF4-FFF2-40B4-BE49-F238E27FC236}">
                    <a16:creationId xmlns:a16="http://schemas.microsoft.com/office/drawing/2014/main" id="{4083A3B0-6DBD-45A7-9ABF-7AF9792374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644C2E60-115D-492B-AE34-83A304B1ED85}"/>
                </a:ext>
              </a:extLst>
            </p:cNvPr>
            <p:cNvSpPr/>
            <p:nvPr/>
          </p:nvSpPr>
          <p:spPr>
            <a:xfrm>
              <a:off x="2022412" y="1487609"/>
              <a:ext cx="197965" cy="184911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</p:grp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12380F19-965B-4FC0-ACBE-DE8A44165367}"/>
              </a:ext>
            </a:extLst>
          </p:cNvPr>
          <p:cNvSpPr/>
          <p:nvPr/>
        </p:nvSpPr>
        <p:spPr>
          <a:xfrm>
            <a:off x="4037484" y="2761745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6488A899-F343-4FA7-8C66-EBD9635ED90E}"/>
              </a:ext>
            </a:extLst>
          </p:cNvPr>
          <p:cNvSpPr/>
          <p:nvPr/>
        </p:nvSpPr>
        <p:spPr>
          <a:xfrm>
            <a:off x="4747036" y="2761745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1AC0C3E8-5856-497D-B798-510262A09C5C}"/>
              </a:ext>
            </a:extLst>
          </p:cNvPr>
          <p:cNvSpPr/>
          <p:nvPr/>
        </p:nvSpPr>
        <p:spPr>
          <a:xfrm>
            <a:off x="2452706" y="2164095"/>
            <a:ext cx="3062546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내용입력</a:t>
            </a:r>
          </a:p>
        </p:txBody>
      </p:sp>
      <p:sp>
        <p:nvSpPr>
          <p:cNvPr id="89" name="사각형: 둥근 모서리 88">
            <a:extLst>
              <a:ext uri="{FF2B5EF4-FFF2-40B4-BE49-F238E27FC236}">
                <a16:creationId xmlns:a16="http://schemas.microsoft.com/office/drawing/2014/main" id="{404411A4-1840-4823-8CC5-1BA97E0D32B3}"/>
              </a:ext>
            </a:extLst>
          </p:cNvPr>
          <p:cNvSpPr/>
          <p:nvPr/>
        </p:nvSpPr>
        <p:spPr>
          <a:xfrm>
            <a:off x="432659" y="4007486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0" name="사각형: 둥근 모서리 89">
            <a:extLst>
              <a:ext uri="{FF2B5EF4-FFF2-40B4-BE49-F238E27FC236}">
                <a16:creationId xmlns:a16="http://schemas.microsoft.com/office/drawing/2014/main" id="{A6699A75-94DB-478D-B0AF-8D62CD53EA83}"/>
              </a:ext>
            </a:extLst>
          </p:cNvPr>
          <p:cNvSpPr/>
          <p:nvPr/>
        </p:nvSpPr>
        <p:spPr>
          <a:xfrm>
            <a:off x="432659" y="4463796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1" name="사각형: 둥근 모서리 90">
            <a:extLst>
              <a:ext uri="{FF2B5EF4-FFF2-40B4-BE49-F238E27FC236}">
                <a16:creationId xmlns:a16="http://schemas.microsoft.com/office/drawing/2014/main" id="{6A0E26DE-DE1C-4BB1-A563-A5FBBB3C4B3C}"/>
              </a:ext>
            </a:extLst>
          </p:cNvPr>
          <p:cNvSpPr/>
          <p:nvPr/>
        </p:nvSpPr>
        <p:spPr>
          <a:xfrm>
            <a:off x="432659" y="4235641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79238D1F-3B51-43AD-8667-518A5C06F1B2}"/>
              </a:ext>
            </a:extLst>
          </p:cNvPr>
          <p:cNvSpPr/>
          <p:nvPr/>
        </p:nvSpPr>
        <p:spPr>
          <a:xfrm>
            <a:off x="432659" y="4691951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E8AB89D7-7F9F-44B2-859B-236B9C3B88B6}"/>
              </a:ext>
            </a:extLst>
          </p:cNvPr>
          <p:cNvSpPr/>
          <p:nvPr/>
        </p:nvSpPr>
        <p:spPr>
          <a:xfrm>
            <a:off x="432659" y="4920106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8" name="사각형: 둥근 모서리 97">
            <a:extLst>
              <a:ext uri="{FF2B5EF4-FFF2-40B4-BE49-F238E27FC236}">
                <a16:creationId xmlns:a16="http://schemas.microsoft.com/office/drawing/2014/main" id="{07B8843F-5CD8-4E3C-BEA7-BE3EB1A8B3A8}"/>
              </a:ext>
            </a:extLst>
          </p:cNvPr>
          <p:cNvSpPr/>
          <p:nvPr/>
        </p:nvSpPr>
        <p:spPr>
          <a:xfrm>
            <a:off x="432659" y="5376416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06DE3C49-577E-4F4B-91C9-22F078B93C2F}"/>
              </a:ext>
            </a:extLst>
          </p:cNvPr>
          <p:cNvSpPr/>
          <p:nvPr/>
        </p:nvSpPr>
        <p:spPr>
          <a:xfrm>
            <a:off x="432659" y="5148261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CF26A619-0902-4180-865E-9F9EA6ADD6E6}"/>
              </a:ext>
            </a:extLst>
          </p:cNvPr>
          <p:cNvSpPr/>
          <p:nvPr/>
        </p:nvSpPr>
        <p:spPr>
          <a:xfrm>
            <a:off x="432659" y="5604571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3E5A1F65-CF7F-42A9-ACBF-A0E59A300952}"/>
              </a:ext>
            </a:extLst>
          </p:cNvPr>
          <p:cNvSpPr/>
          <p:nvPr/>
        </p:nvSpPr>
        <p:spPr>
          <a:xfrm>
            <a:off x="432659" y="5832726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F3E149A0-E27F-421D-B740-1314BBB25D8C}"/>
              </a:ext>
            </a:extLst>
          </p:cNvPr>
          <p:cNvSpPr/>
          <p:nvPr/>
        </p:nvSpPr>
        <p:spPr>
          <a:xfrm>
            <a:off x="432659" y="6289036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AAD27004-E0C8-4603-B684-B4E78BCDB0B2}"/>
              </a:ext>
            </a:extLst>
          </p:cNvPr>
          <p:cNvSpPr/>
          <p:nvPr/>
        </p:nvSpPr>
        <p:spPr>
          <a:xfrm>
            <a:off x="432659" y="6060881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24D009D8-DE55-4AB4-B5B9-59F09779BEBF}"/>
              </a:ext>
            </a:extLst>
          </p:cNvPr>
          <p:cNvSpPr/>
          <p:nvPr/>
        </p:nvSpPr>
        <p:spPr>
          <a:xfrm>
            <a:off x="2449407" y="2460011"/>
            <a:ext cx="964440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55" name="그룹 54">
            <a:extLst>
              <a:ext uri="{FF2B5EF4-FFF2-40B4-BE49-F238E27FC236}">
                <a16:creationId xmlns:a16="http://schemas.microsoft.com/office/drawing/2014/main" id="{0689819A-C9E2-4331-B23B-1D26CAF22063}"/>
              </a:ext>
            </a:extLst>
          </p:cNvPr>
          <p:cNvGrpSpPr/>
          <p:nvPr/>
        </p:nvGrpSpPr>
        <p:grpSpPr>
          <a:xfrm>
            <a:off x="1303777" y="2461950"/>
            <a:ext cx="1065950" cy="172800"/>
            <a:chOff x="1260034" y="1778319"/>
            <a:chExt cx="1065950" cy="172800"/>
          </a:xfrm>
        </p:grpSpPr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3B8E0241-C9D9-45EA-9432-832D8CAA0E76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임팩트온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88400E86-9590-42EC-B900-61758504BA9E}"/>
                </a:ext>
              </a:extLst>
            </p:cNvPr>
            <p:cNvSpPr/>
            <p:nvPr/>
          </p:nvSpPr>
          <p:spPr>
            <a:xfrm>
              <a:off x="2111427" y="1778638"/>
              <a:ext cx="214557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9E3A9375-9E51-4A95-832B-2560EF1904A6}"/>
              </a:ext>
            </a:extLst>
          </p:cNvPr>
          <p:cNvSpPr/>
          <p:nvPr/>
        </p:nvSpPr>
        <p:spPr>
          <a:xfrm>
            <a:off x="8256240" y="3460786"/>
            <a:ext cx="651426" cy="157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선택등록</a:t>
            </a:r>
          </a:p>
        </p:txBody>
      </p: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42C85A71-F1EC-40F2-A0DE-3DCF7F687B21}"/>
              </a:ext>
            </a:extLst>
          </p:cNvPr>
          <p:cNvGrpSpPr/>
          <p:nvPr/>
        </p:nvGrpSpPr>
        <p:grpSpPr>
          <a:xfrm>
            <a:off x="1303777" y="2164414"/>
            <a:ext cx="1067418" cy="173003"/>
            <a:chOff x="1258567" y="1778638"/>
            <a:chExt cx="1067418" cy="173003"/>
          </a:xfrm>
        </p:grpSpPr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1509B868-9945-4FCD-A72C-0CC874073213}"/>
                </a:ext>
              </a:extLst>
            </p:cNvPr>
            <p:cNvSpPr/>
            <p:nvPr/>
          </p:nvSpPr>
          <p:spPr>
            <a:xfrm>
              <a:off x="1258567" y="1778841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목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+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내용</a:t>
              </a:r>
            </a:p>
          </p:txBody>
        </p:sp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4B23C41A-EF44-4CCB-BD97-4356D52C3917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82CC9531-70A0-4742-9146-0E7BC72ABFEE}"/>
              </a:ext>
            </a:extLst>
          </p:cNvPr>
          <p:cNvSpPr/>
          <p:nvPr/>
        </p:nvSpPr>
        <p:spPr>
          <a:xfrm>
            <a:off x="432659" y="6517191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7" name="그림 56">
            <a:extLst>
              <a:ext uri="{FF2B5EF4-FFF2-40B4-BE49-F238E27FC236}">
                <a16:creationId xmlns:a16="http://schemas.microsoft.com/office/drawing/2014/main" id="{56A71A88-DA63-48F7-9CB7-AA16EFED17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3303" y="4059893"/>
            <a:ext cx="161003" cy="156908"/>
          </a:xfrm>
          <a:prstGeom prst="rect">
            <a:avLst/>
          </a:prstGeom>
        </p:spPr>
      </p:pic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6AB4DC8F-2D9E-4976-A72A-AF1050053117}"/>
              </a:ext>
            </a:extLst>
          </p:cNvPr>
          <p:cNvSpPr/>
          <p:nvPr/>
        </p:nvSpPr>
        <p:spPr>
          <a:xfrm>
            <a:off x="3951818" y="272981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3EFF42A6-7216-47FF-B516-D93A2C7693F5}"/>
              </a:ext>
            </a:extLst>
          </p:cNvPr>
          <p:cNvSpPr/>
          <p:nvPr/>
        </p:nvSpPr>
        <p:spPr>
          <a:xfrm>
            <a:off x="4707579" y="273423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52806B62-0F04-4824-93BA-F44CF6FDFA2B}"/>
              </a:ext>
            </a:extLst>
          </p:cNvPr>
          <p:cNvSpPr/>
          <p:nvPr/>
        </p:nvSpPr>
        <p:spPr>
          <a:xfrm>
            <a:off x="1284217" y="31051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D15D21EE-DA50-4831-B204-AAAE58EA6460}"/>
              </a:ext>
            </a:extLst>
          </p:cNvPr>
          <p:cNvSpPr/>
          <p:nvPr/>
        </p:nvSpPr>
        <p:spPr>
          <a:xfrm>
            <a:off x="259613" y="17985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75037DEA-9181-4F2B-A58F-0FE7D0A980F8}"/>
              </a:ext>
            </a:extLst>
          </p:cNvPr>
          <p:cNvSpPr/>
          <p:nvPr/>
        </p:nvSpPr>
        <p:spPr>
          <a:xfrm>
            <a:off x="259613" y="21122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CB04450D-0E05-4C52-BDA2-57DB58A13C0C}"/>
              </a:ext>
            </a:extLst>
          </p:cNvPr>
          <p:cNvSpPr/>
          <p:nvPr/>
        </p:nvSpPr>
        <p:spPr>
          <a:xfrm>
            <a:off x="259613" y="242598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35842" name="Picture 2" descr="전체 화면 ">
            <a:extLst>
              <a:ext uri="{FF2B5EF4-FFF2-40B4-BE49-F238E27FC236}">
                <a16:creationId xmlns:a16="http://schemas.microsoft.com/office/drawing/2014/main" id="{8A3FFF98-FC10-4598-A66A-D3A8A358AF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295" y="3730093"/>
            <a:ext cx="108375" cy="10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ED0E2B7A-C92D-4B9B-8CC1-0D5A9DE93B27}"/>
              </a:ext>
            </a:extLst>
          </p:cNvPr>
          <p:cNvSpPr/>
          <p:nvPr/>
        </p:nvSpPr>
        <p:spPr>
          <a:xfrm>
            <a:off x="278521" y="36958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A2DBBEC3-6BF9-4553-B4AE-346C1FEE8BA8}"/>
              </a:ext>
            </a:extLst>
          </p:cNvPr>
          <p:cNvGrpSpPr/>
          <p:nvPr/>
        </p:nvGrpSpPr>
        <p:grpSpPr>
          <a:xfrm>
            <a:off x="306746" y="3366119"/>
            <a:ext cx="1606500" cy="258826"/>
            <a:chOff x="9969577" y="6052085"/>
            <a:chExt cx="1606500" cy="258826"/>
          </a:xfrm>
        </p:grpSpPr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0A2A8210-6A3E-43E3-A2DA-4DE1CF43FF9B}"/>
                </a:ext>
              </a:extLst>
            </p:cNvPr>
            <p:cNvGrpSpPr/>
            <p:nvPr/>
          </p:nvGrpSpPr>
          <p:grpSpPr>
            <a:xfrm>
              <a:off x="10056440" y="6132881"/>
              <a:ext cx="696669" cy="172800"/>
              <a:chOff x="1260033" y="1778319"/>
              <a:chExt cx="696669" cy="172800"/>
            </a:xfrm>
          </p:grpSpPr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9F2909CB-2DC4-48B7-B9D9-7AC230BCAD73}"/>
                  </a:ext>
                </a:extLst>
              </p:cNvPr>
              <p:cNvSpPr/>
              <p:nvPr/>
            </p:nvSpPr>
            <p:spPr>
              <a:xfrm>
                <a:off x="1260033" y="1778319"/>
                <a:ext cx="480645" cy="1728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00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</a:t>
                </a:r>
              </a:p>
            </p:txBody>
          </p:sp>
          <p:sp>
            <p:nvSpPr>
              <p:cNvPr id="84" name="직사각형 83">
                <a:extLst>
                  <a:ext uri="{FF2B5EF4-FFF2-40B4-BE49-F238E27FC236}">
                    <a16:creationId xmlns:a16="http://schemas.microsoft.com/office/drawing/2014/main" id="{2F78E0BA-D742-40C4-897E-E17141102B9D}"/>
                  </a:ext>
                </a:extLst>
              </p:cNvPr>
              <p:cNvSpPr/>
              <p:nvPr/>
            </p:nvSpPr>
            <p:spPr>
              <a:xfrm>
                <a:off x="1740678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85" name="그룹 84">
              <a:extLst>
                <a:ext uri="{FF2B5EF4-FFF2-40B4-BE49-F238E27FC236}">
                  <a16:creationId xmlns:a16="http://schemas.microsoft.com/office/drawing/2014/main" id="{60ABC36D-D1B6-4590-B319-A08B714728B4}"/>
                </a:ext>
              </a:extLst>
            </p:cNvPr>
            <p:cNvGrpSpPr/>
            <p:nvPr/>
          </p:nvGrpSpPr>
          <p:grpSpPr>
            <a:xfrm>
              <a:off x="10879408" y="6138111"/>
              <a:ext cx="696669" cy="172800"/>
              <a:chOff x="1260033" y="1778319"/>
              <a:chExt cx="696669" cy="172800"/>
            </a:xfrm>
          </p:grpSpPr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88E26752-4798-4451-B543-3925AD7C9FFC}"/>
                  </a:ext>
                </a:extLst>
              </p:cNvPr>
              <p:cNvSpPr/>
              <p:nvPr/>
            </p:nvSpPr>
            <p:spPr>
              <a:xfrm>
                <a:off x="1260033" y="1778319"/>
                <a:ext cx="480645" cy="1728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/2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D37CAA43-97ED-43E0-8BEC-EC335CD88E0A}"/>
                  </a:ext>
                </a:extLst>
              </p:cNvPr>
              <p:cNvSpPr/>
              <p:nvPr/>
            </p:nvSpPr>
            <p:spPr>
              <a:xfrm>
                <a:off x="1740678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88" name="사각형: 둥근 모서리 87">
              <a:extLst>
                <a:ext uri="{FF2B5EF4-FFF2-40B4-BE49-F238E27FC236}">
                  <a16:creationId xmlns:a16="http://schemas.microsoft.com/office/drawing/2014/main" id="{487B3CCD-29A0-48CB-B320-7494DBD4E476}"/>
                </a:ext>
              </a:extLst>
            </p:cNvPr>
            <p:cNvSpPr/>
            <p:nvPr/>
          </p:nvSpPr>
          <p:spPr>
            <a:xfrm>
              <a:off x="9969577" y="6075754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7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3" name="사각형: 둥근 모서리 92">
              <a:extLst>
                <a:ext uri="{FF2B5EF4-FFF2-40B4-BE49-F238E27FC236}">
                  <a16:creationId xmlns:a16="http://schemas.microsoft.com/office/drawing/2014/main" id="{3ED17EAA-4BA1-40E0-81F9-31C8D05B8E7F}"/>
                </a:ext>
              </a:extLst>
            </p:cNvPr>
            <p:cNvSpPr/>
            <p:nvPr/>
          </p:nvSpPr>
          <p:spPr>
            <a:xfrm>
              <a:off x="10816580" y="6052085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8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94" name="사각형: 둥근 모서리 93">
            <a:extLst>
              <a:ext uri="{FF2B5EF4-FFF2-40B4-BE49-F238E27FC236}">
                <a16:creationId xmlns:a16="http://schemas.microsoft.com/office/drawing/2014/main" id="{5306842D-24A7-4BF4-B9A9-7A37EAF02259}"/>
              </a:ext>
            </a:extLst>
          </p:cNvPr>
          <p:cNvSpPr/>
          <p:nvPr/>
        </p:nvSpPr>
        <p:spPr>
          <a:xfrm>
            <a:off x="8190751" y="34163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5" name="사각형: 둥근 모서리 94">
            <a:extLst>
              <a:ext uri="{FF2B5EF4-FFF2-40B4-BE49-F238E27FC236}">
                <a16:creationId xmlns:a16="http://schemas.microsoft.com/office/drawing/2014/main" id="{4F250F5C-2913-4DC3-ACF2-DC3B78826D19}"/>
              </a:ext>
            </a:extLst>
          </p:cNvPr>
          <p:cNvSpPr/>
          <p:nvPr/>
        </p:nvSpPr>
        <p:spPr>
          <a:xfrm>
            <a:off x="5221317" y="39906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DF348134-30CA-44EB-BDBA-49C4ECC5D57B}"/>
              </a:ext>
            </a:extLst>
          </p:cNvPr>
          <p:cNvSpPr/>
          <p:nvPr/>
        </p:nvSpPr>
        <p:spPr>
          <a:xfrm>
            <a:off x="8975543" y="-18917"/>
            <a:ext cx="3218221" cy="6872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9.06</a:t>
            </a: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gt;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[1</a:t>
            </a: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]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뉴스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발간일자 조회조건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당일이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Default</a:t>
            </a: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[12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신규뉴스 컨텐츠 등록여부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컬럼 추가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22205957-11A5-49E5-BBD5-BCF4A291D32B}"/>
              </a:ext>
            </a:extLst>
          </p:cNvPr>
          <p:cNvSpPr/>
          <p:nvPr/>
        </p:nvSpPr>
        <p:spPr>
          <a:xfrm>
            <a:off x="8270670" y="369363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F3D099-18AA-1728-6554-8CA741E31CA3}"/>
              </a:ext>
            </a:extLst>
          </p:cNvPr>
          <p:cNvSpPr txBox="1"/>
          <p:nvPr/>
        </p:nvSpPr>
        <p:spPr>
          <a:xfrm>
            <a:off x="7310941" y="3178018"/>
            <a:ext cx="1807262" cy="231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9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갱신시점 </a:t>
            </a:r>
            <a:r>
              <a:rPr lang="en-US" altLang="ko-KR" sz="900" b="1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023.10.15 02:00)</a:t>
            </a:r>
            <a:endParaRPr lang="ko-KR" alt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8860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입수 뉴스 등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448269"/>
              </p:ext>
            </p:extLst>
          </p:nvPr>
        </p:nvGraphicFramePr>
        <p:xfrm>
          <a:off x="9267391" y="759197"/>
          <a:ext cx="2922885" cy="15179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35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고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 불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338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번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등록 후 자동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번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1644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정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SS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링크를 통해 자동 입력되는 정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표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작성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요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전문으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 불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18C08A05-194B-4EDE-8402-AC48D2C49371}"/>
              </a:ext>
            </a:extLst>
          </p:cNvPr>
          <p:cNvSpPr/>
          <p:nvPr/>
        </p:nvSpPr>
        <p:spPr>
          <a:xfrm>
            <a:off x="1117251" y="1629286"/>
            <a:ext cx="7183959" cy="4733471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21194B10-A806-44D7-BE61-A68F8072ADCD}"/>
              </a:ext>
            </a:extLst>
          </p:cNvPr>
          <p:cNvSpPr/>
          <p:nvPr/>
        </p:nvSpPr>
        <p:spPr>
          <a:xfrm>
            <a:off x="1117251" y="1412776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입수 뉴스 등록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4" name="표 12">
            <a:extLst>
              <a:ext uri="{FF2B5EF4-FFF2-40B4-BE49-F238E27FC236}">
                <a16:creationId xmlns:a16="http://schemas.microsoft.com/office/drawing/2014/main" id="{580B27E1-B882-4E40-B497-1D99BFE669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0737622"/>
              </p:ext>
            </p:extLst>
          </p:nvPr>
        </p:nvGraphicFramePr>
        <p:xfrm>
          <a:off x="1170559" y="1775758"/>
          <a:ext cx="7091948" cy="41812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8747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162598">
                  <a:extLst>
                    <a:ext uri="{9D8B030D-6E8A-4147-A177-3AD203B41FA5}">
                      <a16:colId xmlns:a16="http://schemas.microsoft.com/office/drawing/2014/main" val="713958032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424521785"/>
                    </a:ext>
                  </a:extLst>
                </a:gridCol>
                <a:gridCol w="2310523">
                  <a:extLst>
                    <a:ext uri="{9D8B030D-6E8A-4147-A177-3AD203B41FA5}">
                      <a16:colId xmlns:a16="http://schemas.microsoft.com/office/drawing/2014/main" val="3523702210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50770"/>
                  </a:ext>
                </a:extLst>
              </a:tr>
              <a:tr h="0">
                <a:tc gridSpan="4">
                  <a:txBody>
                    <a:bodyPr/>
                    <a:lstStyle/>
                    <a:p>
                      <a:pPr latinLnBrk="1"/>
                      <a:endParaRPr lang="ko-KR" altLang="en-US" sz="2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777836190"/>
                  </a:ext>
                </a:extLst>
              </a:tr>
              <a:tr h="270000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정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RSS)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49503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제목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작성자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82815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요약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1584176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전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72000">
                <a:tc gridSpan="4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en-US" altLang="ko-KR" sz="2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119620"/>
                  </a:ext>
                </a:extLst>
              </a:tr>
            </a:tbl>
          </a:graphicData>
        </a:graphic>
      </p:graphicFrame>
      <p:sp>
        <p:nvSpPr>
          <p:cNvPr id="58" name="직사각형 57">
            <a:extLst>
              <a:ext uri="{FF2B5EF4-FFF2-40B4-BE49-F238E27FC236}">
                <a16:creationId xmlns:a16="http://schemas.microsoft.com/office/drawing/2014/main" id="{6F7AA37F-F4DC-4C2E-9AFF-8C46A1216536}"/>
              </a:ext>
            </a:extLst>
          </p:cNvPr>
          <p:cNvSpPr/>
          <p:nvPr/>
        </p:nvSpPr>
        <p:spPr>
          <a:xfrm>
            <a:off x="6015229" y="1821800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5D3816E6-A9E4-4FB9-B9F4-D18E319E05F1}"/>
              </a:ext>
            </a:extLst>
          </p:cNvPr>
          <p:cNvSpPr/>
          <p:nvPr/>
        </p:nvSpPr>
        <p:spPr>
          <a:xfrm>
            <a:off x="2126633" y="2500681"/>
            <a:ext cx="3033263" cy="37714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대한상의 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ESG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경영 포럼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, </a:t>
            </a:r>
            <a:r>
              <a:rPr lang="ko-KR" altLang="en-US" sz="800" b="0" kern="1200" spc="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애그테크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관심 급부상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…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인증 문제 해결이 과제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2A622B84-AE83-4664-9985-46B1121CFE2D}"/>
              </a:ext>
            </a:extLst>
          </p:cNvPr>
          <p:cNvSpPr/>
          <p:nvPr/>
        </p:nvSpPr>
        <p:spPr>
          <a:xfrm>
            <a:off x="2126633" y="2977350"/>
            <a:ext cx="1514397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2023-07-03 15:48:44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36B614CC-5967-46FC-A10E-EBE97D46D3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7293" y="2500681"/>
            <a:ext cx="1590875" cy="864774"/>
          </a:xfrm>
          <a:prstGeom prst="rect">
            <a:avLst/>
          </a:prstGeom>
        </p:spPr>
      </p:pic>
      <p:sp>
        <p:nvSpPr>
          <p:cNvPr id="79" name="직사각형 78">
            <a:extLst>
              <a:ext uri="{FF2B5EF4-FFF2-40B4-BE49-F238E27FC236}">
                <a16:creationId xmlns:a16="http://schemas.microsoft.com/office/drawing/2014/main" id="{149597B7-C3F1-406D-8156-C04802D34FEA}"/>
              </a:ext>
            </a:extLst>
          </p:cNvPr>
          <p:cNvSpPr/>
          <p:nvPr/>
        </p:nvSpPr>
        <p:spPr>
          <a:xfrm>
            <a:off x="2126633" y="3251641"/>
            <a:ext cx="656999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kern="1200" spc="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임팩트온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0AD54375-C8D2-4ACF-ADDB-F099C6883325}"/>
              </a:ext>
            </a:extLst>
          </p:cNvPr>
          <p:cNvSpPr/>
          <p:nvPr/>
        </p:nvSpPr>
        <p:spPr>
          <a:xfrm>
            <a:off x="2844456" y="3251641"/>
            <a:ext cx="796574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kern="1200" spc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변종용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ditor</a:t>
            </a:r>
            <a:r>
              <a:rPr lang="ko-KR" altLang="en-US" sz="800" b="0" kern="1200" spc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CF49F652-D92C-47C8-858E-3B24BE47D92F}"/>
              </a:ext>
            </a:extLst>
          </p:cNvPr>
          <p:cNvSpPr/>
          <p:nvPr/>
        </p:nvSpPr>
        <p:spPr>
          <a:xfrm>
            <a:off x="2124398" y="3552127"/>
            <a:ext cx="6059834" cy="6492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대한상공회의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회장 최태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는 산업통상자원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Y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한영과 공동으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8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일 세종대로 대한상의회관에서 ‘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4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차 대한상의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경영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포럼’을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개최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이번 행사는 정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학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유관 기관의 전문가들이 참여하여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반 신사업 창출 전략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와 탄소중립 관련 기술 동향과 시사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벤처스타트업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동향과 시사점에 대해 논의됐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이번 행사에 발표자로 참석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Y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한영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박재흠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전무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"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국내 환경산업 매출액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0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조원으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203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3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조원으로 성장 전망되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203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에는 자원순환관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물관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신재생에너지가</a:t>
            </a: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881AACFE-6858-453D-B7CE-5765AB2036E9}"/>
              </a:ext>
            </a:extLst>
          </p:cNvPr>
          <p:cNvSpPr/>
          <p:nvPr/>
        </p:nvSpPr>
        <p:spPr>
          <a:xfrm>
            <a:off x="2129979" y="4355343"/>
            <a:ext cx="5920416" cy="13946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대한상공회의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회장 최태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는 산업통상자원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Y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한영과 공동으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8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일 세종대로 대한상의회관에서 ‘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4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차 대한상의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경영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포럼’을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개최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  <a:b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</a:br>
            <a:b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</a:b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이번 행사는 정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학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유관 기관의 전문가들이 참여하여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반 신사업 창출 전략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와 탄소중립 관련 기술 동향과 시사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벤처스타트업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동향과 시사점에 대해 논의됐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 </a:t>
            </a:r>
            <a:b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</a:br>
            <a:b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</a:b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이번 행사에 발표자로 참석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Y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한영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박재흠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전무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"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국내 환경산업 매출액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0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조원으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203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3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조원으로 성장 전망되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203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에는 자원순환관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물관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신재생에너지가 전체 매출액의 약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74.4%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로 큰 비중을 차지할 것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"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이라고 국내 환경시장 규모의 증가를 예상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 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0000"/>
              </a:solidFill>
              <a:latin typeface="Arial" panose="020B0604020202020204" pitchFamily="34" charset="0"/>
              <a:cs typeface="Arial"/>
            </a:endParaRPr>
          </a:p>
        </p:txBody>
      </p:sp>
      <p:cxnSp>
        <p:nvCxnSpPr>
          <p:cNvPr id="86" name="직선 연결선 85">
            <a:extLst>
              <a:ext uri="{FF2B5EF4-FFF2-40B4-BE49-F238E27FC236}">
                <a16:creationId xmlns:a16="http://schemas.microsoft.com/office/drawing/2014/main" id="{DB3E8A26-97AA-4174-9A78-CF3C3543E62D}"/>
              </a:ext>
            </a:extLst>
          </p:cNvPr>
          <p:cNvCxnSpPr>
            <a:cxnSpLocks/>
          </p:cNvCxnSpPr>
          <p:nvPr/>
        </p:nvCxnSpPr>
        <p:spPr>
          <a:xfrm>
            <a:off x="1117251" y="6168702"/>
            <a:ext cx="7183959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B2E90F45-91FC-4CDB-B425-768D87E1DB6A}"/>
              </a:ext>
            </a:extLst>
          </p:cNvPr>
          <p:cNvSpPr/>
          <p:nvPr/>
        </p:nvSpPr>
        <p:spPr>
          <a:xfrm>
            <a:off x="4291137" y="5977244"/>
            <a:ext cx="868759" cy="360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뒤에 이어서</a:t>
            </a: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A7B0E429-6FD5-4AE4-90A8-4C1EE6397D2F}"/>
              </a:ext>
            </a:extLst>
          </p:cNvPr>
          <p:cNvGrpSpPr/>
          <p:nvPr/>
        </p:nvGrpSpPr>
        <p:grpSpPr>
          <a:xfrm>
            <a:off x="8050376" y="4351533"/>
            <a:ext cx="140235" cy="1398424"/>
            <a:chOff x="9201469" y="1601341"/>
            <a:chExt cx="188140" cy="4229256"/>
          </a:xfrm>
        </p:grpSpPr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84EA33A4-EE26-4804-A208-4021A5D3C8EB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B20E7505-EFAE-4468-8BA4-69C08EF0C80A}"/>
                </a:ext>
              </a:extLst>
            </p:cNvPr>
            <p:cNvGrpSpPr/>
            <p:nvPr/>
          </p:nvGrpSpPr>
          <p:grpSpPr>
            <a:xfrm>
              <a:off x="9201469" y="1601341"/>
              <a:ext cx="188140" cy="4229256"/>
              <a:chOff x="9201469" y="1601341"/>
              <a:chExt cx="188140" cy="4229256"/>
            </a:xfrm>
          </p:grpSpPr>
          <p:sp>
            <p:nvSpPr>
              <p:cNvPr id="27" name="직사각형 26">
                <a:extLst>
                  <a:ext uri="{FF2B5EF4-FFF2-40B4-BE49-F238E27FC236}">
                    <a16:creationId xmlns:a16="http://schemas.microsoft.com/office/drawing/2014/main" id="{951F31F6-D14C-4C5F-8656-F1073E10A4AE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28" name="직사각형 27">
                <a:extLst>
                  <a:ext uri="{FF2B5EF4-FFF2-40B4-BE49-F238E27FC236}">
                    <a16:creationId xmlns:a16="http://schemas.microsoft.com/office/drawing/2014/main" id="{9080326C-D3CD-4710-A707-52E77486C941}"/>
                  </a:ext>
                </a:extLst>
              </p:cNvPr>
              <p:cNvSpPr/>
              <p:nvPr/>
            </p:nvSpPr>
            <p:spPr>
              <a:xfrm rot="10800000">
                <a:off x="9201469" y="5490597"/>
                <a:ext cx="188115" cy="340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29" name="직사각형 28">
                <a:extLst>
                  <a:ext uri="{FF2B5EF4-FFF2-40B4-BE49-F238E27FC236}">
                    <a16:creationId xmlns:a16="http://schemas.microsoft.com/office/drawing/2014/main" id="{AC514A8D-6D3A-437D-B0F5-F3277F6BCBC1}"/>
                  </a:ext>
                </a:extLst>
              </p:cNvPr>
              <p:cNvSpPr/>
              <p:nvPr/>
            </p:nvSpPr>
            <p:spPr>
              <a:xfrm>
                <a:off x="9201471" y="1601341"/>
                <a:ext cx="188114" cy="339997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4C63B435-9CAF-4CA5-A0C6-65EFB99DEF58}"/>
              </a:ext>
            </a:extLst>
          </p:cNvPr>
          <p:cNvSpPr/>
          <p:nvPr/>
        </p:nvSpPr>
        <p:spPr>
          <a:xfrm>
            <a:off x="1098078" y="17555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5D811E10-9AA3-41B2-9B61-768300F185B6}"/>
              </a:ext>
            </a:extLst>
          </p:cNvPr>
          <p:cNvSpPr/>
          <p:nvPr/>
        </p:nvSpPr>
        <p:spPr>
          <a:xfrm>
            <a:off x="4218656" y="212259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EECCEF71-62BF-4BDA-940D-D9A8527DEF9F}"/>
              </a:ext>
            </a:extLst>
          </p:cNvPr>
          <p:cNvSpPr/>
          <p:nvPr/>
        </p:nvSpPr>
        <p:spPr>
          <a:xfrm>
            <a:off x="5143420" y="17594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43693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8490A13D-E245-4820-A23E-91F0069022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1128825"/>
              </p:ext>
            </p:extLst>
          </p:nvPr>
        </p:nvGraphicFramePr>
        <p:xfrm>
          <a:off x="335360" y="822058"/>
          <a:ext cx="11521280" cy="48192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64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35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63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64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17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날짜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ver</a:t>
                      </a:r>
                      <a:endParaRPr lang="ko-KR" altLang="en-US" sz="9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98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41 / M04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뉴스 키워드 관리 화면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별 뉴스리스트 화면 추가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26-27P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0171416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43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리자 활동로그 관리 화면 추가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66P)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6709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pub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파일 업로드 관련 사항 정의 추가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2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4310844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4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조회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조회 팝업 출력 버튼 삭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검색 시 자유 입력하여 검색 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     마케팅동의 → 개인정보 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 수신동의로 용어 변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41-42P)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6308525"/>
                  </a:ext>
                </a:extLst>
              </a:tr>
              <a:tr h="40689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1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상세조회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팩스 번호 삭제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              마케팅 동의 → 개인정보 제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 제공 동의로 변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43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772263"/>
                  </a:ext>
                </a:extLst>
              </a:tr>
              <a:tr h="14401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2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조회 팝업 삭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44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270096"/>
                  </a:ext>
                </a:extLst>
              </a:tr>
              <a:tr h="55622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24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제공서비스 → 전문가 코멘트로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명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변경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문가 코멘트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에 상세내용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 매핑할 수 있도록 구조 변경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문가 리스트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항목 현행화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팀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사명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유입력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(56-57P)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10321"/>
                  </a:ext>
                </a:extLst>
              </a:tr>
              <a:tr h="39359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캘린더 관리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캘린더 출력 양식 삭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BO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는 목록형으로만 조회 가능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삭제 기능 추가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60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118941"/>
                  </a:ext>
                </a:extLst>
              </a:tr>
              <a:tr h="55622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8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ESG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등록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변경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설정 기능 변경 </a:t>
                      </a:r>
                      <a:r>
                        <a:rPr lang="en-US" altLang="ko-KR" sz="800" b="0" kern="1200" spc="-3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kern="1200" spc="-3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자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 범위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확정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일정 구분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                       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반복 설정 기능 삭제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                        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 내용 등록 시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HTML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디터 기능 추가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61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03517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9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삭제 기능 추가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62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4768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5 / M00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설명 입력 기능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 Lv1, Lv2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단위 구분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8P, 24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4295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10.2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4, M015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11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권한그룹 설명 수정 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인정보처리가능한 관리자와 개인정보 </a:t>
                      </a: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열람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관리자 구분 필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(41P, 48P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.7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277926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263352" y="330861"/>
            <a:ext cx="765830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정이력</a:t>
            </a:r>
          </a:p>
        </p:txBody>
      </p:sp>
    </p:spTree>
    <p:extLst>
      <p:ext uri="{BB962C8B-B14F-4D97-AF65-F5344CB8AC3E}">
        <p14:creationId xmlns:p14="http://schemas.microsoft.com/office/powerpoint/2010/main" val="10539283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03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 입수 뉴스 등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4294942"/>
              </p:ext>
            </p:extLst>
          </p:nvPr>
        </p:nvGraphicFramePr>
        <p:xfrm>
          <a:off x="9273919" y="511071"/>
          <a:ext cx="2917256" cy="55102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1201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52690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257443"/>
              </p:ext>
            </p:extLst>
          </p:nvPr>
        </p:nvGraphicFramePr>
        <p:xfrm>
          <a:off x="9280448" y="738372"/>
          <a:ext cx="2922885" cy="446992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2153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로 구분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338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1644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전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설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831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2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를 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일 경우 활성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시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부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999-12-31 23:59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달력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지정 가능한 달력 출력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설정 사용 해제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 불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설정 사용 해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3932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공개 선택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공개대상 복수 선택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2687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가능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키워드는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까지 콤마로 구분하여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68565"/>
                  </a:ext>
                </a:extLst>
              </a:tr>
              <a:tr h="6695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복수 선택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당 토픽 리스트는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M011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해 관리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4799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 완료 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체크된 필수항목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입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01162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지워지고 초기화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179945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취소 버튼 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0745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18C08A05-194B-4EDE-8402-AC48D2C49371}"/>
              </a:ext>
            </a:extLst>
          </p:cNvPr>
          <p:cNvSpPr/>
          <p:nvPr/>
        </p:nvSpPr>
        <p:spPr>
          <a:xfrm>
            <a:off x="1117251" y="1629286"/>
            <a:ext cx="7183959" cy="382370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21194B10-A806-44D7-BE61-A68F8072ADCD}"/>
              </a:ext>
            </a:extLst>
          </p:cNvPr>
          <p:cNvSpPr/>
          <p:nvPr/>
        </p:nvSpPr>
        <p:spPr>
          <a:xfrm>
            <a:off x="1117251" y="1412776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입수 뉴스 등록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4" name="표 12">
            <a:extLst>
              <a:ext uri="{FF2B5EF4-FFF2-40B4-BE49-F238E27FC236}">
                <a16:creationId xmlns:a16="http://schemas.microsoft.com/office/drawing/2014/main" id="{580B27E1-B882-4E40-B497-1D99BFE669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1405442"/>
              </p:ext>
            </p:extLst>
          </p:nvPr>
        </p:nvGraphicFramePr>
        <p:xfrm>
          <a:off x="1170559" y="1770176"/>
          <a:ext cx="7085681" cy="135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7737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987830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667827">
                  <a:extLst>
                    <a:ext uri="{9D8B030D-6E8A-4147-A177-3AD203B41FA5}">
                      <a16:colId xmlns:a16="http://schemas.microsoft.com/office/drawing/2014/main" val="3187039777"/>
                    </a:ext>
                  </a:extLst>
                </a:gridCol>
                <a:gridCol w="3652653">
                  <a:extLst>
                    <a:ext uri="{9D8B030D-6E8A-4147-A177-3AD203B41FA5}">
                      <a16:colId xmlns:a16="http://schemas.microsoft.com/office/drawing/2014/main" val="1628069303"/>
                    </a:ext>
                  </a:extLst>
                </a:gridCol>
              </a:tblGrid>
              <a:tr h="270000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정보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바로보기          </a:t>
                      </a:r>
                      <a:r>
                        <a:rPr lang="ko-KR" altLang="en-US" sz="800" b="1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링크연결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 기간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302914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 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142598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가능여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가능            ○ 불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키워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313262"/>
                  </a:ext>
                </a:extLst>
              </a:tr>
            </a:tbl>
          </a:graphicData>
        </a:graphic>
      </p:graphicFrame>
      <p:grpSp>
        <p:nvGrpSpPr>
          <p:cNvPr id="29" name="그룹 28">
            <a:extLst>
              <a:ext uri="{FF2B5EF4-FFF2-40B4-BE49-F238E27FC236}">
                <a16:creationId xmlns:a16="http://schemas.microsoft.com/office/drawing/2014/main" id="{D134308C-D5BF-499E-8E6D-9E6233B791A2}"/>
              </a:ext>
            </a:extLst>
          </p:cNvPr>
          <p:cNvGrpSpPr/>
          <p:nvPr/>
        </p:nvGrpSpPr>
        <p:grpSpPr>
          <a:xfrm>
            <a:off x="2021319" y="2087944"/>
            <a:ext cx="1067418" cy="173837"/>
            <a:chOff x="1260034" y="1777282"/>
            <a:chExt cx="1067418" cy="173837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205FC521-E3B9-4333-8190-F3602BE1C79A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C4C12141-1FE7-4898-A045-94B6926D2BC5}"/>
                </a:ext>
              </a:extLst>
            </p:cNvPr>
            <p:cNvSpPr/>
            <p:nvPr/>
          </p:nvSpPr>
          <p:spPr>
            <a:xfrm>
              <a:off x="2111428" y="1777282"/>
              <a:ext cx="216024" cy="173836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D03392FB-CC49-44FD-9450-7F6315DE98B2}"/>
              </a:ext>
            </a:extLst>
          </p:cNvPr>
          <p:cNvGrpSpPr/>
          <p:nvPr/>
        </p:nvGrpSpPr>
        <p:grpSpPr>
          <a:xfrm>
            <a:off x="4652850" y="2087625"/>
            <a:ext cx="1065951" cy="172800"/>
            <a:chOff x="1260034" y="1778319"/>
            <a:chExt cx="1065951" cy="172800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8490D904-D5C1-4393-86DF-AF77E7FF2AB5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8786C1FB-38D5-4DB3-836C-A44C094ECC57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268B8BD4-36CD-4A00-8526-D3BFDF33A794}"/>
              </a:ext>
            </a:extLst>
          </p:cNvPr>
          <p:cNvGrpSpPr/>
          <p:nvPr/>
        </p:nvGrpSpPr>
        <p:grpSpPr>
          <a:xfrm>
            <a:off x="3706865" y="5145186"/>
            <a:ext cx="1377078" cy="180000"/>
            <a:chOff x="3931297" y="6465659"/>
            <a:chExt cx="1377078" cy="180000"/>
          </a:xfrm>
        </p:grpSpPr>
        <p:sp>
          <p:nvSpPr>
            <p:cNvPr id="37" name="사각형: 둥근 모서리 36">
              <a:extLst>
                <a:ext uri="{FF2B5EF4-FFF2-40B4-BE49-F238E27FC236}">
                  <a16:creationId xmlns:a16="http://schemas.microsoft.com/office/drawing/2014/main" id="{27F10081-682C-4496-8F9C-1CBCB35819BD}"/>
                </a:ext>
              </a:extLst>
            </p:cNvPr>
            <p:cNvSpPr/>
            <p:nvPr/>
          </p:nvSpPr>
          <p:spPr>
            <a:xfrm>
              <a:off x="3931297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</a:t>
              </a:r>
            </a:p>
          </p:txBody>
        </p:sp>
        <p:sp>
          <p:nvSpPr>
            <p:cNvPr id="38" name="사각형: 둥근 모서리 37">
              <a:extLst>
                <a:ext uri="{FF2B5EF4-FFF2-40B4-BE49-F238E27FC236}">
                  <a16:creationId xmlns:a16="http://schemas.microsoft.com/office/drawing/2014/main" id="{0BC9DDB2-C562-4CF8-A1C3-FAD1C7787479}"/>
                </a:ext>
              </a:extLst>
            </p:cNvPr>
            <p:cNvSpPr/>
            <p:nvPr/>
          </p:nvSpPr>
          <p:spPr>
            <a:xfrm>
              <a:off x="4655840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초기화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983F3033-4786-46C4-ABCA-2F740CC8C72A}"/>
              </a:ext>
            </a:extLst>
          </p:cNvPr>
          <p:cNvGrpSpPr/>
          <p:nvPr/>
        </p:nvGrpSpPr>
        <p:grpSpPr>
          <a:xfrm>
            <a:off x="4608050" y="2353146"/>
            <a:ext cx="3711546" cy="175761"/>
            <a:chOff x="4535523" y="2896789"/>
            <a:chExt cx="3711546" cy="175761"/>
          </a:xfrm>
        </p:grpSpPr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FC015706-DA43-46EA-AB5A-A011E65EEAF3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58" name="그룹 57">
                <a:extLst>
                  <a:ext uri="{FF2B5EF4-FFF2-40B4-BE49-F238E27FC236}">
                    <a16:creationId xmlns:a16="http://schemas.microsoft.com/office/drawing/2014/main" id="{7E15625B-BF95-4938-AB7A-EB8B87650059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64" name="직사각형 63">
                  <a:extLst>
                    <a:ext uri="{FF2B5EF4-FFF2-40B4-BE49-F238E27FC236}">
                      <a16:creationId xmlns:a16="http://schemas.microsoft.com/office/drawing/2014/main" id="{17964180-A3C3-4B3F-9A11-E0098315954E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65" name="직사각형 64">
                  <a:extLst>
                    <a:ext uri="{FF2B5EF4-FFF2-40B4-BE49-F238E27FC236}">
                      <a16:creationId xmlns:a16="http://schemas.microsoft.com/office/drawing/2014/main" id="{CDA9BED2-4B67-44B5-89AE-BC843BD7A729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66" name="그림 65">
                  <a:extLst>
                    <a:ext uri="{FF2B5EF4-FFF2-40B4-BE49-F238E27FC236}">
                      <a16:creationId xmlns:a16="http://schemas.microsoft.com/office/drawing/2014/main" id="{0F911C1A-474B-4DA2-A1A1-D1024A7BF0C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D8888C84-C0B6-4049-A8B2-D595A9A0CE04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22A7EC22-B540-4C26-9C1C-21CA1D6CC73B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D49528A2-49EB-463E-9717-58A4B78986BF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D3378456-5930-4FAD-961A-D05A5E54952B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4378045A-DAD2-4BD2-9E04-914531761F6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43" name="그룹 42">
              <a:extLst>
                <a:ext uri="{FF2B5EF4-FFF2-40B4-BE49-F238E27FC236}">
                  <a16:creationId xmlns:a16="http://schemas.microsoft.com/office/drawing/2014/main" id="{2E06B6CA-0DEC-4A4C-A433-C0A4566AD836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47" name="그룹 46">
                <a:extLst>
                  <a:ext uri="{FF2B5EF4-FFF2-40B4-BE49-F238E27FC236}">
                    <a16:creationId xmlns:a16="http://schemas.microsoft.com/office/drawing/2014/main" id="{570E0FCB-9D4A-48D7-B16B-73916C321CFA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55" name="직사각형 54">
                  <a:extLst>
                    <a:ext uri="{FF2B5EF4-FFF2-40B4-BE49-F238E27FC236}">
                      <a16:creationId xmlns:a16="http://schemas.microsoft.com/office/drawing/2014/main" id="{A4588019-C1FC-4BEB-92E0-13E388A50C0D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6" name="직사각형 55">
                  <a:extLst>
                    <a:ext uri="{FF2B5EF4-FFF2-40B4-BE49-F238E27FC236}">
                      <a16:creationId xmlns:a16="http://schemas.microsoft.com/office/drawing/2014/main" id="{4867D1BB-E04B-41E9-A7FB-4484860590EC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57" name="그림 56">
                  <a:extLst>
                    <a:ext uri="{FF2B5EF4-FFF2-40B4-BE49-F238E27FC236}">
                      <a16:creationId xmlns:a16="http://schemas.microsoft.com/office/drawing/2014/main" id="{6C27E1C3-BD84-4BD1-9745-942C784C06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48" name="직사각형 47">
                <a:extLst>
                  <a:ext uri="{FF2B5EF4-FFF2-40B4-BE49-F238E27FC236}">
                    <a16:creationId xmlns:a16="http://schemas.microsoft.com/office/drawing/2014/main" id="{F4F26D24-D3D9-4003-BFD2-F446A3B079AA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A5B2B1D5-F501-4975-B4B4-E514C082804A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350FD4EA-4737-4C94-B8C3-04C8AD7D8E1C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2" name="직사각형 51">
                <a:extLst>
                  <a:ext uri="{FF2B5EF4-FFF2-40B4-BE49-F238E27FC236}">
                    <a16:creationId xmlns:a16="http://schemas.microsoft.com/office/drawing/2014/main" id="{03676DAF-0119-494E-BEDE-C75E8C087971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D3148EB2-131E-4FD1-B259-BF4441263D36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45" name="사각형: 둥근 모서리 44">
              <a:extLst>
                <a:ext uri="{FF2B5EF4-FFF2-40B4-BE49-F238E27FC236}">
                  <a16:creationId xmlns:a16="http://schemas.microsoft.com/office/drawing/2014/main" id="{BC4EE193-D775-4A59-A843-52C8BFE00C03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46" name="그림 45">
              <a:extLst>
                <a:ext uri="{FF2B5EF4-FFF2-40B4-BE49-F238E27FC236}">
                  <a16:creationId xmlns:a16="http://schemas.microsoft.com/office/drawing/2014/main" id="{60C604BB-66D8-490D-BF10-31EEB2FCC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9203E3BD-4DA2-4BFD-BC34-5F47B33F731F}"/>
              </a:ext>
            </a:extLst>
          </p:cNvPr>
          <p:cNvSpPr/>
          <p:nvPr/>
        </p:nvSpPr>
        <p:spPr>
          <a:xfrm>
            <a:off x="4652851" y="2886934"/>
            <a:ext cx="3531382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우선순위에 따라 콤마로 구분하여 입력하세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8FE7C3D5-5898-4AAF-A9F5-F2404F9DF621}"/>
              </a:ext>
            </a:extLst>
          </p:cNvPr>
          <p:cNvSpPr/>
          <p:nvPr/>
        </p:nvSpPr>
        <p:spPr>
          <a:xfrm>
            <a:off x="5143080" y="5145186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A494924D-01CC-40D8-9977-7046D3ADFB90}"/>
              </a:ext>
            </a:extLst>
          </p:cNvPr>
          <p:cNvSpPr/>
          <p:nvPr/>
        </p:nvSpPr>
        <p:spPr>
          <a:xfrm>
            <a:off x="1110722" y="198607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CFD8EF0B-F07C-433B-98B3-F2A36FC1ECB0}"/>
              </a:ext>
            </a:extLst>
          </p:cNvPr>
          <p:cNvSpPr/>
          <p:nvPr/>
        </p:nvSpPr>
        <p:spPr>
          <a:xfrm>
            <a:off x="3856472" y="199094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5A3F3342-0A7D-4AEC-A6BE-E66F289425D2}"/>
              </a:ext>
            </a:extLst>
          </p:cNvPr>
          <p:cNvSpPr/>
          <p:nvPr/>
        </p:nvSpPr>
        <p:spPr>
          <a:xfrm>
            <a:off x="1110722" y="228264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FA3D4993-EA13-48D0-9983-844BC03C3B2C}"/>
              </a:ext>
            </a:extLst>
          </p:cNvPr>
          <p:cNvSpPr/>
          <p:nvPr/>
        </p:nvSpPr>
        <p:spPr>
          <a:xfrm>
            <a:off x="3856472" y="226178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F01B67DC-820E-4513-8B36-4683E2EDBC20}"/>
              </a:ext>
            </a:extLst>
          </p:cNvPr>
          <p:cNvSpPr/>
          <p:nvPr/>
        </p:nvSpPr>
        <p:spPr>
          <a:xfrm>
            <a:off x="1110722" y="254388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2B9C80F2-EAC6-4773-A888-4BECFA5E22E3}"/>
              </a:ext>
            </a:extLst>
          </p:cNvPr>
          <p:cNvSpPr/>
          <p:nvPr/>
        </p:nvSpPr>
        <p:spPr>
          <a:xfrm>
            <a:off x="1110722" y="28307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6241C526-6608-4316-A0A8-484463AC8B89}"/>
              </a:ext>
            </a:extLst>
          </p:cNvPr>
          <p:cNvSpPr/>
          <p:nvPr/>
        </p:nvSpPr>
        <p:spPr>
          <a:xfrm>
            <a:off x="3856472" y="28123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F8C2F1C2-DCDD-4B61-9B87-CE84ABB07866}"/>
              </a:ext>
            </a:extLst>
          </p:cNvPr>
          <p:cNvSpPr/>
          <p:nvPr/>
        </p:nvSpPr>
        <p:spPr>
          <a:xfrm>
            <a:off x="3647728" y="507138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B1792894-B1EA-429A-B988-955490175C34}"/>
              </a:ext>
            </a:extLst>
          </p:cNvPr>
          <p:cNvSpPr/>
          <p:nvPr/>
        </p:nvSpPr>
        <p:spPr>
          <a:xfrm>
            <a:off x="4391502" y="50690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B84459E6-B60F-44CE-8F27-3C9236586783}"/>
              </a:ext>
            </a:extLst>
          </p:cNvPr>
          <p:cNvSpPr/>
          <p:nvPr/>
        </p:nvSpPr>
        <p:spPr>
          <a:xfrm>
            <a:off x="5090471" y="507138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68" name="표 67">
            <a:extLst>
              <a:ext uri="{FF2B5EF4-FFF2-40B4-BE49-F238E27FC236}">
                <a16:creationId xmlns:a16="http://schemas.microsoft.com/office/drawing/2014/main" id="{49559DD2-F2BE-4DED-B901-5FFA074BE8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6740612"/>
              </p:ext>
            </p:extLst>
          </p:nvPr>
        </p:nvGraphicFramePr>
        <p:xfrm>
          <a:off x="1170559" y="3226102"/>
          <a:ext cx="7085684" cy="17150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8998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E5A4922F-BF75-4F2A-A1EB-915E09F36402}"/>
              </a:ext>
            </a:extLst>
          </p:cNvPr>
          <p:cNvSpPr/>
          <p:nvPr/>
        </p:nvSpPr>
        <p:spPr>
          <a:xfrm>
            <a:off x="1126293" y="38646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5D4E5F3D-70A0-46B3-B1BE-4D942735ECCE}"/>
              </a:ext>
            </a:extLst>
          </p:cNvPr>
          <p:cNvSpPr/>
          <p:nvPr/>
        </p:nvSpPr>
        <p:spPr>
          <a:xfrm>
            <a:off x="8973779" y="0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45199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1471968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 입수 뉴스 일괄등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6144016"/>
              </p:ext>
            </p:extLst>
          </p:nvPr>
        </p:nvGraphicFramePr>
        <p:xfrm>
          <a:off x="9267391" y="759197"/>
          <a:ext cx="2922885" cy="54129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2153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고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 불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338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번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등록 후 자동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번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1644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정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팩트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RSS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링크를 통해 자동 입력되는 정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표이미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만 리스트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 불가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6884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계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로 구분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726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1963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전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설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2687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2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를 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일 경우 활성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시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부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999-12-31 23:59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달력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지정 가능한 달력 출력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설정 사용 해제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 불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설정 사용 해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공개 선택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공개대상 복수 선택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68565"/>
                  </a:ext>
                </a:extLst>
              </a:tr>
              <a:tr h="2557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가능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17398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키워드는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까지 콤마로 구분하여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659808"/>
                  </a:ext>
                </a:extLst>
              </a:tr>
              <a:tr h="1325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복수 선택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당 토픽 리스트는 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M011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해 관리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1631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 완료 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체크된 필수항목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입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946405"/>
                  </a:ext>
                </a:extLst>
              </a:tr>
              <a:tr h="1217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지워지고 초기화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3968229"/>
                  </a:ext>
                </a:extLst>
              </a:tr>
              <a:tr h="15238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취소 버튼 클릭 시 팝업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806038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18C08A05-194B-4EDE-8402-AC48D2C49371}"/>
              </a:ext>
            </a:extLst>
          </p:cNvPr>
          <p:cNvSpPr/>
          <p:nvPr/>
        </p:nvSpPr>
        <p:spPr>
          <a:xfrm>
            <a:off x="1117251" y="1534511"/>
            <a:ext cx="7183959" cy="5059329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21194B10-A806-44D7-BE61-A68F8072ADCD}"/>
              </a:ext>
            </a:extLst>
          </p:cNvPr>
          <p:cNvSpPr/>
          <p:nvPr/>
        </p:nvSpPr>
        <p:spPr>
          <a:xfrm>
            <a:off x="1117251" y="1260849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입수 뉴스 일괄 등록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4" name="표 12">
            <a:extLst>
              <a:ext uri="{FF2B5EF4-FFF2-40B4-BE49-F238E27FC236}">
                <a16:creationId xmlns:a16="http://schemas.microsoft.com/office/drawing/2014/main" id="{580B27E1-B882-4E40-B497-1D99BFE669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2476944"/>
              </p:ext>
            </p:extLst>
          </p:nvPr>
        </p:nvGraphicFramePr>
        <p:xfrm>
          <a:off x="1170559" y="3164648"/>
          <a:ext cx="7085681" cy="13186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7737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987830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667827">
                  <a:extLst>
                    <a:ext uri="{9D8B030D-6E8A-4147-A177-3AD203B41FA5}">
                      <a16:colId xmlns:a16="http://schemas.microsoft.com/office/drawing/2014/main" val="3187039777"/>
                    </a:ext>
                  </a:extLst>
                </a:gridCol>
                <a:gridCol w="3652653">
                  <a:extLst>
                    <a:ext uri="{9D8B030D-6E8A-4147-A177-3AD203B41FA5}">
                      <a16:colId xmlns:a16="http://schemas.microsoft.com/office/drawing/2014/main" val="1628069303"/>
                    </a:ext>
                  </a:extLst>
                </a:gridCol>
              </a:tblGrid>
              <a:tr h="263725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정보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바로보기          </a:t>
                      </a:r>
                      <a:r>
                        <a:rPr lang="ko-KR" altLang="en-US" sz="800" b="1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링크연결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63725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6372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 기간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3029140"/>
                  </a:ext>
                </a:extLst>
              </a:tr>
              <a:tr h="26372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 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1425982"/>
                  </a:ext>
                </a:extLst>
              </a:tr>
              <a:tr h="26372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가능여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가능            ○ 불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키워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313262"/>
                  </a:ext>
                </a:extLst>
              </a:tr>
            </a:tbl>
          </a:graphicData>
        </a:graphic>
      </p:graphicFrame>
      <p:grpSp>
        <p:nvGrpSpPr>
          <p:cNvPr id="29" name="그룹 28">
            <a:extLst>
              <a:ext uri="{FF2B5EF4-FFF2-40B4-BE49-F238E27FC236}">
                <a16:creationId xmlns:a16="http://schemas.microsoft.com/office/drawing/2014/main" id="{D134308C-D5BF-499E-8E6D-9E6233B791A2}"/>
              </a:ext>
            </a:extLst>
          </p:cNvPr>
          <p:cNvGrpSpPr/>
          <p:nvPr/>
        </p:nvGrpSpPr>
        <p:grpSpPr>
          <a:xfrm>
            <a:off x="2021319" y="3475786"/>
            <a:ext cx="1067418" cy="173837"/>
            <a:chOff x="1260034" y="1777282"/>
            <a:chExt cx="1067418" cy="173837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205FC521-E3B9-4333-8190-F3602BE1C79A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C4C12141-1FE7-4898-A045-94B6926D2BC5}"/>
                </a:ext>
              </a:extLst>
            </p:cNvPr>
            <p:cNvSpPr/>
            <p:nvPr/>
          </p:nvSpPr>
          <p:spPr>
            <a:xfrm>
              <a:off x="2111428" y="1777282"/>
              <a:ext cx="216024" cy="173836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D03392FB-CC49-44FD-9450-7F6315DE98B2}"/>
              </a:ext>
            </a:extLst>
          </p:cNvPr>
          <p:cNvGrpSpPr/>
          <p:nvPr/>
        </p:nvGrpSpPr>
        <p:grpSpPr>
          <a:xfrm>
            <a:off x="4652850" y="3475467"/>
            <a:ext cx="1065951" cy="172800"/>
            <a:chOff x="1260034" y="1778319"/>
            <a:chExt cx="1065951" cy="172800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8490D904-D5C1-4393-86DF-AF77E7FF2AB5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8786C1FB-38D5-4DB3-836C-A44C094ECC57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983F3033-4786-46C4-ABCA-2F740CC8C72A}"/>
              </a:ext>
            </a:extLst>
          </p:cNvPr>
          <p:cNvGrpSpPr/>
          <p:nvPr/>
        </p:nvGrpSpPr>
        <p:grpSpPr>
          <a:xfrm>
            <a:off x="4608050" y="3740988"/>
            <a:ext cx="3711546" cy="175761"/>
            <a:chOff x="4535523" y="2896789"/>
            <a:chExt cx="3711546" cy="175761"/>
          </a:xfrm>
        </p:grpSpPr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FC015706-DA43-46EA-AB5A-A011E65EEAF3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58" name="그룹 57">
                <a:extLst>
                  <a:ext uri="{FF2B5EF4-FFF2-40B4-BE49-F238E27FC236}">
                    <a16:creationId xmlns:a16="http://schemas.microsoft.com/office/drawing/2014/main" id="{7E15625B-BF95-4938-AB7A-EB8B87650059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64" name="직사각형 63">
                  <a:extLst>
                    <a:ext uri="{FF2B5EF4-FFF2-40B4-BE49-F238E27FC236}">
                      <a16:creationId xmlns:a16="http://schemas.microsoft.com/office/drawing/2014/main" id="{17964180-A3C3-4B3F-9A11-E0098315954E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65" name="직사각형 64">
                  <a:extLst>
                    <a:ext uri="{FF2B5EF4-FFF2-40B4-BE49-F238E27FC236}">
                      <a16:creationId xmlns:a16="http://schemas.microsoft.com/office/drawing/2014/main" id="{CDA9BED2-4B67-44B5-89AE-BC843BD7A729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66" name="그림 65">
                  <a:extLst>
                    <a:ext uri="{FF2B5EF4-FFF2-40B4-BE49-F238E27FC236}">
                      <a16:creationId xmlns:a16="http://schemas.microsoft.com/office/drawing/2014/main" id="{0F911C1A-474B-4DA2-A1A1-D1024A7BF0C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D8888C84-C0B6-4049-A8B2-D595A9A0CE04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22A7EC22-B540-4C26-9C1C-21CA1D6CC73B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D49528A2-49EB-463E-9717-58A4B78986BF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D3378456-5930-4FAD-961A-D05A5E54952B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4378045A-DAD2-4BD2-9E04-914531761F6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43" name="그룹 42">
              <a:extLst>
                <a:ext uri="{FF2B5EF4-FFF2-40B4-BE49-F238E27FC236}">
                  <a16:creationId xmlns:a16="http://schemas.microsoft.com/office/drawing/2014/main" id="{2E06B6CA-0DEC-4A4C-A433-C0A4566AD836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47" name="그룹 46">
                <a:extLst>
                  <a:ext uri="{FF2B5EF4-FFF2-40B4-BE49-F238E27FC236}">
                    <a16:creationId xmlns:a16="http://schemas.microsoft.com/office/drawing/2014/main" id="{570E0FCB-9D4A-48D7-B16B-73916C321CFA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55" name="직사각형 54">
                  <a:extLst>
                    <a:ext uri="{FF2B5EF4-FFF2-40B4-BE49-F238E27FC236}">
                      <a16:creationId xmlns:a16="http://schemas.microsoft.com/office/drawing/2014/main" id="{A4588019-C1FC-4BEB-92E0-13E388A50C0D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6" name="직사각형 55">
                  <a:extLst>
                    <a:ext uri="{FF2B5EF4-FFF2-40B4-BE49-F238E27FC236}">
                      <a16:creationId xmlns:a16="http://schemas.microsoft.com/office/drawing/2014/main" id="{4867D1BB-E04B-41E9-A7FB-4484860590EC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57" name="그림 56">
                  <a:extLst>
                    <a:ext uri="{FF2B5EF4-FFF2-40B4-BE49-F238E27FC236}">
                      <a16:creationId xmlns:a16="http://schemas.microsoft.com/office/drawing/2014/main" id="{6C27E1C3-BD84-4BD1-9745-942C784C06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48" name="직사각형 47">
                <a:extLst>
                  <a:ext uri="{FF2B5EF4-FFF2-40B4-BE49-F238E27FC236}">
                    <a16:creationId xmlns:a16="http://schemas.microsoft.com/office/drawing/2014/main" id="{F4F26D24-D3D9-4003-BFD2-F446A3B079AA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A5B2B1D5-F501-4975-B4B4-E514C082804A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350FD4EA-4737-4C94-B8C3-04C8AD7D8E1C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2" name="직사각형 51">
                <a:extLst>
                  <a:ext uri="{FF2B5EF4-FFF2-40B4-BE49-F238E27FC236}">
                    <a16:creationId xmlns:a16="http://schemas.microsoft.com/office/drawing/2014/main" id="{03676DAF-0119-494E-BEDE-C75E8C087971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D3148EB2-131E-4FD1-B259-BF4441263D36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45" name="사각형: 둥근 모서리 44">
              <a:extLst>
                <a:ext uri="{FF2B5EF4-FFF2-40B4-BE49-F238E27FC236}">
                  <a16:creationId xmlns:a16="http://schemas.microsoft.com/office/drawing/2014/main" id="{BC4EE193-D775-4A59-A843-52C8BFE00C03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46" name="그림 45">
              <a:extLst>
                <a:ext uri="{FF2B5EF4-FFF2-40B4-BE49-F238E27FC236}">
                  <a16:creationId xmlns:a16="http://schemas.microsoft.com/office/drawing/2014/main" id="{60C604BB-66D8-490D-BF10-31EEB2FCC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9203E3BD-4DA2-4BFD-BC34-5F47B33F731F}"/>
              </a:ext>
            </a:extLst>
          </p:cNvPr>
          <p:cNvSpPr/>
          <p:nvPr/>
        </p:nvSpPr>
        <p:spPr>
          <a:xfrm>
            <a:off x="4652851" y="4274776"/>
            <a:ext cx="3531382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우선순위에 따라 콤마로 구분하여 입력하세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ECCFAD80-EBC7-467A-AFDB-E3C65888E3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612592"/>
              </p:ext>
            </p:extLst>
          </p:nvPr>
        </p:nvGraphicFramePr>
        <p:xfrm>
          <a:off x="1179466" y="1596242"/>
          <a:ext cx="7085682" cy="14788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81026">
                  <a:extLst>
                    <a:ext uri="{9D8B030D-6E8A-4147-A177-3AD203B41FA5}">
                      <a16:colId xmlns:a16="http://schemas.microsoft.com/office/drawing/2014/main" val="2133692976"/>
                    </a:ext>
                  </a:extLst>
                </a:gridCol>
                <a:gridCol w="2511372">
                  <a:extLst>
                    <a:ext uri="{9D8B030D-6E8A-4147-A177-3AD203B41FA5}">
                      <a16:colId xmlns:a16="http://schemas.microsoft.com/office/drawing/2014/main" val="123967620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285963169"/>
                    </a:ext>
                  </a:extLst>
                </a:gridCol>
                <a:gridCol w="1449069">
                  <a:extLst>
                    <a:ext uri="{9D8B030D-6E8A-4147-A177-3AD203B41FA5}">
                      <a16:colId xmlns:a16="http://schemas.microsoft.com/office/drawing/2014/main" val="3786829863"/>
                    </a:ext>
                  </a:extLst>
                </a:gridCol>
                <a:gridCol w="720079">
                  <a:extLst>
                    <a:ext uri="{9D8B030D-6E8A-4147-A177-3AD203B41FA5}">
                      <a16:colId xmlns:a16="http://schemas.microsoft.com/office/drawing/2014/main" val="3330794837"/>
                    </a:ext>
                  </a:extLst>
                </a:gridCol>
              </a:tblGrid>
              <a:tr h="2761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종류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번호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377753"/>
                  </a:ext>
                </a:extLst>
              </a:tr>
              <a:tr h="0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3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7457120"/>
                  </a:ext>
                </a:extLst>
              </a:tr>
              <a:tr h="18114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정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RSS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5422021"/>
                  </a:ext>
                </a:extLst>
              </a:tr>
              <a:tr h="1838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일자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제목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이미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5948186"/>
                  </a:ext>
                </a:extLst>
              </a:tr>
              <a:tr h="2434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0914655"/>
                  </a:ext>
                </a:extLst>
              </a:tr>
              <a:tr h="2434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6216380"/>
                  </a:ext>
                </a:extLst>
              </a:tr>
              <a:tr h="2434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13124"/>
                  </a:ext>
                </a:extLst>
              </a:tr>
            </a:tbl>
          </a:graphicData>
        </a:graphic>
      </p:graphicFrame>
      <p:pic>
        <p:nvPicPr>
          <p:cNvPr id="69" name="그림 68">
            <a:extLst>
              <a:ext uri="{FF2B5EF4-FFF2-40B4-BE49-F238E27FC236}">
                <a16:creationId xmlns:a16="http://schemas.microsoft.com/office/drawing/2014/main" id="{ABB1552E-6683-483B-8BA6-58D08BED78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29059" y="2374980"/>
            <a:ext cx="324201" cy="169540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0E14F838-9617-4AAF-9C8A-E2FA4901BD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29060" y="2618194"/>
            <a:ext cx="324201" cy="180437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C90BF82-1B62-472A-9312-CCF2B891B2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64849" y="2852350"/>
            <a:ext cx="247159" cy="198000"/>
          </a:xfrm>
          <a:prstGeom prst="rect">
            <a:avLst/>
          </a:prstGeom>
        </p:spPr>
      </p:pic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AE4C30D5-EAD9-40AC-84D4-F8E08A4E34E3}"/>
              </a:ext>
            </a:extLst>
          </p:cNvPr>
          <p:cNvSpPr/>
          <p:nvPr/>
        </p:nvSpPr>
        <p:spPr>
          <a:xfrm>
            <a:off x="1143404" y="15699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6D7A83D1-585A-4AB8-984F-06D0D966D3C5}"/>
              </a:ext>
            </a:extLst>
          </p:cNvPr>
          <p:cNvSpPr/>
          <p:nvPr/>
        </p:nvSpPr>
        <p:spPr>
          <a:xfrm>
            <a:off x="6157470" y="1652504"/>
            <a:ext cx="128731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B32A2FF4-FD8A-48A0-B82D-AA5DA240ADD5}"/>
              </a:ext>
            </a:extLst>
          </p:cNvPr>
          <p:cNvSpPr/>
          <p:nvPr/>
        </p:nvSpPr>
        <p:spPr>
          <a:xfrm>
            <a:off x="4822677" y="15699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2" name="사각형: 둥근 모서리 71">
            <a:extLst>
              <a:ext uri="{FF2B5EF4-FFF2-40B4-BE49-F238E27FC236}">
                <a16:creationId xmlns:a16="http://schemas.microsoft.com/office/drawing/2014/main" id="{60D8788C-7025-495D-BB89-42CD16026500}"/>
              </a:ext>
            </a:extLst>
          </p:cNvPr>
          <p:cNvSpPr/>
          <p:nvPr/>
        </p:nvSpPr>
        <p:spPr>
          <a:xfrm>
            <a:off x="4235883" y="188259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E9CB0E4E-9DB3-4895-A137-C86DF0A71043}"/>
              </a:ext>
            </a:extLst>
          </p:cNvPr>
          <p:cNvSpPr/>
          <p:nvPr/>
        </p:nvSpPr>
        <p:spPr>
          <a:xfrm>
            <a:off x="1229936" y="2382600"/>
            <a:ext cx="1080120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2023-07-03 15:48:44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5791B270-673F-45CE-99D1-5194173CAE70}"/>
              </a:ext>
            </a:extLst>
          </p:cNvPr>
          <p:cNvSpPr/>
          <p:nvPr/>
        </p:nvSpPr>
        <p:spPr>
          <a:xfrm>
            <a:off x="1229935" y="2623310"/>
            <a:ext cx="1080120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2023-07-03 15:19:49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91EA0F03-0949-444E-8541-44E5DF08C678}"/>
              </a:ext>
            </a:extLst>
          </p:cNvPr>
          <p:cNvSpPr/>
          <p:nvPr/>
        </p:nvSpPr>
        <p:spPr>
          <a:xfrm>
            <a:off x="1229934" y="2865657"/>
            <a:ext cx="1080120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2023-07-03 15:17:26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E21C7A0F-0F5F-44D1-B54B-CC11BE6B15AC}"/>
              </a:ext>
            </a:extLst>
          </p:cNvPr>
          <p:cNvSpPr/>
          <p:nvPr/>
        </p:nvSpPr>
        <p:spPr>
          <a:xfrm>
            <a:off x="2394735" y="2384947"/>
            <a:ext cx="4073423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대한상의 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ESG 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경영 포럼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, </a:t>
            </a:r>
            <a:r>
              <a:rPr lang="ko-KR" altLang="en-US" sz="800" b="0" kern="1200" spc="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애크테크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관심 급부상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…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인증 문제 해결이 과제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8CB0543D-4F1A-4F54-8082-4E7965212A76}"/>
              </a:ext>
            </a:extLst>
          </p:cNvPr>
          <p:cNvSpPr/>
          <p:nvPr/>
        </p:nvSpPr>
        <p:spPr>
          <a:xfrm>
            <a:off x="2396535" y="2622719"/>
            <a:ext cx="4073423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[</a:t>
            </a:r>
            <a:r>
              <a:rPr lang="ko-KR" altLang="en-US" sz="800" b="0" kern="1200" spc="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그린워싱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</a:t>
            </a:r>
            <a:r>
              <a:rPr lang="ko-KR" altLang="en-US" sz="800" b="0" kern="1200" spc="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탐사대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] 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인공지능으로 기후 문제 해결하는 혁신 스타트업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9CE6F1A2-754F-468F-AD8F-85ABDD2BAADF}"/>
              </a:ext>
            </a:extLst>
          </p:cNvPr>
          <p:cNvSpPr/>
          <p:nvPr/>
        </p:nvSpPr>
        <p:spPr>
          <a:xfrm>
            <a:off x="2396536" y="2868302"/>
            <a:ext cx="4073423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[</a:t>
            </a:r>
            <a:r>
              <a:rPr lang="ko-KR" altLang="en-US" sz="800" b="0" kern="1200" spc="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그린워싱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</a:t>
            </a:r>
            <a:r>
              <a:rPr lang="ko-KR" altLang="en-US" sz="800" b="0" kern="1200" spc="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탐사대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] 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글로벌 음반 산업의 탄소중립 노력은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?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2423CB92-3B22-4BA8-9B8E-29CE66517C5E}"/>
              </a:ext>
            </a:extLst>
          </p:cNvPr>
          <p:cNvSpPr/>
          <p:nvPr/>
        </p:nvSpPr>
        <p:spPr>
          <a:xfrm>
            <a:off x="1091549" y="33987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1" name="사각형: 둥근 모서리 80">
            <a:extLst>
              <a:ext uri="{FF2B5EF4-FFF2-40B4-BE49-F238E27FC236}">
                <a16:creationId xmlns:a16="http://schemas.microsoft.com/office/drawing/2014/main" id="{EFA6DF91-1D64-4DD0-BF4A-192921E85C6B}"/>
              </a:ext>
            </a:extLst>
          </p:cNvPr>
          <p:cNvSpPr/>
          <p:nvPr/>
        </p:nvSpPr>
        <p:spPr>
          <a:xfrm>
            <a:off x="3858341" y="33987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9BB969DA-6B96-47F6-AACC-EF693DB35DE2}"/>
              </a:ext>
            </a:extLst>
          </p:cNvPr>
          <p:cNvSpPr/>
          <p:nvPr/>
        </p:nvSpPr>
        <p:spPr>
          <a:xfrm>
            <a:off x="1091549" y="36710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964EF5E0-F8B3-4F52-BF81-D73C01AF49AD}"/>
              </a:ext>
            </a:extLst>
          </p:cNvPr>
          <p:cNvSpPr/>
          <p:nvPr/>
        </p:nvSpPr>
        <p:spPr>
          <a:xfrm>
            <a:off x="3858341" y="366729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4" name="사각형: 둥근 모서리 83">
            <a:extLst>
              <a:ext uri="{FF2B5EF4-FFF2-40B4-BE49-F238E27FC236}">
                <a16:creationId xmlns:a16="http://schemas.microsoft.com/office/drawing/2014/main" id="{AB92F376-3B87-4E9E-87D8-EF98572B410D}"/>
              </a:ext>
            </a:extLst>
          </p:cNvPr>
          <p:cNvSpPr/>
          <p:nvPr/>
        </p:nvSpPr>
        <p:spPr>
          <a:xfrm>
            <a:off x="1091549" y="394021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F576EBB5-58BC-4D51-B548-A308D813C412}"/>
              </a:ext>
            </a:extLst>
          </p:cNvPr>
          <p:cNvSpPr/>
          <p:nvPr/>
        </p:nvSpPr>
        <p:spPr>
          <a:xfrm>
            <a:off x="1091549" y="41934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CDF58B03-6848-418F-8241-0E3C14D32368}"/>
              </a:ext>
            </a:extLst>
          </p:cNvPr>
          <p:cNvSpPr/>
          <p:nvPr/>
        </p:nvSpPr>
        <p:spPr>
          <a:xfrm>
            <a:off x="3858341" y="41934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BF33BF40-CBFF-4C1A-8386-B469A4DDFB96}"/>
              </a:ext>
            </a:extLst>
          </p:cNvPr>
          <p:cNvGrpSpPr/>
          <p:nvPr/>
        </p:nvGrpSpPr>
        <p:grpSpPr>
          <a:xfrm>
            <a:off x="3706865" y="6353582"/>
            <a:ext cx="1377078" cy="180000"/>
            <a:chOff x="3931297" y="6465659"/>
            <a:chExt cx="1377078" cy="180000"/>
          </a:xfrm>
        </p:grpSpPr>
        <p:sp>
          <p:nvSpPr>
            <p:cNvPr id="90" name="사각형: 둥근 모서리 89">
              <a:extLst>
                <a:ext uri="{FF2B5EF4-FFF2-40B4-BE49-F238E27FC236}">
                  <a16:creationId xmlns:a16="http://schemas.microsoft.com/office/drawing/2014/main" id="{7AF02774-3BA2-4BE2-A9DA-16CFC32930F7}"/>
                </a:ext>
              </a:extLst>
            </p:cNvPr>
            <p:cNvSpPr/>
            <p:nvPr/>
          </p:nvSpPr>
          <p:spPr>
            <a:xfrm>
              <a:off x="3931297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</a:t>
              </a:r>
            </a:p>
          </p:txBody>
        </p:sp>
        <p:sp>
          <p:nvSpPr>
            <p:cNvPr id="91" name="사각형: 둥근 모서리 90">
              <a:extLst>
                <a:ext uri="{FF2B5EF4-FFF2-40B4-BE49-F238E27FC236}">
                  <a16:creationId xmlns:a16="http://schemas.microsoft.com/office/drawing/2014/main" id="{5E55460A-35B7-4B5F-9B83-ECFC7FBBF3DA}"/>
                </a:ext>
              </a:extLst>
            </p:cNvPr>
            <p:cNvSpPr/>
            <p:nvPr/>
          </p:nvSpPr>
          <p:spPr>
            <a:xfrm>
              <a:off x="4655840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초기화</a:t>
              </a:r>
            </a:p>
          </p:txBody>
        </p:sp>
      </p:grpSp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F03EBA8E-C56E-45A5-8890-3AB1669D4369}"/>
              </a:ext>
            </a:extLst>
          </p:cNvPr>
          <p:cNvSpPr/>
          <p:nvPr/>
        </p:nvSpPr>
        <p:spPr>
          <a:xfrm>
            <a:off x="5143080" y="6353582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sp>
        <p:nvSpPr>
          <p:cNvPr id="93" name="사각형: 둥근 모서리 92">
            <a:extLst>
              <a:ext uri="{FF2B5EF4-FFF2-40B4-BE49-F238E27FC236}">
                <a16:creationId xmlns:a16="http://schemas.microsoft.com/office/drawing/2014/main" id="{ACBC200D-0A85-4E7E-AFCB-01DA33C35BF8}"/>
              </a:ext>
            </a:extLst>
          </p:cNvPr>
          <p:cNvSpPr/>
          <p:nvPr/>
        </p:nvSpPr>
        <p:spPr>
          <a:xfrm>
            <a:off x="3647728" y="62797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4" name="사각형: 둥근 모서리 93">
            <a:extLst>
              <a:ext uri="{FF2B5EF4-FFF2-40B4-BE49-F238E27FC236}">
                <a16:creationId xmlns:a16="http://schemas.microsoft.com/office/drawing/2014/main" id="{BFB52008-8DFF-4850-B354-462494979D2F}"/>
              </a:ext>
            </a:extLst>
          </p:cNvPr>
          <p:cNvSpPr/>
          <p:nvPr/>
        </p:nvSpPr>
        <p:spPr>
          <a:xfrm>
            <a:off x="4391502" y="62774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5" name="사각형: 둥근 모서리 94">
            <a:extLst>
              <a:ext uri="{FF2B5EF4-FFF2-40B4-BE49-F238E27FC236}">
                <a16:creationId xmlns:a16="http://schemas.microsoft.com/office/drawing/2014/main" id="{E392D58E-8D01-4F1B-8583-E5DB8AC57FAC}"/>
              </a:ext>
            </a:extLst>
          </p:cNvPr>
          <p:cNvSpPr/>
          <p:nvPr/>
        </p:nvSpPr>
        <p:spPr>
          <a:xfrm>
            <a:off x="5090471" y="62797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88" name="표 87">
            <a:extLst>
              <a:ext uri="{FF2B5EF4-FFF2-40B4-BE49-F238E27FC236}">
                <a16:creationId xmlns:a16="http://schemas.microsoft.com/office/drawing/2014/main" id="{75A41623-849E-4E3F-9AB9-5E0B92F66E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5973676"/>
              </p:ext>
            </p:extLst>
          </p:nvPr>
        </p:nvGraphicFramePr>
        <p:xfrm>
          <a:off x="1170559" y="4581128"/>
          <a:ext cx="7085684" cy="17150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8998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sp>
        <p:nvSpPr>
          <p:cNvPr id="96" name="직사각형 95">
            <a:extLst>
              <a:ext uri="{FF2B5EF4-FFF2-40B4-BE49-F238E27FC236}">
                <a16:creationId xmlns:a16="http://schemas.microsoft.com/office/drawing/2014/main" id="{3B876C76-E43C-4828-90BD-DC2DCFE32CE0}"/>
              </a:ext>
            </a:extLst>
          </p:cNvPr>
          <p:cNvSpPr/>
          <p:nvPr/>
        </p:nvSpPr>
        <p:spPr>
          <a:xfrm>
            <a:off x="8973779" y="0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7CB099F4-D62C-4F76-B029-8FDBEDE708F9}"/>
              </a:ext>
            </a:extLst>
          </p:cNvPr>
          <p:cNvSpPr/>
          <p:nvPr/>
        </p:nvSpPr>
        <p:spPr>
          <a:xfrm>
            <a:off x="1104530" y="52282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242596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등록 뉴스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8667960"/>
              </p:ext>
            </p:extLst>
          </p:nvPr>
        </p:nvGraphicFramePr>
        <p:xfrm>
          <a:off x="345126" y="1459939"/>
          <a:ext cx="8630652" cy="1834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58386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240360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3167810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발간일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제목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 분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5363857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○ 전체공개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대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 가능 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 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불가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483089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4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5" name="직사각형 84">
            <a:extLst>
              <a:ext uri="{FF2B5EF4-FFF2-40B4-BE49-F238E27FC236}">
                <a16:creationId xmlns:a16="http://schemas.microsoft.com/office/drawing/2014/main" id="{C3E5D00F-CF4B-4C5E-BC5A-8812BEDD9341}"/>
              </a:ext>
            </a:extLst>
          </p:cNvPr>
          <p:cNvSpPr/>
          <p:nvPr/>
        </p:nvSpPr>
        <p:spPr>
          <a:xfrm>
            <a:off x="6549718" y="1495374"/>
            <a:ext cx="779441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73D7B8F0-497D-4292-9F8C-E0111B9E5BF1}"/>
              </a:ext>
            </a:extLst>
          </p:cNvPr>
          <p:cNvGrpSpPr/>
          <p:nvPr/>
        </p:nvGrpSpPr>
        <p:grpSpPr>
          <a:xfrm>
            <a:off x="2797777" y="1500348"/>
            <a:ext cx="1749536" cy="180527"/>
            <a:chOff x="1208287" y="1514945"/>
            <a:chExt cx="1749536" cy="180527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2CB77E35-E495-48AC-933C-78143479AE3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4105991-6501-4168-8BA9-5D85EFD54B0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2F827555-4081-4261-9A9A-2148AC4049B3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01070033-EF9A-4A47-9A9E-D68F061C2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FE848C4E-6177-4ED8-8E14-42C73B29F256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26FC3911-9203-4AAB-9BBC-4B1B8159950D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0DD98797-A83A-434A-AD2E-BE76B395A606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>
                <a:extLst>
                  <a:ext uri="{FF2B5EF4-FFF2-40B4-BE49-F238E27FC236}">
                    <a16:creationId xmlns:a16="http://schemas.microsoft.com/office/drawing/2014/main" id="{CE0F8CC6-8026-4DAE-B6B9-8F986ED1D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0864696-D459-493D-8276-58432E01067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6BC7ADE-7CA8-4D08-BC41-B046D960B4B0}"/>
                </a:ext>
              </a:extLst>
            </p:cNvPr>
            <p:cNvSpPr/>
            <p:nvPr/>
          </p:nvSpPr>
          <p:spPr>
            <a:xfrm>
              <a:off x="1208287" y="1522517"/>
              <a:ext cx="723126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7E22A3D3-8F70-4E7D-995D-32C1C218FF75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271AAF07-5108-448C-B231-2D3CCF49DDD9}"/>
              </a:ext>
            </a:extLst>
          </p:cNvPr>
          <p:cNvSpPr/>
          <p:nvPr/>
        </p:nvSpPr>
        <p:spPr>
          <a:xfrm>
            <a:off x="2849523" y="1752634"/>
            <a:ext cx="169778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122356"/>
              </p:ext>
            </p:extLst>
          </p:nvPr>
        </p:nvGraphicFramePr>
        <p:xfrm>
          <a:off x="336268" y="3433192"/>
          <a:ext cx="8647316" cy="16532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5543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10544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297902">
                  <a:extLst>
                    <a:ext uri="{9D8B030D-6E8A-4147-A177-3AD203B41FA5}">
                      <a16:colId xmlns:a16="http://schemas.microsoft.com/office/drawing/2014/main" val="3507830839"/>
                    </a:ext>
                  </a:extLst>
                </a:gridCol>
                <a:gridCol w="645263">
                  <a:extLst>
                    <a:ext uri="{9D8B030D-6E8A-4147-A177-3AD203B41FA5}">
                      <a16:colId xmlns:a16="http://schemas.microsoft.com/office/drawing/2014/main" val="1218332715"/>
                    </a:ext>
                  </a:extLst>
                </a:gridCol>
                <a:gridCol w="741173">
                  <a:extLst>
                    <a:ext uri="{9D8B030D-6E8A-4147-A177-3AD203B41FA5}">
                      <a16:colId xmlns:a16="http://schemas.microsoft.com/office/drawing/2014/main" val="3063414131"/>
                    </a:ext>
                  </a:extLst>
                </a:gridCol>
                <a:gridCol w="3435291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655336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</a:tblGrid>
              <a:tr h="298415">
                <a:tc gridSpan="10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10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204097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종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제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발간일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strike="noStrike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strike="noStrike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작성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strike="noStrike" kern="1200" spc="-10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A00012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한상의 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포럼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애그테크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관심 급부상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…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 문제 해결이 과제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5:48:44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팩트온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변종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MYP00005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린워싱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탐사대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공지능으로 기후 문제 해결하는 혁신 스타트업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5:19:49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10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팩트온</a:t>
                      </a:r>
                      <a:endParaRPr lang="ko-KR" altLang="en-US" sz="800" b="0" kern="1200" spc="-10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김환이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212089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용중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102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린워싱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탐사대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글로벌 음반 산업의 탄소중립 노력은</a:t>
                      </a: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?</a:t>
                      </a:r>
                      <a:endParaRPr lang="ko-KR" altLang="en-US" sz="800" b="0" kern="1200" spc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7-03 15:17:26</a:t>
                      </a:r>
                      <a:endParaRPr lang="ko-KR" altLang="en-US" sz="800" b="0" kern="1200" spc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팩트온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양윤혁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E2B63736-1B61-417B-A244-A2169D993191}"/>
              </a:ext>
            </a:extLst>
          </p:cNvPr>
          <p:cNvGrpSpPr/>
          <p:nvPr/>
        </p:nvGrpSpPr>
        <p:grpSpPr>
          <a:xfrm>
            <a:off x="1770709" y="2000831"/>
            <a:ext cx="1033611" cy="172800"/>
            <a:chOff x="1260034" y="1778319"/>
            <a:chExt cx="1033611" cy="172800"/>
          </a:xfrm>
        </p:grpSpPr>
        <p:sp>
          <p:nvSpPr>
            <p:cNvPr id="239" name="직사각형 238">
              <a:extLst>
                <a:ext uri="{FF2B5EF4-FFF2-40B4-BE49-F238E27FC236}">
                  <a16:creationId xmlns:a16="http://schemas.microsoft.com/office/drawing/2014/main" id="{FA4E2223-1DD4-4D4F-8B83-44925D2E5316}"/>
                </a:ext>
              </a:extLst>
            </p:cNvPr>
            <p:cNvSpPr/>
            <p:nvPr/>
          </p:nvSpPr>
          <p:spPr>
            <a:xfrm>
              <a:off x="1260034" y="1778319"/>
              <a:ext cx="81758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0" name="직사각형 239">
              <a:extLst>
                <a:ext uri="{FF2B5EF4-FFF2-40B4-BE49-F238E27FC236}">
                  <a16:creationId xmlns:a16="http://schemas.microsoft.com/office/drawing/2014/main" id="{7257429E-2A65-4FEF-9E79-31FDAAC07625}"/>
                </a:ext>
              </a:extLst>
            </p:cNvPr>
            <p:cNvSpPr/>
            <p:nvPr/>
          </p:nvSpPr>
          <p:spPr>
            <a:xfrm>
              <a:off x="207762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2CFC1E6E-8F0B-4450-BAF1-84CE7EC64C15}"/>
              </a:ext>
            </a:extLst>
          </p:cNvPr>
          <p:cNvGrpSpPr/>
          <p:nvPr/>
        </p:nvGrpSpPr>
        <p:grpSpPr>
          <a:xfrm>
            <a:off x="5861433" y="2001387"/>
            <a:ext cx="1001577" cy="172800"/>
            <a:chOff x="1324408" y="1778319"/>
            <a:chExt cx="1001577" cy="172800"/>
          </a:xfrm>
        </p:grpSpPr>
        <p:sp>
          <p:nvSpPr>
            <p:cNvPr id="242" name="직사각형 241">
              <a:extLst>
                <a:ext uri="{FF2B5EF4-FFF2-40B4-BE49-F238E27FC236}">
                  <a16:creationId xmlns:a16="http://schemas.microsoft.com/office/drawing/2014/main" id="{7E5A80AB-EA85-49C2-964E-E9E75BCFB6AE}"/>
                </a:ext>
              </a:extLst>
            </p:cNvPr>
            <p:cNvSpPr/>
            <p:nvPr/>
          </p:nvSpPr>
          <p:spPr>
            <a:xfrm>
              <a:off x="1324408" y="1778319"/>
              <a:ext cx="77168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4227F256-3E8D-42EB-9FDA-1674D512A4F2}"/>
                </a:ext>
              </a:extLst>
            </p:cNvPr>
            <p:cNvSpPr/>
            <p:nvPr/>
          </p:nvSpPr>
          <p:spPr>
            <a:xfrm>
              <a:off x="2096089" y="1778638"/>
              <a:ext cx="229896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44" name="표 66">
            <a:extLst>
              <a:ext uri="{FF2B5EF4-FFF2-40B4-BE49-F238E27FC236}">
                <a16:creationId xmlns:a16="http://schemas.microsoft.com/office/drawing/2014/main" id="{5E7F96FF-4465-4360-9046-6A1E4803731A}"/>
              </a:ext>
            </a:extLst>
          </p:cNvPr>
          <p:cNvGraphicFramePr>
            <a:graphicFrameLocks noGrp="1"/>
          </p:cNvGraphicFramePr>
          <p:nvPr/>
        </p:nvGraphicFramePr>
        <p:xfrm>
          <a:off x="1853121" y="5405548"/>
          <a:ext cx="7133714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5903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564608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623424">
                  <a:extLst>
                    <a:ext uri="{9D8B030D-6E8A-4147-A177-3AD203B41FA5}">
                      <a16:colId xmlns:a16="http://schemas.microsoft.com/office/drawing/2014/main" val="2257909302"/>
                    </a:ext>
                  </a:extLst>
                </a:gridCol>
                <a:gridCol w="735040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588032">
                  <a:extLst>
                    <a:ext uri="{9D8B030D-6E8A-4147-A177-3AD203B41FA5}">
                      <a16:colId xmlns:a16="http://schemas.microsoft.com/office/drawing/2014/main" val="3370459386"/>
                    </a:ext>
                  </a:extLst>
                </a:gridCol>
                <a:gridCol w="1323072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735040">
                  <a:extLst>
                    <a:ext uri="{9D8B030D-6E8A-4147-A177-3AD203B41FA5}">
                      <a16:colId xmlns:a16="http://schemas.microsoft.com/office/drawing/2014/main" val="3142565624"/>
                    </a:ext>
                  </a:extLst>
                </a:gridCol>
                <a:gridCol w="441024">
                  <a:extLst>
                    <a:ext uri="{9D8B030D-6E8A-4147-A177-3AD203B41FA5}">
                      <a16:colId xmlns:a16="http://schemas.microsoft.com/office/drawing/2014/main" val="130630511"/>
                    </a:ext>
                  </a:extLst>
                </a:gridCol>
                <a:gridCol w="709630">
                  <a:extLst>
                    <a:ext uri="{9D8B030D-6E8A-4147-A177-3AD203B41FA5}">
                      <a16:colId xmlns:a16="http://schemas.microsoft.com/office/drawing/2014/main" val="2911285607"/>
                    </a:ext>
                  </a:extLst>
                </a:gridCol>
                <a:gridCol w="471877">
                  <a:extLst>
                    <a:ext uri="{9D8B030D-6E8A-4147-A177-3AD203B41FA5}">
                      <a16:colId xmlns:a16="http://schemas.microsoft.com/office/drawing/2014/main" val="1371808166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GRI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U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승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11-2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불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중립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녹색성장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리사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245" name="화살표: 오른쪽 244">
            <a:extLst>
              <a:ext uri="{FF2B5EF4-FFF2-40B4-BE49-F238E27FC236}">
                <a16:creationId xmlns:a16="http://schemas.microsoft.com/office/drawing/2014/main" id="{4CBF2E6B-87FD-4AC9-B4FD-0076C6F9614A}"/>
              </a:ext>
            </a:extLst>
          </p:cNvPr>
          <p:cNvSpPr/>
          <p:nvPr/>
        </p:nvSpPr>
        <p:spPr>
          <a:xfrm>
            <a:off x="1465732" y="5602635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343973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3784199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3789429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24881" y="3072108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34433" y="3072108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sp>
        <p:nvSpPr>
          <p:cNvPr id="271" name="사각형: 둥근 모서리 270">
            <a:extLst>
              <a:ext uri="{FF2B5EF4-FFF2-40B4-BE49-F238E27FC236}">
                <a16:creationId xmlns:a16="http://schemas.microsoft.com/office/drawing/2014/main" id="{98A9715A-D77F-4BC0-A002-EECE7E330985}"/>
              </a:ext>
            </a:extLst>
          </p:cNvPr>
          <p:cNvSpPr/>
          <p:nvPr/>
        </p:nvSpPr>
        <p:spPr>
          <a:xfrm>
            <a:off x="388960" y="430285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2" name="사각형: 둥근 모서리 271">
            <a:extLst>
              <a:ext uri="{FF2B5EF4-FFF2-40B4-BE49-F238E27FC236}">
                <a16:creationId xmlns:a16="http://schemas.microsoft.com/office/drawing/2014/main" id="{C21EF9C1-0EDA-4694-84B7-376355ED2FF0}"/>
              </a:ext>
            </a:extLst>
          </p:cNvPr>
          <p:cNvSpPr/>
          <p:nvPr/>
        </p:nvSpPr>
        <p:spPr>
          <a:xfrm>
            <a:off x="388960" y="4724579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3" name="사각형: 둥근 모서리 272">
            <a:extLst>
              <a:ext uri="{FF2B5EF4-FFF2-40B4-BE49-F238E27FC236}">
                <a16:creationId xmlns:a16="http://schemas.microsoft.com/office/drawing/2014/main" id="{F1BF2076-BF45-4989-A3B3-9AC3C1AA753C}"/>
              </a:ext>
            </a:extLst>
          </p:cNvPr>
          <p:cNvSpPr/>
          <p:nvPr/>
        </p:nvSpPr>
        <p:spPr>
          <a:xfrm>
            <a:off x="388960" y="4518258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B705B3E0-8595-4AB6-BF6A-E598A59A65A7}"/>
              </a:ext>
            </a:extLst>
          </p:cNvPr>
          <p:cNvSpPr/>
          <p:nvPr/>
        </p:nvSpPr>
        <p:spPr>
          <a:xfrm>
            <a:off x="388960" y="493658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3" name="사각형: 둥근 모서리 102">
            <a:extLst>
              <a:ext uri="{FF2B5EF4-FFF2-40B4-BE49-F238E27FC236}">
                <a16:creationId xmlns:a16="http://schemas.microsoft.com/office/drawing/2014/main" id="{2C646827-7EAE-44CC-B466-FC1885DB89F9}"/>
              </a:ext>
            </a:extLst>
          </p:cNvPr>
          <p:cNvSpPr/>
          <p:nvPr/>
        </p:nvSpPr>
        <p:spPr>
          <a:xfrm>
            <a:off x="8101523" y="3512648"/>
            <a:ext cx="760056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사용중지</a:t>
            </a:r>
          </a:p>
        </p:txBody>
      </p:sp>
      <p:grpSp>
        <p:nvGrpSpPr>
          <p:cNvPr id="122" name="그룹 121">
            <a:extLst>
              <a:ext uri="{FF2B5EF4-FFF2-40B4-BE49-F238E27FC236}">
                <a16:creationId xmlns:a16="http://schemas.microsoft.com/office/drawing/2014/main" id="{47A7B583-0EBF-4CC9-B972-E8DF138B3847}"/>
              </a:ext>
            </a:extLst>
          </p:cNvPr>
          <p:cNvGrpSpPr/>
          <p:nvPr/>
        </p:nvGrpSpPr>
        <p:grpSpPr>
          <a:xfrm>
            <a:off x="1770709" y="1503402"/>
            <a:ext cx="1033611" cy="172800"/>
            <a:chOff x="1260033" y="1778319"/>
            <a:chExt cx="1033611" cy="172800"/>
          </a:xfrm>
        </p:grpSpPr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88A85CD5-F2A9-4848-A118-F1E2C8B64218}"/>
                </a:ext>
              </a:extLst>
            </p:cNvPr>
            <p:cNvSpPr/>
            <p:nvPr/>
          </p:nvSpPr>
          <p:spPr>
            <a:xfrm>
              <a:off x="1260033" y="1778319"/>
              <a:ext cx="81758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 안함</a:t>
              </a:r>
            </a:p>
          </p:txBody>
        </p:sp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75FDEAF2-2CF4-493F-82D3-8EA9614B620E}"/>
                </a:ext>
              </a:extLst>
            </p:cNvPr>
            <p:cNvSpPr/>
            <p:nvPr/>
          </p:nvSpPr>
          <p:spPr>
            <a:xfrm>
              <a:off x="2077620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25" name="그룹 124">
            <a:extLst>
              <a:ext uri="{FF2B5EF4-FFF2-40B4-BE49-F238E27FC236}">
                <a16:creationId xmlns:a16="http://schemas.microsoft.com/office/drawing/2014/main" id="{73848DB9-9E09-449A-A842-679B2195CC6B}"/>
              </a:ext>
            </a:extLst>
          </p:cNvPr>
          <p:cNvGrpSpPr/>
          <p:nvPr/>
        </p:nvGrpSpPr>
        <p:grpSpPr>
          <a:xfrm>
            <a:off x="5861433" y="1495373"/>
            <a:ext cx="641192" cy="172801"/>
            <a:chOff x="1260034" y="1778319"/>
            <a:chExt cx="641192" cy="172801"/>
          </a:xfrm>
        </p:grpSpPr>
        <p:sp>
          <p:nvSpPr>
            <p:cNvPr id="126" name="직사각형 125">
              <a:extLst>
                <a:ext uri="{FF2B5EF4-FFF2-40B4-BE49-F238E27FC236}">
                  <a16:creationId xmlns:a16="http://schemas.microsoft.com/office/drawing/2014/main" id="{26C440E7-C8E5-4432-8B85-D225321BD89B}"/>
                </a:ext>
              </a:extLst>
            </p:cNvPr>
            <p:cNvSpPr/>
            <p:nvPr/>
          </p:nvSpPr>
          <p:spPr>
            <a:xfrm>
              <a:off x="1260034" y="1778319"/>
              <a:ext cx="425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자</a:t>
              </a:r>
            </a:p>
          </p:txBody>
        </p:sp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A88DAEB3-C215-4E66-B994-481ED2B5EA80}"/>
                </a:ext>
              </a:extLst>
            </p:cNvPr>
            <p:cNvSpPr/>
            <p:nvPr/>
          </p:nvSpPr>
          <p:spPr>
            <a:xfrm>
              <a:off x="1685202" y="1778320"/>
              <a:ext cx="21602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DE96A467-2573-4711-87CE-1B7570CCBF65}"/>
              </a:ext>
            </a:extLst>
          </p:cNvPr>
          <p:cNvSpPr/>
          <p:nvPr/>
        </p:nvSpPr>
        <p:spPr>
          <a:xfrm>
            <a:off x="1767136" y="2772004"/>
            <a:ext cx="298172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3" name="그룹 152">
            <a:extLst>
              <a:ext uri="{FF2B5EF4-FFF2-40B4-BE49-F238E27FC236}">
                <a16:creationId xmlns:a16="http://schemas.microsoft.com/office/drawing/2014/main" id="{C4CF2E64-541A-48FB-BB4D-47A406900AD1}"/>
              </a:ext>
            </a:extLst>
          </p:cNvPr>
          <p:cNvGrpSpPr/>
          <p:nvPr/>
        </p:nvGrpSpPr>
        <p:grpSpPr>
          <a:xfrm>
            <a:off x="8101523" y="3781259"/>
            <a:ext cx="760056" cy="168738"/>
            <a:chOff x="8101523" y="4105249"/>
            <a:chExt cx="760056" cy="168738"/>
          </a:xfrm>
        </p:grpSpPr>
        <p:sp>
          <p:nvSpPr>
            <p:cNvPr id="154" name="사각형: 둥근 모서리 153">
              <a:extLst>
                <a:ext uri="{FF2B5EF4-FFF2-40B4-BE49-F238E27FC236}">
                  <a16:creationId xmlns:a16="http://schemas.microsoft.com/office/drawing/2014/main" id="{9B18FC7A-0FD2-464A-8595-CCC4564B2B37}"/>
                </a:ext>
              </a:extLst>
            </p:cNvPr>
            <p:cNvSpPr/>
            <p:nvPr/>
          </p:nvSpPr>
          <p:spPr>
            <a:xfrm>
              <a:off x="8101523" y="4105249"/>
              <a:ext cx="760056" cy="16873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다운로드</a:t>
              </a:r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164D87DB-4DCB-404E-B1E6-6D93285C43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84232" y="4135768"/>
              <a:ext cx="105940" cy="105940"/>
            </a:xfrm>
            <a:prstGeom prst="rect">
              <a:avLst/>
            </a:prstGeom>
          </p:spPr>
        </p:pic>
      </p:grp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C46CC8E9-C6B2-4CBD-99CD-43BDD2223FC3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 뉴스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 뉴스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 뉴스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78" name="그룹 177">
            <a:extLst>
              <a:ext uri="{FF2B5EF4-FFF2-40B4-BE49-F238E27FC236}">
                <a16:creationId xmlns:a16="http://schemas.microsoft.com/office/drawing/2014/main" id="{E4584764-9697-41E5-87AB-C5CF13B95CA3}"/>
              </a:ext>
            </a:extLst>
          </p:cNvPr>
          <p:cNvGrpSpPr/>
          <p:nvPr/>
        </p:nvGrpSpPr>
        <p:grpSpPr>
          <a:xfrm>
            <a:off x="1767136" y="2520044"/>
            <a:ext cx="2131045" cy="174858"/>
            <a:chOff x="1336543" y="2500154"/>
            <a:chExt cx="2131045" cy="174858"/>
          </a:xfrm>
        </p:grpSpPr>
        <p:grpSp>
          <p:nvGrpSpPr>
            <p:cNvPr id="179" name="그룹 178">
              <a:extLst>
                <a:ext uri="{FF2B5EF4-FFF2-40B4-BE49-F238E27FC236}">
                  <a16:creationId xmlns:a16="http://schemas.microsoft.com/office/drawing/2014/main" id="{E3F30A57-97D8-4F6B-A77D-B77BEC680CBB}"/>
                </a:ext>
              </a:extLst>
            </p:cNvPr>
            <p:cNvGrpSpPr/>
            <p:nvPr/>
          </p:nvGrpSpPr>
          <p:grpSpPr>
            <a:xfrm>
              <a:off x="1336543" y="2500154"/>
              <a:ext cx="1036636" cy="173318"/>
              <a:chOff x="1265224" y="1777801"/>
              <a:chExt cx="1036636" cy="173318"/>
            </a:xfrm>
          </p:grpSpPr>
          <p:sp>
            <p:nvSpPr>
              <p:cNvPr id="183" name="직사각형 182">
                <a:extLst>
                  <a:ext uri="{FF2B5EF4-FFF2-40B4-BE49-F238E27FC236}">
                    <a16:creationId xmlns:a16="http://schemas.microsoft.com/office/drawing/2014/main" id="{708CB8EC-95F0-491A-94CA-442841D25F7A}"/>
                  </a:ext>
                </a:extLst>
              </p:cNvPr>
              <p:cNvSpPr/>
              <p:nvPr/>
            </p:nvSpPr>
            <p:spPr>
              <a:xfrm>
                <a:off x="1265224" y="1778319"/>
                <a:ext cx="820612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84" name="직사각형 183">
                <a:extLst>
                  <a:ext uri="{FF2B5EF4-FFF2-40B4-BE49-F238E27FC236}">
                    <a16:creationId xmlns:a16="http://schemas.microsoft.com/office/drawing/2014/main" id="{A7FFF5C2-C548-4B5A-8AD4-0CE9BA235764}"/>
                  </a:ext>
                </a:extLst>
              </p:cNvPr>
              <p:cNvSpPr/>
              <p:nvPr/>
            </p:nvSpPr>
            <p:spPr>
              <a:xfrm>
                <a:off x="2085836" y="1777801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80" name="그룹 179">
              <a:extLst>
                <a:ext uri="{FF2B5EF4-FFF2-40B4-BE49-F238E27FC236}">
                  <a16:creationId xmlns:a16="http://schemas.microsoft.com/office/drawing/2014/main" id="{A5D87D6F-BF1F-41B6-993F-433584D15F9F}"/>
                </a:ext>
              </a:extLst>
            </p:cNvPr>
            <p:cNvGrpSpPr/>
            <p:nvPr/>
          </p:nvGrpSpPr>
          <p:grpSpPr>
            <a:xfrm>
              <a:off x="2428542" y="2501893"/>
              <a:ext cx="1039046" cy="173119"/>
              <a:chOff x="1227446" y="1778319"/>
              <a:chExt cx="1039046" cy="173119"/>
            </a:xfrm>
          </p:grpSpPr>
          <p:sp>
            <p:nvSpPr>
              <p:cNvPr id="181" name="직사각형 180">
                <a:extLst>
                  <a:ext uri="{FF2B5EF4-FFF2-40B4-BE49-F238E27FC236}">
                    <a16:creationId xmlns:a16="http://schemas.microsoft.com/office/drawing/2014/main" id="{09CFA2AB-F5BB-49B1-B3BC-A9D4EA90ECD3}"/>
                  </a:ext>
                </a:extLst>
              </p:cNvPr>
              <p:cNvSpPr/>
              <p:nvPr/>
            </p:nvSpPr>
            <p:spPr>
              <a:xfrm>
                <a:off x="1227446" y="1778319"/>
                <a:ext cx="823021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82" name="직사각형 181">
                <a:extLst>
                  <a:ext uri="{FF2B5EF4-FFF2-40B4-BE49-F238E27FC236}">
                    <a16:creationId xmlns:a16="http://schemas.microsoft.com/office/drawing/2014/main" id="{B006B106-8224-4F26-B8EA-49F41FEBB945}"/>
                  </a:ext>
                </a:extLst>
              </p:cNvPr>
              <p:cNvSpPr/>
              <p:nvPr/>
            </p:nvSpPr>
            <p:spPr>
              <a:xfrm>
                <a:off x="205046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883448F9-DEFC-4263-97A5-95586BAC0A81}"/>
              </a:ext>
            </a:extLst>
          </p:cNvPr>
          <p:cNvSpPr/>
          <p:nvPr/>
        </p:nvSpPr>
        <p:spPr>
          <a:xfrm>
            <a:off x="5861432" y="1752634"/>
            <a:ext cx="1467727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0E2F2549-0255-4E73-99F0-1B716A85A6A8}"/>
              </a:ext>
            </a:extLst>
          </p:cNvPr>
          <p:cNvGrpSpPr/>
          <p:nvPr/>
        </p:nvGrpSpPr>
        <p:grpSpPr>
          <a:xfrm>
            <a:off x="1770709" y="1752634"/>
            <a:ext cx="1033611" cy="173003"/>
            <a:chOff x="1258567" y="1778638"/>
            <a:chExt cx="1033611" cy="173003"/>
          </a:xfrm>
        </p:grpSpPr>
        <p:sp>
          <p:nvSpPr>
            <p:cNvPr id="119" name="직사각형 118">
              <a:extLst>
                <a:ext uri="{FF2B5EF4-FFF2-40B4-BE49-F238E27FC236}">
                  <a16:creationId xmlns:a16="http://schemas.microsoft.com/office/drawing/2014/main" id="{FFC3DC26-DFA4-44F6-B4AF-1768320EFE95}"/>
                </a:ext>
              </a:extLst>
            </p:cNvPr>
            <p:cNvSpPr/>
            <p:nvPr/>
          </p:nvSpPr>
          <p:spPr>
            <a:xfrm>
              <a:off x="1258567" y="1778841"/>
              <a:ext cx="81758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목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+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내용</a:t>
              </a:r>
            </a:p>
          </p:txBody>
        </p:sp>
        <p:sp>
          <p:nvSpPr>
            <p:cNvPr id="141" name="직사각형 140">
              <a:extLst>
                <a:ext uri="{FF2B5EF4-FFF2-40B4-BE49-F238E27FC236}">
                  <a16:creationId xmlns:a16="http://schemas.microsoft.com/office/drawing/2014/main" id="{B569F8F4-714D-4D84-89C7-9CCE04187B7E}"/>
                </a:ext>
              </a:extLst>
            </p:cNvPr>
            <p:cNvSpPr/>
            <p:nvPr/>
          </p:nvSpPr>
          <p:spPr>
            <a:xfrm>
              <a:off x="2076154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697AEFA3-2E6C-47D5-A78C-251B029F2EA1}"/>
              </a:ext>
            </a:extLst>
          </p:cNvPr>
          <p:cNvSpPr/>
          <p:nvPr/>
        </p:nvSpPr>
        <p:spPr>
          <a:xfrm>
            <a:off x="266579" y="148940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71" name="표 10">
            <a:extLst>
              <a:ext uri="{FF2B5EF4-FFF2-40B4-BE49-F238E27FC236}">
                <a16:creationId xmlns:a16="http://schemas.microsoft.com/office/drawing/2014/main" id="{7C369D67-86C1-4E85-BA3F-C54109E2E0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2993464"/>
              </p:ext>
            </p:extLst>
          </p:nvPr>
        </p:nvGraphicFramePr>
        <p:xfrm>
          <a:off x="9267391" y="759195"/>
          <a:ext cx="2922885" cy="61027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9995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설정안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설정안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하면 일자 선택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활성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재시점부터 과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으로 자동 설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변경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 자유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 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용으로 리스트 조회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번호로 조회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관리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계획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endParaRPr lang="en-US" altLang="ko-KR" sz="800" b="0" i="0" u="none" strike="noStrike" kern="1200" cap="none" spc="-6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2775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2566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전시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7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활성화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68565"/>
                  </a:ext>
                </a:extLst>
              </a:tr>
              <a:tr h="79876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(</a:t>
                      </a:r>
                      <a:r>
                        <a:rPr lang="ko-KR" altLang="en-US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. S(</a:t>
                      </a:r>
                      <a:r>
                        <a:rPr lang="ko-KR" altLang="en-US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G(</a:t>
                      </a:r>
                      <a:r>
                        <a:rPr lang="ko-KR" altLang="en-US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F(</a:t>
                      </a:r>
                      <a:r>
                        <a:rPr lang="ko-KR" altLang="en-US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</a:t>
                      </a:r>
                      <a:r>
                        <a:rPr lang="en-US" altLang="ko-KR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</a:t>
                      </a:r>
                      <a:r>
                        <a:rPr lang="ko-KR" altLang="en-US" sz="800" b="0" i="0" u="none" strike="noStrike" kern="1200" cap="none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로 구분</a:t>
                      </a:r>
                      <a:endParaRPr lang="en-US" altLang="ko-KR" sz="800" b="0" i="0" u="none" strike="noStrike" kern="1200" cap="none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분류 선택하면 해당 분류에 맞는 토픽 키워드 리스트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토픽 리스트는 실행 및 공시 화면 내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화면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M011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통해 관리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가능여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불가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659808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태그 키워드 자유 입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조건에 맞게 컨텐츠 리스트 출력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774701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지워지고 초기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8362759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 조건에 따라 조회된 총 건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741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에서 체크 된 컨텐츠 사용중지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7722552"/>
                  </a:ext>
                </a:extLst>
              </a:tr>
              <a:tr h="39725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에서 볼 수 있는 조회 건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2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00, 1,0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687732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16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당 조회건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따른 페이지 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826124"/>
                  </a:ext>
                </a:extLst>
              </a:tr>
              <a:tr h="241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리스트 엑셀 다운로드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9517960"/>
                  </a:ext>
                </a:extLst>
              </a:tr>
              <a:tr h="1894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뉴스 상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35)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8662820"/>
                  </a:ext>
                </a:extLst>
              </a:tr>
            </a:tbl>
          </a:graphicData>
        </a:graphic>
      </p:graphicFrame>
      <p:sp>
        <p:nvSpPr>
          <p:cNvPr id="73" name="사각형: 둥근 모서리 72">
            <a:extLst>
              <a:ext uri="{FF2B5EF4-FFF2-40B4-BE49-F238E27FC236}">
                <a16:creationId xmlns:a16="http://schemas.microsoft.com/office/drawing/2014/main" id="{ABA4C04B-78FD-4E08-8270-1CA2459837B9}"/>
              </a:ext>
            </a:extLst>
          </p:cNvPr>
          <p:cNvSpPr/>
          <p:nvPr/>
        </p:nvSpPr>
        <p:spPr>
          <a:xfrm>
            <a:off x="4867835" y="148589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5" name="사각형: 둥근 모서리 74">
            <a:extLst>
              <a:ext uri="{FF2B5EF4-FFF2-40B4-BE49-F238E27FC236}">
                <a16:creationId xmlns:a16="http://schemas.microsoft.com/office/drawing/2014/main" id="{F2AA03A5-65CA-4F10-823C-BB54BA7DFB85}"/>
              </a:ext>
            </a:extLst>
          </p:cNvPr>
          <p:cNvSpPr/>
          <p:nvPr/>
        </p:nvSpPr>
        <p:spPr>
          <a:xfrm>
            <a:off x="266579" y="175147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6" name="사각형: 둥근 모서리 75">
            <a:extLst>
              <a:ext uri="{FF2B5EF4-FFF2-40B4-BE49-F238E27FC236}">
                <a16:creationId xmlns:a16="http://schemas.microsoft.com/office/drawing/2014/main" id="{B66E998E-95C8-4428-8C57-EC57CB84BDB5}"/>
              </a:ext>
            </a:extLst>
          </p:cNvPr>
          <p:cNvSpPr/>
          <p:nvPr/>
        </p:nvSpPr>
        <p:spPr>
          <a:xfrm>
            <a:off x="266579" y="201354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611198CB-C6C3-439C-B537-5F4B6625F34A}"/>
              </a:ext>
            </a:extLst>
          </p:cNvPr>
          <p:cNvSpPr/>
          <p:nvPr/>
        </p:nvSpPr>
        <p:spPr>
          <a:xfrm>
            <a:off x="4867835" y="20313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867FB5BE-CEC5-4BE2-AB2C-1AC486200771}"/>
              </a:ext>
            </a:extLst>
          </p:cNvPr>
          <p:cNvSpPr/>
          <p:nvPr/>
        </p:nvSpPr>
        <p:spPr>
          <a:xfrm>
            <a:off x="4867835" y="176122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3667C980-5BCC-479B-9131-B95DA77BF5F7}"/>
              </a:ext>
            </a:extLst>
          </p:cNvPr>
          <p:cNvSpPr/>
          <p:nvPr/>
        </p:nvSpPr>
        <p:spPr>
          <a:xfrm>
            <a:off x="266579" y="227163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6D99CFF1-F6ED-487F-848C-50512F3415DD}"/>
              </a:ext>
            </a:extLst>
          </p:cNvPr>
          <p:cNvSpPr/>
          <p:nvPr/>
        </p:nvSpPr>
        <p:spPr>
          <a:xfrm>
            <a:off x="266579" y="25221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4" name="사각형: 둥근 모서리 83">
            <a:extLst>
              <a:ext uri="{FF2B5EF4-FFF2-40B4-BE49-F238E27FC236}">
                <a16:creationId xmlns:a16="http://schemas.microsoft.com/office/drawing/2014/main" id="{A05E5F11-7912-46EB-AEC4-C9AB2BBD0D98}"/>
              </a:ext>
            </a:extLst>
          </p:cNvPr>
          <p:cNvSpPr/>
          <p:nvPr/>
        </p:nvSpPr>
        <p:spPr>
          <a:xfrm>
            <a:off x="266579" y="275993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FAB7A0F2-A84F-413B-8B76-9744BC55760E}"/>
              </a:ext>
            </a:extLst>
          </p:cNvPr>
          <p:cNvSpPr/>
          <p:nvPr/>
        </p:nvSpPr>
        <p:spPr>
          <a:xfrm>
            <a:off x="4867835" y="230138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사각형: 둥근 모서리 88">
            <a:extLst>
              <a:ext uri="{FF2B5EF4-FFF2-40B4-BE49-F238E27FC236}">
                <a16:creationId xmlns:a16="http://schemas.microsoft.com/office/drawing/2014/main" id="{6DA18525-22B2-4E1C-B42A-ED66BFA33A11}"/>
              </a:ext>
            </a:extLst>
          </p:cNvPr>
          <p:cNvSpPr/>
          <p:nvPr/>
        </p:nvSpPr>
        <p:spPr>
          <a:xfrm>
            <a:off x="4867835" y="253596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0" name="사각형: 둥근 모서리 89">
            <a:extLst>
              <a:ext uri="{FF2B5EF4-FFF2-40B4-BE49-F238E27FC236}">
                <a16:creationId xmlns:a16="http://schemas.microsoft.com/office/drawing/2014/main" id="{47EFAB61-E26A-472C-AC2A-D3439228E7C7}"/>
              </a:ext>
            </a:extLst>
          </p:cNvPr>
          <p:cNvSpPr/>
          <p:nvPr/>
        </p:nvSpPr>
        <p:spPr>
          <a:xfrm>
            <a:off x="3946334" y="302901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1" name="사각형: 둥근 모서리 90">
            <a:extLst>
              <a:ext uri="{FF2B5EF4-FFF2-40B4-BE49-F238E27FC236}">
                <a16:creationId xmlns:a16="http://schemas.microsoft.com/office/drawing/2014/main" id="{FFC95110-2AC9-4291-9ECA-781962D737D2}"/>
              </a:ext>
            </a:extLst>
          </p:cNvPr>
          <p:cNvSpPr/>
          <p:nvPr/>
        </p:nvSpPr>
        <p:spPr>
          <a:xfrm>
            <a:off x="4710457" y="30303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4A4E070C-83C1-4FDA-88CC-4C0655875314}"/>
              </a:ext>
            </a:extLst>
          </p:cNvPr>
          <p:cNvSpPr/>
          <p:nvPr/>
        </p:nvSpPr>
        <p:spPr>
          <a:xfrm>
            <a:off x="1155039" y="34042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3" name="사각형: 둥근 모서리 92">
            <a:extLst>
              <a:ext uri="{FF2B5EF4-FFF2-40B4-BE49-F238E27FC236}">
                <a16:creationId xmlns:a16="http://schemas.microsoft.com/office/drawing/2014/main" id="{E0687F5E-4192-4CF4-8318-38B9900F404A}"/>
              </a:ext>
            </a:extLst>
          </p:cNvPr>
          <p:cNvSpPr/>
          <p:nvPr/>
        </p:nvSpPr>
        <p:spPr>
          <a:xfrm>
            <a:off x="8039270" y="346467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4" name="사각형: 둥근 모서리 93">
            <a:extLst>
              <a:ext uri="{FF2B5EF4-FFF2-40B4-BE49-F238E27FC236}">
                <a16:creationId xmlns:a16="http://schemas.microsoft.com/office/drawing/2014/main" id="{C13BC1F3-519A-4DAA-8773-A7A827D349A0}"/>
              </a:ext>
            </a:extLst>
          </p:cNvPr>
          <p:cNvSpPr/>
          <p:nvPr/>
        </p:nvSpPr>
        <p:spPr>
          <a:xfrm>
            <a:off x="336268" y="371171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5" name="사각형: 둥근 모서리 94">
            <a:extLst>
              <a:ext uri="{FF2B5EF4-FFF2-40B4-BE49-F238E27FC236}">
                <a16:creationId xmlns:a16="http://schemas.microsoft.com/office/drawing/2014/main" id="{973186EC-F890-489C-A9EC-7509331736EC}"/>
              </a:ext>
            </a:extLst>
          </p:cNvPr>
          <p:cNvSpPr/>
          <p:nvPr/>
        </p:nvSpPr>
        <p:spPr>
          <a:xfrm>
            <a:off x="1177449" y="371607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6" name="사각형: 둥근 모서리 95">
            <a:extLst>
              <a:ext uri="{FF2B5EF4-FFF2-40B4-BE49-F238E27FC236}">
                <a16:creationId xmlns:a16="http://schemas.microsoft.com/office/drawing/2014/main" id="{389055F5-F31D-4023-9838-8F07C5768D68}"/>
              </a:ext>
            </a:extLst>
          </p:cNvPr>
          <p:cNvSpPr/>
          <p:nvPr/>
        </p:nvSpPr>
        <p:spPr>
          <a:xfrm>
            <a:off x="8036006" y="370340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139DDB89-81EC-4386-AFA2-FD877102FC0F}"/>
              </a:ext>
            </a:extLst>
          </p:cNvPr>
          <p:cNvSpPr/>
          <p:nvPr/>
        </p:nvSpPr>
        <p:spPr>
          <a:xfrm>
            <a:off x="1699456" y="418790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24607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 뉴스 상세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4601211"/>
              </p:ext>
            </p:extLst>
          </p:nvPr>
        </p:nvGraphicFramePr>
        <p:xfrm>
          <a:off x="9267391" y="759197"/>
          <a:ext cx="2922885" cy="89156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6535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★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불가항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338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상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 경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용중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태로 변경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18C08A05-194B-4EDE-8402-AC48D2C49371}"/>
              </a:ext>
            </a:extLst>
          </p:cNvPr>
          <p:cNvSpPr/>
          <p:nvPr/>
        </p:nvSpPr>
        <p:spPr>
          <a:xfrm>
            <a:off x="1117251" y="1765534"/>
            <a:ext cx="7183959" cy="4733471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21194B10-A806-44D7-BE61-A68F8072ADCD}"/>
              </a:ext>
            </a:extLst>
          </p:cNvPr>
          <p:cNvSpPr/>
          <p:nvPr/>
        </p:nvSpPr>
        <p:spPr>
          <a:xfrm>
            <a:off x="1117251" y="1549024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컨텐츠 상세 조회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4" name="표 12">
            <a:extLst>
              <a:ext uri="{FF2B5EF4-FFF2-40B4-BE49-F238E27FC236}">
                <a16:creationId xmlns:a16="http://schemas.microsoft.com/office/drawing/2014/main" id="{580B27E1-B882-4E40-B497-1D99BFE6699E}"/>
              </a:ext>
            </a:extLst>
          </p:cNvPr>
          <p:cNvGraphicFramePr>
            <a:graphicFrameLocks noGrp="1"/>
          </p:cNvGraphicFramePr>
          <p:nvPr/>
        </p:nvGraphicFramePr>
        <p:xfrm>
          <a:off x="1170559" y="1912006"/>
          <a:ext cx="7091948" cy="418128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8747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054199">
                  <a:extLst>
                    <a:ext uri="{9D8B030D-6E8A-4147-A177-3AD203B41FA5}">
                      <a16:colId xmlns:a16="http://schemas.microsoft.com/office/drawing/2014/main" val="713958032"/>
                    </a:ext>
                  </a:extLst>
                </a:gridCol>
                <a:gridCol w="812255">
                  <a:extLst>
                    <a:ext uri="{9D8B030D-6E8A-4147-A177-3AD203B41FA5}">
                      <a16:colId xmlns:a16="http://schemas.microsoft.com/office/drawing/2014/main" val="2560746404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126939074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424521785"/>
                    </a:ext>
                  </a:extLst>
                </a:gridCol>
                <a:gridCol w="2310523">
                  <a:extLst>
                    <a:ext uri="{9D8B030D-6E8A-4147-A177-3AD203B41FA5}">
                      <a16:colId xmlns:a16="http://schemas.microsoft.com/office/drawing/2014/main" val="3523702210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NIA0000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상태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350770"/>
                  </a:ext>
                </a:extLst>
              </a:tr>
              <a:tr h="0">
                <a:tc gridSpan="6">
                  <a:txBody>
                    <a:bodyPr/>
                    <a:lstStyle/>
                    <a:p>
                      <a:pPr latinLnBrk="1"/>
                      <a:endParaRPr lang="ko-KR" altLang="en-US" sz="2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777836190"/>
                  </a:ext>
                </a:extLst>
              </a:tr>
              <a:tr h="270000">
                <a:tc grid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정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RSS)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49503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제목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표 이미지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일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  <a:endParaRPr lang="ko-KR" altLang="en-US" dirty="0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작성자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82815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요약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1584176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 전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en-US" altLang="ko-KR" sz="2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119620"/>
                  </a:ext>
                </a:extLst>
              </a:tr>
            </a:tbl>
          </a:graphicData>
        </a:graphic>
      </p:graphicFrame>
      <p:sp>
        <p:nvSpPr>
          <p:cNvPr id="77" name="직사각형 76">
            <a:extLst>
              <a:ext uri="{FF2B5EF4-FFF2-40B4-BE49-F238E27FC236}">
                <a16:creationId xmlns:a16="http://schemas.microsoft.com/office/drawing/2014/main" id="{5D3816E6-A9E4-4FB9-B9F4-D18E319E05F1}"/>
              </a:ext>
            </a:extLst>
          </p:cNvPr>
          <p:cNvSpPr/>
          <p:nvPr/>
        </p:nvSpPr>
        <p:spPr>
          <a:xfrm>
            <a:off x="2126633" y="2636929"/>
            <a:ext cx="3033263" cy="37714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대한상의 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ESG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경영 포럼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, </a:t>
            </a:r>
            <a:r>
              <a:rPr lang="ko-KR" altLang="en-US" sz="800" b="0" kern="1200" spc="0" baseline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애그테크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관심 급부상</a:t>
            </a: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…</a:t>
            </a:r>
            <a:r>
              <a:rPr lang="ko-KR" altLang="en-US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인증 문제 해결이 과제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2A622B84-AE83-4664-9985-46B1121CFE2D}"/>
              </a:ext>
            </a:extLst>
          </p:cNvPr>
          <p:cNvSpPr/>
          <p:nvPr/>
        </p:nvSpPr>
        <p:spPr>
          <a:xfrm>
            <a:off x="2126633" y="3113598"/>
            <a:ext cx="1514397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0" kern="1200" spc="0" baseline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2023-07-03 15:48:44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36B614CC-5967-46FC-A10E-EBE97D46D3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7293" y="2636929"/>
            <a:ext cx="1590875" cy="864774"/>
          </a:xfrm>
          <a:prstGeom prst="rect">
            <a:avLst/>
          </a:prstGeom>
        </p:spPr>
      </p:pic>
      <p:sp>
        <p:nvSpPr>
          <p:cNvPr id="79" name="직사각형 78">
            <a:extLst>
              <a:ext uri="{FF2B5EF4-FFF2-40B4-BE49-F238E27FC236}">
                <a16:creationId xmlns:a16="http://schemas.microsoft.com/office/drawing/2014/main" id="{149597B7-C3F1-406D-8156-C04802D34FEA}"/>
              </a:ext>
            </a:extLst>
          </p:cNvPr>
          <p:cNvSpPr/>
          <p:nvPr/>
        </p:nvSpPr>
        <p:spPr>
          <a:xfrm>
            <a:off x="2126633" y="3387889"/>
            <a:ext cx="656999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kern="1200" spc="0" baseline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임팩트온</a:t>
            </a:r>
            <a:endParaRPr lang="ko-KR" altLang="en-US" sz="800" b="0" kern="1200" spc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0AD54375-C8D2-4ACF-ADDB-F099C6883325}"/>
              </a:ext>
            </a:extLst>
          </p:cNvPr>
          <p:cNvSpPr/>
          <p:nvPr/>
        </p:nvSpPr>
        <p:spPr>
          <a:xfrm>
            <a:off x="2844456" y="3387889"/>
            <a:ext cx="796574" cy="1713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0" kern="1200" spc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변종용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ditor</a:t>
            </a:r>
            <a:r>
              <a:rPr lang="ko-KR" altLang="en-US" sz="800" b="0" kern="1200" spc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 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CF49F652-D92C-47C8-858E-3B24BE47D92F}"/>
              </a:ext>
            </a:extLst>
          </p:cNvPr>
          <p:cNvSpPr/>
          <p:nvPr/>
        </p:nvSpPr>
        <p:spPr>
          <a:xfrm>
            <a:off x="2124398" y="3688375"/>
            <a:ext cx="6059834" cy="6492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대한상공회의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회장 최태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는 산업통상자원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Y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한영과 공동으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8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일 세종대로 대한상의회관에서 ‘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4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차 대한상의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경영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포럼’을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개최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이번 행사는 정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학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유관 기관의 전문가들이 참여하여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반 신사업 창출 전략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와 탄소중립 관련 기술 동향과 시사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벤처스타트업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동향과 시사점에 대해 논의됐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이번 행사에 발표자로 참석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Y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한영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박재흠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전무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"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국내 환경산업 매출액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0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조원으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203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3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조원으로 성장 전망되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203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에는 자원순환관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물관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신재생에너지가</a:t>
            </a:r>
          </a:p>
        </p:txBody>
      </p:sp>
      <p:cxnSp>
        <p:nvCxnSpPr>
          <p:cNvPr id="86" name="직선 연결선 85">
            <a:extLst>
              <a:ext uri="{FF2B5EF4-FFF2-40B4-BE49-F238E27FC236}">
                <a16:creationId xmlns:a16="http://schemas.microsoft.com/office/drawing/2014/main" id="{DB3E8A26-97AA-4174-9A78-CF3C3543E62D}"/>
              </a:ext>
            </a:extLst>
          </p:cNvPr>
          <p:cNvCxnSpPr>
            <a:cxnSpLocks/>
          </p:cNvCxnSpPr>
          <p:nvPr/>
        </p:nvCxnSpPr>
        <p:spPr>
          <a:xfrm>
            <a:off x="1117251" y="6304950"/>
            <a:ext cx="7183959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B2E90F45-91FC-4CDB-B425-768D87E1DB6A}"/>
              </a:ext>
            </a:extLst>
          </p:cNvPr>
          <p:cNvSpPr/>
          <p:nvPr/>
        </p:nvSpPr>
        <p:spPr>
          <a:xfrm>
            <a:off x="4291137" y="6113492"/>
            <a:ext cx="868759" cy="360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뒤에 이어서</a:t>
            </a: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0764F482-1581-4D8A-B6D9-ED48F7913820}"/>
              </a:ext>
            </a:extLst>
          </p:cNvPr>
          <p:cNvGrpSpPr/>
          <p:nvPr/>
        </p:nvGrpSpPr>
        <p:grpSpPr>
          <a:xfrm>
            <a:off x="6017293" y="1957280"/>
            <a:ext cx="1065951" cy="172800"/>
            <a:chOff x="1260034" y="1778319"/>
            <a:chExt cx="1065951" cy="172800"/>
          </a:xfrm>
        </p:grpSpPr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23D82616-A116-4762-B1A6-AA40BDFF3195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용중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6" name="직사각형 55">
              <a:extLst>
                <a:ext uri="{FF2B5EF4-FFF2-40B4-BE49-F238E27FC236}">
                  <a16:creationId xmlns:a16="http://schemas.microsoft.com/office/drawing/2014/main" id="{9D8D7426-5A60-4A7A-8F9E-CB0F81B3BDBF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8082A4D7-9BCA-470A-B47D-1C72EF641EBD}"/>
              </a:ext>
            </a:extLst>
          </p:cNvPr>
          <p:cNvSpPr/>
          <p:nvPr/>
        </p:nvSpPr>
        <p:spPr>
          <a:xfrm>
            <a:off x="2129979" y="4491591"/>
            <a:ext cx="5920416" cy="13946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대한상공회의소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회장 최태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)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는 산업통상자원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Y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한영과 공동으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8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일 세종대로 대한상의회관에서 ‘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4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차 대한상의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경영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포럼’을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개최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</a:t>
            </a:r>
            <a:b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</a:b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9</a:t>
            </a:r>
            <a:b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</a:b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이번 행사는 정부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업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학계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유관 기관의 전문가들이 참여하여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SG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기반 신사업 창출 전략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SG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와 탄소중립 관련 기술 동향과 시사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ESG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벤처스타트업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동향과 시사점에 대해 논의됐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 </a:t>
            </a:r>
            <a:b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</a:br>
            <a:b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</a:b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이번 행사에 발표자로 참석한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EY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한영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박재흠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 전무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"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국내 환경산업 매출액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202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0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조원으로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203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132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조원으로 성장 전망되며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203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년에는 자원순환관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물관리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,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신재생에너지가 전체 매출액의 약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74.4%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로 큰 비중을 차지할 것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"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이라고 국내 환경시장 규모의 증가를 예상했다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/>
              </a:rPr>
              <a:t>. 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0000"/>
              </a:solidFill>
              <a:latin typeface="Arial" panose="020B0604020202020204" pitchFamily="34" charset="0"/>
              <a:cs typeface="Arial"/>
            </a:endParaRP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DD6633E0-ABCA-4B30-96CF-CC22A9080730}"/>
              </a:ext>
            </a:extLst>
          </p:cNvPr>
          <p:cNvGrpSpPr/>
          <p:nvPr/>
        </p:nvGrpSpPr>
        <p:grpSpPr>
          <a:xfrm>
            <a:off x="8050376" y="4487781"/>
            <a:ext cx="140235" cy="1398424"/>
            <a:chOff x="9201469" y="1601341"/>
            <a:chExt cx="188140" cy="4229256"/>
          </a:xfrm>
        </p:grpSpPr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1ABF2D79-1D6B-41A8-9993-054F7C2ABAA9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46279D2D-29C5-45BC-8782-A1F9B0C2DE25}"/>
                </a:ext>
              </a:extLst>
            </p:cNvPr>
            <p:cNvGrpSpPr/>
            <p:nvPr/>
          </p:nvGrpSpPr>
          <p:grpSpPr>
            <a:xfrm>
              <a:off x="9201469" y="1601341"/>
              <a:ext cx="188140" cy="4229256"/>
              <a:chOff x="9201469" y="1601341"/>
              <a:chExt cx="188140" cy="4229256"/>
            </a:xfrm>
          </p:grpSpPr>
          <p:sp>
            <p:nvSpPr>
              <p:cNvPr id="29" name="직사각형 28">
                <a:extLst>
                  <a:ext uri="{FF2B5EF4-FFF2-40B4-BE49-F238E27FC236}">
                    <a16:creationId xmlns:a16="http://schemas.microsoft.com/office/drawing/2014/main" id="{0A5F9A0E-228A-4067-A2DD-EBF198F902D9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90362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0" name="직사각형 29">
                <a:extLst>
                  <a:ext uri="{FF2B5EF4-FFF2-40B4-BE49-F238E27FC236}">
                    <a16:creationId xmlns:a16="http://schemas.microsoft.com/office/drawing/2014/main" id="{380A34ED-099C-41D6-87BA-F4283C3D2162}"/>
                  </a:ext>
                </a:extLst>
              </p:cNvPr>
              <p:cNvSpPr/>
              <p:nvPr/>
            </p:nvSpPr>
            <p:spPr>
              <a:xfrm rot="10800000">
                <a:off x="9201469" y="5490597"/>
                <a:ext cx="188115" cy="340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A6E67E0E-2C90-49F2-9716-FB88FFFD4408}"/>
                  </a:ext>
                </a:extLst>
              </p:cNvPr>
              <p:cNvSpPr/>
              <p:nvPr/>
            </p:nvSpPr>
            <p:spPr>
              <a:xfrm>
                <a:off x="9201471" y="1601341"/>
                <a:ext cx="188114" cy="339997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77E992CF-A74E-4DE9-87B4-4844CF978811}"/>
              </a:ext>
            </a:extLst>
          </p:cNvPr>
          <p:cNvSpPr/>
          <p:nvPr/>
        </p:nvSpPr>
        <p:spPr>
          <a:xfrm>
            <a:off x="332094" y="1134965"/>
            <a:ext cx="4395754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 뉴스 상세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 뉴스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 뉴스 상세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8263B29C-8A34-494C-B7AA-510AB7BF2A4D}"/>
              </a:ext>
            </a:extLst>
          </p:cNvPr>
          <p:cNvSpPr/>
          <p:nvPr/>
        </p:nvSpPr>
        <p:spPr>
          <a:xfrm>
            <a:off x="5938187" y="19056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754915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1780085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 뉴스 상세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9312370"/>
              </p:ext>
            </p:extLst>
          </p:nvPr>
        </p:nvGraphicFramePr>
        <p:xfrm>
          <a:off x="9267391" y="759197"/>
          <a:ext cx="2922885" cy="137469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6535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장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된 내용 저장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644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 닫힘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4831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 수정 기능은 등록 시 각 항목 등록 기능과 동일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18C08A05-194B-4EDE-8402-AC48D2C49371}"/>
              </a:ext>
            </a:extLst>
          </p:cNvPr>
          <p:cNvSpPr/>
          <p:nvPr/>
        </p:nvSpPr>
        <p:spPr>
          <a:xfrm>
            <a:off x="1117251" y="1765534"/>
            <a:ext cx="7183959" cy="382370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21194B10-A806-44D7-BE61-A68F8072ADCD}"/>
              </a:ext>
            </a:extLst>
          </p:cNvPr>
          <p:cNvSpPr/>
          <p:nvPr/>
        </p:nvSpPr>
        <p:spPr>
          <a:xfrm>
            <a:off x="1117251" y="1549024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뉴스 컨텐츠 상세 조회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4" name="표 12">
            <a:extLst>
              <a:ext uri="{FF2B5EF4-FFF2-40B4-BE49-F238E27FC236}">
                <a16:creationId xmlns:a16="http://schemas.microsoft.com/office/drawing/2014/main" id="{580B27E1-B882-4E40-B497-1D99BFE669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7198849"/>
              </p:ext>
            </p:extLst>
          </p:nvPr>
        </p:nvGraphicFramePr>
        <p:xfrm>
          <a:off x="1170559" y="1906424"/>
          <a:ext cx="7085681" cy="135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7737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987830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667827">
                  <a:extLst>
                    <a:ext uri="{9D8B030D-6E8A-4147-A177-3AD203B41FA5}">
                      <a16:colId xmlns:a16="http://schemas.microsoft.com/office/drawing/2014/main" val="3187039777"/>
                    </a:ext>
                  </a:extLst>
                </a:gridCol>
                <a:gridCol w="3652653">
                  <a:extLst>
                    <a:ext uri="{9D8B030D-6E8A-4147-A177-3AD203B41FA5}">
                      <a16:colId xmlns:a16="http://schemas.microsoft.com/office/drawing/2014/main" val="1628069303"/>
                    </a:ext>
                  </a:extLst>
                </a:gridCol>
              </a:tblGrid>
              <a:tr h="270000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등록 정보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● 바로보기          </a:t>
                      </a:r>
                      <a:r>
                        <a:rPr lang="ko-KR" altLang="en-US" sz="800" b="1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r>
                        <a:rPr lang="ko-KR" altLang="en-US" sz="8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링크연결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분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</a:t>
                      </a:r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C046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 기간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3029140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대상 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D04A02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     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      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142598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가능여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가능            ○ 불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키워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313262"/>
                  </a:ext>
                </a:extLst>
              </a:tr>
            </a:tbl>
          </a:graphicData>
        </a:graphic>
      </p:graphicFrame>
      <p:grpSp>
        <p:nvGrpSpPr>
          <p:cNvPr id="36" name="그룹 35">
            <a:extLst>
              <a:ext uri="{FF2B5EF4-FFF2-40B4-BE49-F238E27FC236}">
                <a16:creationId xmlns:a16="http://schemas.microsoft.com/office/drawing/2014/main" id="{268B8BD4-36CD-4A00-8526-D3BFDF33A794}"/>
              </a:ext>
            </a:extLst>
          </p:cNvPr>
          <p:cNvGrpSpPr/>
          <p:nvPr/>
        </p:nvGrpSpPr>
        <p:grpSpPr>
          <a:xfrm>
            <a:off x="3982097" y="5264036"/>
            <a:ext cx="1377078" cy="180000"/>
            <a:chOff x="3931297" y="6465659"/>
            <a:chExt cx="1377078" cy="180000"/>
          </a:xfrm>
        </p:grpSpPr>
        <p:sp>
          <p:nvSpPr>
            <p:cNvPr id="37" name="사각형: 둥근 모서리 36">
              <a:extLst>
                <a:ext uri="{FF2B5EF4-FFF2-40B4-BE49-F238E27FC236}">
                  <a16:creationId xmlns:a16="http://schemas.microsoft.com/office/drawing/2014/main" id="{27F10081-682C-4496-8F9C-1CBCB35819BD}"/>
                </a:ext>
              </a:extLst>
            </p:cNvPr>
            <p:cNvSpPr/>
            <p:nvPr/>
          </p:nvSpPr>
          <p:spPr>
            <a:xfrm>
              <a:off x="3931297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저장</a:t>
              </a:r>
            </a:p>
          </p:txBody>
        </p:sp>
        <p:sp>
          <p:nvSpPr>
            <p:cNvPr id="38" name="사각형: 둥근 모서리 37">
              <a:extLst>
                <a:ext uri="{FF2B5EF4-FFF2-40B4-BE49-F238E27FC236}">
                  <a16:creationId xmlns:a16="http://schemas.microsoft.com/office/drawing/2014/main" id="{0BC9DDB2-C562-4CF8-A1C3-FAD1C7787479}"/>
                </a:ext>
              </a:extLst>
            </p:cNvPr>
            <p:cNvSpPr/>
            <p:nvPr/>
          </p:nvSpPr>
          <p:spPr>
            <a:xfrm>
              <a:off x="4655840" y="6465659"/>
              <a:ext cx="652535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닫기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983F3033-4786-46C4-ABCA-2F740CC8C72A}"/>
              </a:ext>
            </a:extLst>
          </p:cNvPr>
          <p:cNvGrpSpPr/>
          <p:nvPr/>
        </p:nvGrpSpPr>
        <p:grpSpPr>
          <a:xfrm>
            <a:off x="4608050" y="2489394"/>
            <a:ext cx="3711546" cy="175761"/>
            <a:chOff x="4535523" y="2896789"/>
            <a:chExt cx="3711546" cy="175761"/>
          </a:xfrm>
        </p:grpSpPr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FC015706-DA43-46EA-AB5A-A011E65EEAF3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58" name="그룹 57">
                <a:extLst>
                  <a:ext uri="{FF2B5EF4-FFF2-40B4-BE49-F238E27FC236}">
                    <a16:creationId xmlns:a16="http://schemas.microsoft.com/office/drawing/2014/main" id="{7E15625B-BF95-4938-AB7A-EB8B87650059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64" name="직사각형 63">
                  <a:extLst>
                    <a:ext uri="{FF2B5EF4-FFF2-40B4-BE49-F238E27FC236}">
                      <a16:creationId xmlns:a16="http://schemas.microsoft.com/office/drawing/2014/main" id="{17964180-A3C3-4B3F-9A11-E0098315954E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65" name="직사각형 64">
                  <a:extLst>
                    <a:ext uri="{FF2B5EF4-FFF2-40B4-BE49-F238E27FC236}">
                      <a16:creationId xmlns:a16="http://schemas.microsoft.com/office/drawing/2014/main" id="{CDA9BED2-4B67-44B5-89AE-BC843BD7A729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66" name="그림 65">
                  <a:extLst>
                    <a:ext uri="{FF2B5EF4-FFF2-40B4-BE49-F238E27FC236}">
                      <a16:creationId xmlns:a16="http://schemas.microsoft.com/office/drawing/2014/main" id="{0F911C1A-474B-4DA2-A1A1-D1024A7BF0C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59" name="직사각형 58">
                <a:extLst>
                  <a:ext uri="{FF2B5EF4-FFF2-40B4-BE49-F238E27FC236}">
                    <a16:creationId xmlns:a16="http://schemas.microsoft.com/office/drawing/2014/main" id="{D8888C84-C0B6-4049-A8B2-D595A9A0CE04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22A7EC22-B540-4C26-9C1C-21CA1D6CC73B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D49528A2-49EB-463E-9717-58A4B78986BF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D3378456-5930-4FAD-961A-D05A5E54952B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4378045A-DAD2-4BD2-9E04-914531761F6D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43" name="그룹 42">
              <a:extLst>
                <a:ext uri="{FF2B5EF4-FFF2-40B4-BE49-F238E27FC236}">
                  <a16:creationId xmlns:a16="http://schemas.microsoft.com/office/drawing/2014/main" id="{2E06B6CA-0DEC-4A4C-A433-C0A4566AD836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47" name="그룹 46">
                <a:extLst>
                  <a:ext uri="{FF2B5EF4-FFF2-40B4-BE49-F238E27FC236}">
                    <a16:creationId xmlns:a16="http://schemas.microsoft.com/office/drawing/2014/main" id="{570E0FCB-9D4A-48D7-B16B-73916C321CFA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55" name="직사각형 54">
                  <a:extLst>
                    <a:ext uri="{FF2B5EF4-FFF2-40B4-BE49-F238E27FC236}">
                      <a16:creationId xmlns:a16="http://schemas.microsoft.com/office/drawing/2014/main" id="{A4588019-C1FC-4BEB-92E0-13E388A50C0D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56" name="직사각형 55">
                  <a:extLst>
                    <a:ext uri="{FF2B5EF4-FFF2-40B4-BE49-F238E27FC236}">
                      <a16:creationId xmlns:a16="http://schemas.microsoft.com/office/drawing/2014/main" id="{4867D1BB-E04B-41E9-A7FB-4484860590EC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57" name="그림 56">
                  <a:extLst>
                    <a:ext uri="{FF2B5EF4-FFF2-40B4-BE49-F238E27FC236}">
                      <a16:creationId xmlns:a16="http://schemas.microsoft.com/office/drawing/2014/main" id="{6C27E1C3-BD84-4BD1-9745-942C784C06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48" name="직사각형 47">
                <a:extLst>
                  <a:ext uri="{FF2B5EF4-FFF2-40B4-BE49-F238E27FC236}">
                    <a16:creationId xmlns:a16="http://schemas.microsoft.com/office/drawing/2014/main" id="{F4F26D24-D3D9-4003-BFD2-F446A3B079AA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49" name="직사각형 48">
                <a:extLst>
                  <a:ext uri="{FF2B5EF4-FFF2-40B4-BE49-F238E27FC236}">
                    <a16:creationId xmlns:a16="http://schemas.microsoft.com/office/drawing/2014/main" id="{A5B2B1D5-F501-4975-B4B4-E514C082804A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0" name="직사각형 49">
                <a:extLst>
                  <a:ext uri="{FF2B5EF4-FFF2-40B4-BE49-F238E27FC236}">
                    <a16:creationId xmlns:a16="http://schemas.microsoft.com/office/drawing/2014/main" id="{350FD4EA-4737-4C94-B8C3-04C8AD7D8E1C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2" name="직사각형 51">
                <a:extLst>
                  <a:ext uri="{FF2B5EF4-FFF2-40B4-BE49-F238E27FC236}">
                    <a16:creationId xmlns:a16="http://schemas.microsoft.com/office/drawing/2014/main" id="{03676DAF-0119-494E-BEDE-C75E8C087971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D3148EB2-131E-4FD1-B259-BF4441263D36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45" name="사각형: 둥근 모서리 44">
              <a:extLst>
                <a:ext uri="{FF2B5EF4-FFF2-40B4-BE49-F238E27FC236}">
                  <a16:creationId xmlns:a16="http://schemas.microsoft.com/office/drawing/2014/main" id="{BC4EE193-D775-4A59-A843-52C8BFE00C03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46" name="그림 45">
              <a:extLst>
                <a:ext uri="{FF2B5EF4-FFF2-40B4-BE49-F238E27FC236}">
                  <a16:creationId xmlns:a16="http://schemas.microsoft.com/office/drawing/2014/main" id="{60C604BB-66D8-490D-BF10-31EEB2FCC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9203E3BD-4DA2-4BFD-BC34-5F47B33F731F}"/>
              </a:ext>
            </a:extLst>
          </p:cNvPr>
          <p:cNvSpPr/>
          <p:nvPr/>
        </p:nvSpPr>
        <p:spPr>
          <a:xfrm>
            <a:off x="4652851" y="3023182"/>
            <a:ext cx="3531382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우선순위에 따라 콤마로 구분하여 입력하세요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090D3460-F0E4-49B1-B38D-CA5DFECF63BE}"/>
              </a:ext>
            </a:extLst>
          </p:cNvPr>
          <p:cNvSpPr/>
          <p:nvPr/>
        </p:nvSpPr>
        <p:spPr>
          <a:xfrm>
            <a:off x="332094" y="1134965"/>
            <a:ext cx="4395754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 뉴스 상세 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 뉴스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 뉴스 상세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5BB42BC4-ED86-49E4-A94B-3768CDE4F42D}"/>
              </a:ext>
            </a:extLst>
          </p:cNvPr>
          <p:cNvSpPr/>
          <p:nvPr/>
        </p:nvSpPr>
        <p:spPr>
          <a:xfrm>
            <a:off x="3912202" y="519559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8" name="사각형: 둥근 모서리 67">
            <a:extLst>
              <a:ext uri="{FF2B5EF4-FFF2-40B4-BE49-F238E27FC236}">
                <a16:creationId xmlns:a16="http://schemas.microsoft.com/office/drawing/2014/main" id="{1234C3E9-66CC-4EDF-B6E2-3A172B00322F}"/>
              </a:ext>
            </a:extLst>
          </p:cNvPr>
          <p:cNvSpPr/>
          <p:nvPr/>
        </p:nvSpPr>
        <p:spPr>
          <a:xfrm>
            <a:off x="4684092" y="519559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69" name="표 68">
            <a:extLst>
              <a:ext uri="{FF2B5EF4-FFF2-40B4-BE49-F238E27FC236}">
                <a16:creationId xmlns:a16="http://schemas.microsoft.com/office/drawing/2014/main" id="{1E0585E5-D58B-454A-84B9-32BB1EE8BA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983702"/>
              </p:ext>
            </p:extLst>
          </p:nvPr>
        </p:nvGraphicFramePr>
        <p:xfrm>
          <a:off x="1170559" y="3298110"/>
          <a:ext cx="7085684" cy="17150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8998">
                  <a:extLst>
                    <a:ext uri="{9D8B030D-6E8A-4147-A177-3AD203B41FA5}">
                      <a16:colId xmlns:a16="http://schemas.microsoft.com/office/drawing/2014/main" val="2995890112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3441315344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2512576970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1073537698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517666478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2327706840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2865602510"/>
                    </a:ext>
                  </a:extLst>
                </a:gridCol>
                <a:gridCol w="908098">
                  <a:extLst>
                    <a:ext uri="{9D8B030D-6E8A-4147-A177-3AD203B41FA5}">
                      <a16:colId xmlns:a16="http://schemas.microsoft.com/office/drawing/2014/main" val="995213640"/>
                    </a:ext>
                  </a:extLst>
                </a:gridCol>
              </a:tblGrid>
              <a:tr h="21386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S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(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Tax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</a:t>
                      </a:r>
                      <a:endParaRPr lang="ko-KR" alt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50429"/>
                  </a:ext>
                </a:extLst>
              </a:tr>
              <a:tr h="14210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기후변화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□온실가스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에너지 전환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자원 및 순환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오염과 폐기물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생물다양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친환경제품 및 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술</a:t>
                      </a: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적자원 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인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지역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소비자 및 고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이사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주주권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윤리경영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위험관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후리스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금융배출량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투자</a:t>
                      </a:r>
                      <a:endParaRPr lang="ko-KR" altLang="en-US" dirty="0"/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탄소국경세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∙ 세제</a:t>
                      </a:r>
                      <a:b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혜택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세무 투명성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M&amp;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책임 투자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ISSB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SEC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C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NFD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2000" marR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354544"/>
                  </a:ext>
                </a:extLst>
              </a:tr>
            </a:tbl>
          </a:graphicData>
        </a:graphic>
      </p:graphicFrame>
      <p:sp>
        <p:nvSpPr>
          <p:cNvPr id="70" name="직사각형 69">
            <a:extLst>
              <a:ext uri="{FF2B5EF4-FFF2-40B4-BE49-F238E27FC236}">
                <a16:creationId xmlns:a16="http://schemas.microsoft.com/office/drawing/2014/main" id="{8BE09D57-8DF7-4BD6-A5E2-74AB384A666C}"/>
              </a:ext>
            </a:extLst>
          </p:cNvPr>
          <p:cNvSpPr/>
          <p:nvPr/>
        </p:nvSpPr>
        <p:spPr>
          <a:xfrm>
            <a:off x="8973779" y="0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884847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327589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656250"/>
              </p:ext>
            </p:extLst>
          </p:nvPr>
        </p:nvGraphicFramePr>
        <p:xfrm>
          <a:off x="9267391" y="759198"/>
          <a:ext cx="2922885" cy="46142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1495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설정안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설정안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하면 일자 선택 기능 활성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시점부터 과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으로 자동 설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779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 자유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유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747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외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671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조건에 맞게 출처 리스트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지워지고 초기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3366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 조건에 따라 조회된 총 건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352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에서 볼 수 있는 조회 건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2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5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1,0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3725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1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당 조회건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따른 페이지 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1331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추가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출처 등록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D:M009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6174622"/>
                  </a:ext>
                </a:extLst>
              </a:tr>
              <a:tr h="1331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리스트 엑셀 다운로드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179725"/>
                  </a:ext>
                </a:extLst>
              </a:tr>
              <a:tr h="1331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 번호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 상세 조회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10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16928"/>
                  </a:ext>
                </a:extLst>
              </a:tr>
              <a:tr h="1331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출처로 등록 된 컨텐츠 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수 합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86768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 관리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074514"/>
              </p:ext>
            </p:extLst>
          </p:nvPr>
        </p:nvGraphicFramePr>
        <p:xfrm>
          <a:off x="336268" y="1459939"/>
          <a:ext cx="8639510" cy="81977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2637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8592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9910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3318371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자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번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                ○ 국내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315771">
                <a:tc gridSpan="4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5" name="직사각형 84">
            <a:extLst>
              <a:ext uri="{FF2B5EF4-FFF2-40B4-BE49-F238E27FC236}">
                <a16:creationId xmlns:a16="http://schemas.microsoft.com/office/drawing/2014/main" id="{C3E5D00F-CF4B-4C5E-BC5A-8812BEDD9341}"/>
              </a:ext>
            </a:extLst>
          </p:cNvPr>
          <p:cNvSpPr/>
          <p:nvPr/>
        </p:nvSpPr>
        <p:spPr>
          <a:xfrm>
            <a:off x="6449652" y="1495692"/>
            <a:ext cx="1558223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742991"/>
              </p:ext>
            </p:extLst>
          </p:nvPr>
        </p:nvGraphicFramePr>
        <p:xfrm>
          <a:off x="336268" y="2462416"/>
          <a:ext cx="8639509" cy="421356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31140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736303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720081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1247958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1247957">
                  <a:extLst>
                    <a:ext uri="{9D8B030D-6E8A-4147-A177-3AD203B41FA5}">
                      <a16:colId xmlns:a16="http://schemas.microsoft.com/office/drawing/2014/main" val="532347766"/>
                    </a:ext>
                  </a:extLst>
                </a:gridCol>
                <a:gridCol w="1247958">
                  <a:extLst>
                    <a:ext uri="{9D8B030D-6E8A-4147-A177-3AD203B41FA5}">
                      <a16:colId xmlns:a16="http://schemas.microsoft.com/office/drawing/2014/main" val="3481875127"/>
                    </a:ext>
                  </a:extLst>
                </a:gridCol>
              </a:tblGrid>
              <a:tr h="298415">
                <a:tc gridSpan="7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7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수 합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 컨텐츠 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컨텐츠 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K12345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2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2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K12356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한상공회의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0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0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0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F00097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0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0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F01239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rbon Trust Standard for Water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8018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737106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500052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94305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62376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7668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828627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27409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872882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301475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188547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887253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0461719"/>
                  </a:ext>
                </a:extLst>
              </a:tr>
            </a:tbl>
          </a:graphicData>
        </a:graphic>
      </p:graphicFrame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345125" y="2468960"/>
            <a:ext cx="1558109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2813423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2818653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20437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20437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sp>
        <p:nvSpPr>
          <p:cNvPr id="275" name="사각형: 둥근 모서리 274">
            <a:extLst>
              <a:ext uri="{FF2B5EF4-FFF2-40B4-BE49-F238E27FC236}">
                <a16:creationId xmlns:a16="http://schemas.microsoft.com/office/drawing/2014/main" id="{81ED1F1B-7A87-48F3-839C-9DC9B3A967AC}"/>
              </a:ext>
            </a:extLst>
          </p:cNvPr>
          <p:cNvSpPr/>
          <p:nvPr/>
        </p:nvSpPr>
        <p:spPr>
          <a:xfrm>
            <a:off x="8144256" y="2528014"/>
            <a:ext cx="760056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출처 추가</a:t>
            </a: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247BDFB1-0E21-4DB3-82C5-A058BAE6F8C8}"/>
              </a:ext>
            </a:extLst>
          </p:cNvPr>
          <p:cNvSpPr/>
          <p:nvPr/>
        </p:nvSpPr>
        <p:spPr>
          <a:xfrm>
            <a:off x="1331353" y="1752634"/>
            <a:ext cx="731495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명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8256F9CB-7321-4F54-A70B-A61C33BD8272}"/>
              </a:ext>
            </a:extLst>
          </p:cNvPr>
          <p:cNvSpPr/>
          <p:nvPr/>
        </p:nvSpPr>
        <p:spPr>
          <a:xfrm>
            <a:off x="2334120" y="1754403"/>
            <a:ext cx="1534558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1B5018DE-CABC-41A4-8B63-00FBA422E762}"/>
              </a:ext>
            </a:extLst>
          </p:cNvPr>
          <p:cNvSpPr/>
          <p:nvPr/>
        </p:nvSpPr>
        <p:spPr>
          <a:xfrm>
            <a:off x="2062115" y="1751418"/>
            <a:ext cx="216024" cy="172481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▼</a:t>
            </a:r>
          </a:p>
        </p:txBody>
      </p:sp>
      <p:sp>
        <p:nvSpPr>
          <p:cNvPr id="71" name="사각형: 둥근 모서리 70">
            <a:extLst>
              <a:ext uri="{FF2B5EF4-FFF2-40B4-BE49-F238E27FC236}">
                <a16:creationId xmlns:a16="http://schemas.microsoft.com/office/drawing/2014/main" id="{4858E307-0C02-4814-99D6-E0E6CE0857C9}"/>
              </a:ext>
            </a:extLst>
          </p:cNvPr>
          <p:cNvSpPr/>
          <p:nvPr/>
        </p:nvSpPr>
        <p:spPr>
          <a:xfrm>
            <a:off x="246042" y="14761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519D52C9-1A67-4B2E-8CFE-EE8BFFD41332}"/>
              </a:ext>
            </a:extLst>
          </p:cNvPr>
          <p:cNvGrpSpPr/>
          <p:nvPr/>
        </p:nvGrpSpPr>
        <p:grpSpPr>
          <a:xfrm>
            <a:off x="2432173" y="1500348"/>
            <a:ext cx="1749536" cy="180527"/>
            <a:chOff x="1208287" y="1514945"/>
            <a:chExt cx="1749536" cy="180527"/>
          </a:xfrm>
        </p:grpSpPr>
        <p:grpSp>
          <p:nvGrpSpPr>
            <p:cNvPr id="75" name="그룹 74">
              <a:extLst>
                <a:ext uri="{FF2B5EF4-FFF2-40B4-BE49-F238E27FC236}">
                  <a16:creationId xmlns:a16="http://schemas.microsoft.com/office/drawing/2014/main" id="{E2FD3247-E5BD-4FBB-B627-F179ADC5415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A21E2AD6-C8CC-496B-85EF-AE568FCC9F4F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910FBC07-E979-40DB-A0F9-6D9FC5B0F2E7}"/>
                  </a:ext>
                </a:extLst>
              </p:cNvPr>
              <p:cNvSpPr/>
              <p:nvPr/>
            </p:nvSpPr>
            <p:spPr>
              <a:xfrm>
                <a:off x="1879097" y="1522886"/>
                <a:ext cx="148918" cy="14135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92" name="그림 91">
                <a:extLst>
                  <a:ext uri="{FF2B5EF4-FFF2-40B4-BE49-F238E27FC236}">
                    <a16:creationId xmlns:a16="http://schemas.microsoft.com/office/drawing/2014/main" id="{01CD7634-5DB9-412F-B5F9-3F4FE02F37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40534884-8975-4365-A12A-7D3EF6E110A3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C96EBF0D-12A7-4A27-BA95-BDE0470DFC25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BD282D19-CEB3-4BF7-A210-F4DD4B51CBAA}"/>
                  </a:ext>
                </a:extLst>
              </p:cNvPr>
              <p:cNvSpPr/>
              <p:nvPr/>
            </p:nvSpPr>
            <p:spPr>
              <a:xfrm>
                <a:off x="1891851" y="1522885"/>
                <a:ext cx="148918" cy="14135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9" name="그림 88">
                <a:extLst>
                  <a:ext uri="{FF2B5EF4-FFF2-40B4-BE49-F238E27FC236}">
                    <a16:creationId xmlns:a16="http://schemas.microsoft.com/office/drawing/2014/main" id="{49538C55-70CF-4F65-A6C8-6AE61A5360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B99FF2BC-DBD6-4F61-9FE3-7591C292294D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5221095A-8F4F-4CE2-A09B-E7C1C3F82B7D}"/>
                </a:ext>
              </a:extLst>
            </p:cNvPr>
            <p:cNvSpPr/>
            <p:nvPr/>
          </p:nvSpPr>
          <p:spPr>
            <a:xfrm>
              <a:off x="1208287" y="1522517"/>
              <a:ext cx="723126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24A8245E-A30D-459E-A893-82E82F9BF13F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123DC944-A861-42A4-A6F3-0E43EA1329BF}"/>
              </a:ext>
            </a:extLst>
          </p:cNvPr>
          <p:cNvGrpSpPr/>
          <p:nvPr/>
        </p:nvGrpSpPr>
        <p:grpSpPr>
          <a:xfrm>
            <a:off x="1333985" y="1503402"/>
            <a:ext cx="1033611" cy="172800"/>
            <a:chOff x="1260033" y="1778319"/>
            <a:chExt cx="1033611" cy="172800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FB972222-5C6C-44AC-92CA-3D3BDD78CA0C}"/>
                </a:ext>
              </a:extLst>
            </p:cNvPr>
            <p:cNvSpPr/>
            <p:nvPr/>
          </p:nvSpPr>
          <p:spPr>
            <a:xfrm>
              <a:off x="1260033" y="1778319"/>
              <a:ext cx="817587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 안함</a:t>
              </a: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626C6693-98C9-44E0-A8AA-9D9EA7FF0AA5}"/>
                </a:ext>
              </a:extLst>
            </p:cNvPr>
            <p:cNvSpPr/>
            <p:nvPr/>
          </p:nvSpPr>
          <p:spPr>
            <a:xfrm>
              <a:off x="2077620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96" name="그룹 95">
            <a:extLst>
              <a:ext uri="{FF2B5EF4-FFF2-40B4-BE49-F238E27FC236}">
                <a16:creationId xmlns:a16="http://schemas.microsoft.com/office/drawing/2014/main" id="{6BE1BA90-72F3-423C-AD59-0D0FFD1595D8}"/>
              </a:ext>
            </a:extLst>
          </p:cNvPr>
          <p:cNvGrpSpPr/>
          <p:nvPr/>
        </p:nvGrpSpPr>
        <p:grpSpPr>
          <a:xfrm>
            <a:off x="5730872" y="1494376"/>
            <a:ext cx="643637" cy="173797"/>
            <a:chOff x="1260034" y="1777322"/>
            <a:chExt cx="643637" cy="173797"/>
          </a:xfrm>
        </p:grpSpPr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DCE25985-B27A-450A-8FB2-7C6E23DB6D4E}"/>
                </a:ext>
              </a:extLst>
            </p:cNvPr>
            <p:cNvSpPr/>
            <p:nvPr/>
          </p:nvSpPr>
          <p:spPr>
            <a:xfrm>
              <a:off x="1260034" y="1778319"/>
              <a:ext cx="425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등록자</a:t>
              </a:r>
            </a:p>
          </p:txBody>
        </p:sp>
        <p:sp>
          <p:nvSpPr>
            <p:cNvPr id="98" name="직사각형 97">
              <a:extLst>
                <a:ext uri="{FF2B5EF4-FFF2-40B4-BE49-F238E27FC236}">
                  <a16:creationId xmlns:a16="http://schemas.microsoft.com/office/drawing/2014/main" id="{7874D9F6-A736-4C4C-873F-FF08EAA49D27}"/>
                </a:ext>
              </a:extLst>
            </p:cNvPr>
            <p:cNvSpPr/>
            <p:nvPr/>
          </p:nvSpPr>
          <p:spPr>
            <a:xfrm>
              <a:off x="1687647" y="1777322"/>
              <a:ext cx="216024" cy="17379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9" name="사각형: 둥근 모서리 98">
            <a:extLst>
              <a:ext uri="{FF2B5EF4-FFF2-40B4-BE49-F238E27FC236}">
                <a16:creationId xmlns:a16="http://schemas.microsoft.com/office/drawing/2014/main" id="{F49E1EDF-A3AB-491A-B17A-56407F4E6D3D}"/>
              </a:ext>
            </a:extLst>
          </p:cNvPr>
          <p:cNvSpPr/>
          <p:nvPr/>
        </p:nvSpPr>
        <p:spPr>
          <a:xfrm>
            <a:off x="4559500" y="149222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63DC044A-35FD-4D4B-A55D-7D9B743A80CC}"/>
              </a:ext>
            </a:extLst>
          </p:cNvPr>
          <p:cNvSpPr/>
          <p:nvPr/>
        </p:nvSpPr>
        <p:spPr>
          <a:xfrm>
            <a:off x="246042" y="173588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4" name="사각형: 둥근 모서리 103">
            <a:extLst>
              <a:ext uri="{FF2B5EF4-FFF2-40B4-BE49-F238E27FC236}">
                <a16:creationId xmlns:a16="http://schemas.microsoft.com/office/drawing/2014/main" id="{9C61798F-C4F6-4908-9BA6-E26A2C9377BD}"/>
              </a:ext>
            </a:extLst>
          </p:cNvPr>
          <p:cNvSpPr/>
          <p:nvPr/>
        </p:nvSpPr>
        <p:spPr>
          <a:xfrm>
            <a:off x="4559500" y="173588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사각형: 둥근 모서리 104">
            <a:extLst>
              <a:ext uri="{FF2B5EF4-FFF2-40B4-BE49-F238E27FC236}">
                <a16:creationId xmlns:a16="http://schemas.microsoft.com/office/drawing/2014/main" id="{C9399CD1-1506-4E50-9401-B5EC21FFE9EC}"/>
              </a:ext>
            </a:extLst>
          </p:cNvPr>
          <p:cNvSpPr/>
          <p:nvPr/>
        </p:nvSpPr>
        <p:spPr>
          <a:xfrm>
            <a:off x="4026646" y="19965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1197FF7E-B058-423A-978E-0ADE0C81878C}"/>
              </a:ext>
            </a:extLst>
          </p:cNvPr>
          <p:cNvSpPr/>
          <p:nvPr/>
        </p:nvSpPr>
        <p:spPr>
          <a:xfrm>
            <a:off x="4756033" y="19885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C6292E37-E677-47F1-8470-AD7093382BDB}"/>
              </a:ext>
            </a:extLst>
          </p:cNvPr>
          <p:cNvSpPr/>
          <p:nvPr/>
        </p:nvSpPr>
        <p:spPr>
          <a:xfrm>
            <a:off x="1035139" y="242713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9" name="사각형: 둥근 모서리 108">
            <a:extLst>
              <a:ext uri="{FF2B5EF4-FFF2-40B4-BE49-F238E27FC236}">
                <a16:creationId xmlns:a16="http://schemas.microsoft.com/office/drawing/2014/main" id="{EB149D24-B566-4A7C-99D6-F6159A37AFD7}"/>
              </a:ext>
            </a:extLst>
          </p:cNvPr>
          <p:cNvSpPr/>
          <p:nvPr/>
        </p:nvSpPr>
        <p:spPr>
          <a:xfrm>
            <a:off x="320664" y="27415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6E4774BA-144D-4ED3-852F-3316FEE078A5}"/>
              </a:ext>
            </a:extLst>
          </p:cNvPr>
          <p:cNvSpPr/>
          <p:nvPr/>
        </p:nvSpPr>
        <p:spPr>
          <a:xfrm>
            <a:off x="1180101" y="274889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2289E7B3-EDD2-4200-8FAF-E223E45E5EF2}"/>
              </a:ext>
            </a:extLst>
          </p:cNvPr>
          <p:cNvSpPr/>
          <p:nvPr/>
        </p:nvSpPr>
        <p:spPr>
          <a:xfrm>
            <a:off x="890177" y="321010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837C62FA-254A-401A-B33B-F3371C2E09C1}"/>
              </a:ext>
            </a:extLst>
          </p:cNvPr>
          <p:cNvSpPr/>
          <p:nvPr/>
        </p:nvSpPr>
        <p:spPr>
          <a:xfrm>
            <a:off x="8065616" y="248876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14" name="그룹 113">
            <a:extLst>
              <a:ext uri="{FF2B5EF4-FFF2-40B4-BE49-F238E27FC236}">
                <a16:creationId xmlns:a16="http://schemas.microsoft.com/office/drawing/2014/main" id="{72E65370-DE78-4681-B514-8C7EC7CEF789}"/>
              </a:ext>
            </a:extLst>
          </p:cNvPr>
          <p:cNvGrpSpPr/>
          <p:nvPr/>
        </p:nvGrpSpPr>
        <p:grpSpPr>
          <a:xfrm>
            <a:off x="8144256" y="2803085"/>
            <a:ext cx="760056" cy="168738"/>
            <a:chOff x="8101523" y="4105249"/>
            <a:chExt cx="760056" cy="168738"/>
          </a:xfrm>
        </p:grpSpPr>
        <p:sp>
          <p:nvSpPr>
            <p:cNvPr id="115" name="사각형: 둥근 모서리 114">
              <a:extLst>
                <a:ext uri="{FF2B5EF4-FFF2-40B4-BE49-F238E27FC236}">
                  <a16:creationId xmlns:a16="http://schemas.microsoft.com/office/drawing/2014/main" id="{F5AE27F4-536D-42FA-B795-9B836F30F517}"/>
                </a:ext>
              </a:extLst>
            </p:cNvPr>
            <p:cNvSpPr/>
            <p:nvPr/>
          </p:nvSpPr>
          <p:spPr>
            <a:xfrm>
              <a:off x="8101523" y="4105249"/>
              <a:ext cx="760056" cy="16873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다운로드</a:t>
              </a:r>
            </a:p>
          </p:txBody>
        </p:sp>
        <p:pic>
          <p:nvPicPr>
            <p:cNvPr id="116" name="그림 115">
              <a:extLst>
                <a:ext uri="{FF2B5EF4-FFF2-40B4-BE49-F238E27FC236}">
                  <a16:creationId xmlns:a16="http://schemas.microsoft.com/office/drawing/2014/main" id="{056212DF-947E-42AE-A3FE-F5734C2B62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84232" y="4135768"/>
              <a:ext cx="105940" cy="105940"/>
            </a:xfrm>
            <a:prstGeom prst="rect">
              <a:avLst/>
            </a:prstGeom>
          </p:spPr>
        </p:pic>
      </p:grpSp>
      <p:sp>
        <p:nvSpPr>
          <p:cNvPr id="118" name="사각형: 둥근 모서리 117">
            <a:extLst>
              <a:ext uri="{FF2B5EF4-FFF2-40B4-BE49-F238E27FC236}">
                <a16:creationId xmlns:a16="http://schemas.microsoft.com/office/drawing/2014/main" id="{5D574CA3-60BD-4972-8AA5-532AAC7F0C01}"/>
              </a:ext>
            </a:extLst>
          </p:cNvPr>
          <p:cNvSpPr/>
          <p:nvPr/>
        </p:nvSpPr>
        <p:spPr>
          <a:xfrm>
            <a:off x="8065246" y="27438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2E75ACF8-932D-484F-BE54-E3F5D29F217A}"/>
              </a:ext>
            </a:extLst>
          </p:cNvPr>
          <p:cNvSpPr/>
          <p:nvPr/>
        </p:nvSpPr>
        <p:spPr>
          <a:xfrm>
            <a:off x="5121660" y="321010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92817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9439451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등록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710486"/>
              </p:ext>
            </p:extLst>
          </p:nvPr>
        </p:nvGraphicFramePr>
        <p:xfrm>
          <a:off x="9267391" y="759199"/>
          <a:ext cx="2922885" cy="15176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유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 번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등록 후 자동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번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외 선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 완료 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닫힘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</a:tbl>
          </a:graphicData>
        </a:graphic>
      </p:graphicFrame>
      <p:sp>
        <p:nvSpPr>
          <p:cNvPr id="52" name="직사각형 51">
            <a:extLst>
              <a:ext uri="{FF2B5EF4-FFF2-40B4-BE49-F238E27FC236}">
                <a16:creationId xmlns:a16="http://schemas.microsoft.com/office/drawing/2014/main" id="{E8A822CD-09A9-41C9-9238-464665ED5AE1}"/>
              </a:ext>
            </a:extLst>
          </p:cNvPr>
          <p:cNvSpPr/>
          <p:nvPr/>
        </p:nvSpPr>
        <p:spPr>
          <a:xfrm>
            <a:off x="1127448" y="975709"/>
            <a:ext cx="7183959" cy="1157147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A4FDC8AA-2A84-4795-ACEA-0738C8D654DB}"/>
              </a:ext>
            </a:extLst>
          </p:cNvPr>
          <p:cNvSpPr/>
          <p:nvPr/>
        </p:nvSpPr>
        <p:spPr>
          <a:xfrm>
            <a:off x="1127448" y="759198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 등록           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4" name="표 12">
            <a:extLst>
              <a:ext uri="{FF2B5EF4-FFF2-40B4-BE49-F238E27FC236}">
                <a16:creationId xmlns:a16="http://schemas.microsoft.com/office/drawing/2014/main" id="{B2A664C5-269B-4298-92A0-A52AF632C1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5726926"/>
              </p:ext>
            </p:extLst>
          </p:nvPr>
        </p:nvGraphicFramePr>
        <p:xfrm>
          <a:off x="1209262" y="1124873"/>
          <a:ext cx="6983316" cy="5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8747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721843">
                  <a:extLst>
                    <a:ext uri="{9D8B030D-6E8A-4147-A177-3AD203B41FA5}">
                      <a16:colId xmlns:a16="http://schemas.microsoft.com/office/drawing/2014/main" val="713958032"/>
                    </a:ext>
                  </a:extLst>
                </a:gridCol>
                <a:gridCol w="739243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3623483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번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국내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</a:tbl>
          </a:graphicData>
        </a:graphic>
      </p:graphicFrame>
      <p:sp>
        <p:nvSpPr>
          <p:cNvPr id="56" name="직사각형 55">
            <a:extLst>
              <a:ext uri="{FF2B5EF4-FFF2-40B4-BE49-F238E27FC236}">
                <a16:creationId xmlns:a16="http://schemas.microsoft.com/office/drawing/2014/main" id="{5088A14E-9995-406A-BE73-CFE766A213C2}"/>
              </a:ext>
            </a:extLst>
          </p:cNvPr>
          <p:cNvSpPr/>
          <p:nvPr/>
        </p:nvSpPr>
        <p:spPr>
          <a:xfrm>
            <a:off x="2159945" y="1169067"/>
            <a:ext cx="1343768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RI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607C1B92-CD39-4237-BBEC-6B73EA01FB34}"/>
              </a:ext>
            </a:extLst>
          </p:cNvPr>
          <p:cNvSpPr/>
          <p:nvPr/>
        </p:nvSpPr>
        <p:spPr>
          <a:xfrm>
            <a:off x="3983386" y="1784777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CAFE7807-0067-4907-BFB3-277F52AC8341}"/>
              </a:ext>
            </a:extLst>
          </p:cNvPr>
          <p:cNvSpPr/>
          <p:nvPr/>
        </p:nvSpPr>
        <p:spPr>
          <a:xfrm>
            <a:off x="4714651" y="1784777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B14EAAD-2F00-4FB0-B24E-F383B35E52B1}"/>
              </a:ext>
            </a:extLst>
          </p:cNvPr>
          <p:cNvSpPr/>
          <p:nvPr/>
        </p:nvSpPr>
        <p:spPr>
          <a:xfrm>
            <a:off x="4635920" y="1162971"/>
            <a:ext cx="1532087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CBA919D4-8F37-4010-B029-C66F0913218D}"/>
              </a:ext>
            </a:extLst>
          </p:cNvPr>
          <p:cNvGrpSpPr/>
          <p:nvPr/>
        </p:nvGrpSpPr>
        <p:grpSpPr>
          <a:xfrm>
            <a:off x="9419614" y="2383449"/>
            <a:ext cx="1254362" cy="822227"/>
            <a:chOff x="3868678" y="4667525"/>
            <a:chExt cx="1254362" cy="822227"/>
          </a:xfrm>
        </p:grpSpPr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BF9FB253-DDF0-45CA-AD2E-D5F814A7EE9B}"/>
                </a:ext>
              </a:extLst>
            </p:cNvPr>
            <p:cNvSpPr/>
            <p:nvPr/>
          </p:nvSpPr>
          <p:spPr>
            <a:xfrm>
              <a:off x="3868678" y="4667525"/>
              <a:ext cx="1219210" cy="82222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4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altLang="ko-KR" sz="3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ctr"/>
              <a:r>
                <a: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SK           12345</a:t>
              </a:r>
            </a:p>
            <a:p>
              <a:pPr algn="ctr"/>
              <a:endParaRPr lang="en-US" altLang="ko-KR" sz="1200" dirty="0"/>
            </a:p>
            <a:p>
              <a:pPr algn="ctr"/>
              <a:r>
                <a:rPr lang="en-US" altLang="ko-KR" dirty="0"/>
                <a:t> </a:t>
              </a:r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8677A928-9795-496E-BD99-33866D5220EB}"/>
                </a:ext>
              </a:extLst>
            </p:cNvPr>
            <p:cNvSpPr/>
            <p:nvPr/>
          </p:nvSpPr>
          <p:spPr>
            <a:xfrm>
              <a:off x="3868678" y="4983511"/>
              <a:ext cx="661193" cy="4756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400" latinLnBrk="1">
                <a:lnSpc>
                  <a:spcPct val="13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국내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SK</a:t>
              </a:r>
            </a:p>
            <a:p>
              <a:pPr defTabSz="914400" latinLnBrk="1">
                <a:lnSpc>
                  <a:spcPct val="13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해외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: SF</a:t>
              </a:r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546B0497-D00A-476A-B5E0-383B919E4512}"/>
                </a:ext>
              </a:extLst>
            </p:cNvPr>
            <p:cNvSpPr/>
            <p:nvPr/>
          </p:nvSpPr>
          <p:spPr>
            <a:xfrm>
              <a:off x="4422038" y="5007035"/>
              <a:ext cx="701002" cy="4321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 latinLnBrk="1">
                <a:lnSpc>
                  <a:spcPct val="130000"/>
                </a:lnSpc>
              </a:pP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일련번호</a:t>
              </a:r>
              <a:endPara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 algn="ctr" defTabSz="914400" latinLnBrk="1">
                <a:lnSpc>
                  <a:spcPct val="130000"/>
                </a:lnSpc>
              </a:pP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 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99,999</a:t>
              </a:r>
            </a:p>
          </p:txBody>
        </p:sp>
        <p:cxnSp>
          <p:nvCxnSpPr>
            <p:cNvPr id="24" name="직선 연결선 23">
              <a:extLst>
                <a:ext uri="{FF2B5EF4-FFF2-40B4-BE49-F238E27FC236}">
                  <a16:creationId xmlns:a16="http://schemas.microsoft.com/office/drawing/2014/main" id="{6946E2E6-A33D-4C46-BE3E-F593FE2238F7}"/>
                </a:ext>
              </a:extLst>
            </p:cNvPr>
            <p:cNvCxnSpPr>
              <a:cxnSpLocks/>
            </p:cNvCxnSpPr>
            <p:nvPr/>
          </p:nvCxnSpPr>
          <p:spPr>
            <a:xfrm>
              <a:off x="3984726" y="4978362"/>
              <a:ext cx="310662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>
              <a:extLst>
                <a:ext uri="{FF2B5EF4-FFF2-40B4-BE49-F238E27FC236}">
                  <a16:creationId xmlns:a16="http://schemas.microsoft.com/office/drawing/2014/main" id="{B489171C-D68C-4191-928D-4D478859E899}"/>
                </a:ext>
              </a:extLst>
            </p:cNvPr>
            <p:cNvCxnSpPr>
              <a:cxnSpLocks/>
            </p:cNvCxnSpPr>
            <p:nvPr/>
          </p:nvCxnSpPr>
          <p:spPr>
            <a:xfrm>
              <a:off x="4523074" y="4983511"/>
              <a:ext cx="492806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3EE253DA-9B01-401A-8F1D-8BC8D505D1ED}"/>
              </a:ext>
            </a:extLst>
          </p:cNvPr>
          <p:cNvSpPr/>
          <p:nvPr/>
        </p:nvSpPr>
        <p:spPr>
          <a:xfrm>
            <a:off x="1161572" y="10810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A4B2F89-2E2A-4C60-A1D9-632AC9C0643E}"/>
              </a:ext>
            </a:extLst>
          </p:cNvPr>
          <p:cNvSpPr/>
          <p:nvPr/>
        </p:nvSpPr>
        <p:spPr>
          <a:xfrm>
            <a:off x="3800121" y="10872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31049267-4555-430C-A05C-8CCAE642D4BC}"/>
              </a:ext>
            </a:extLst>
          </p:cNvPr>
          <p:cNvSpPr/>
          <p:nvPr/>
        </p:nvSpPr>
        <p:spPr>
          <a:xfrm>
            <a:off x="1161572" y="13692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09D1D371-E3C1-447F-8647-294E59DF336A}"/>
              </a:ext>
            </a:extLst>
          </p:cNvPr>
          <p:cNvSpPr/>
          <p:nvPr/>
        </p:nvSpPr>
        <p:spPr>
          <a:xfrm>
            <a:off x="3945083" y="17363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694BADD2-108C-475D-BD1E-CC0D41B4FA4E}"/>
              </a:ext>
            </a:extLst>
          </p:cNvPr>
          <p:cNvSpPr/>
          <p:nvPr/>
        </p:nvSpPr>
        <p:spPr>
          <a:xfrm>
            <a:off x="4674224" y="17363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0484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9896292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0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상세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7746688"/>
              </p:ext>
            </p:extLst>
          </p:nvPr>
        </p:nvGraphicFramePr>
        <p:xfrm>
          <a:off x="9267391" y="759198"/>
          <a:ext cx="2922885" cy="289397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523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★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외 수정 불가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09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자유 입력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747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출처로 등록 된 컨텐츠 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수 합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47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 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컨텐츠 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78117"/>
                  </a:ext>
                </a:extLst>
              </a:tr>
              <a:tr h="1695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2206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리스트 엑셀 다운로드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3366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번호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상세 조회 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07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352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장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 사항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장하시겠습니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”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얼럿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 후 확인 버튼 클릭하면 저장 완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3725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닫기 버튼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닫힘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</a:tbl>
          </a:graphicData>
        </a:graphic>
      </p:graphicFrame>
      <p:sp>
        <p:nvSpPr>
          <p:cNvPr id="52" name="직사각형 51">
            <a:extLst>
              <a:ext uri="{FF2B5EF4-FFF2-40B4-BE49-F238E27FC236}">
                <a16:creationId xmlns:a16="http://schemas.microsoft.com/office/drawing/2014/main" id="{E8A822CD-09A9-41C9-9238-464665ED5AE1}"/>
              </a:ext>
            </a:extLst>
          </p:cNvPr>
          <p:cNvSpPr/>
          <p:nvPr/>
        </p:nvSpPr>
        <p:spPr>
          <a:xfrm>
            <a:off x="1127448" y="975709"/>
            <a:ext cx="7183959" cy="526160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A4FDC8AA-2A84-4795-ACEA-0738C8D654DB}"/>
              </a:ext>
            </a:extLst>
          </p:cNvPr>
          <p:cNvSpPr/>
          <p:nvPr/>
        </p:nvSpPr>
        <p:spPr>
          <a:xfrm>
            <a:off x="1127448" y="759198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 상세 조회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4" name="표 12">
            <a:extLst>
              <a:ext uri="{FF2B5EF4-FFF2-40B4-BE49-F238E27FC236}">
                <a16:creationId xmlns:a16="http://schemas.microsoft.com/office/drawing/2014/main" id="{B2A664C5-269B-4298-92A0-A52AF632C1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8300209"/>
              </p:ext>
            </p:extLst>
          </p:nvPr>
        </p:nvGraphicFramePr>
        <p:xfrm>
          <a:off x="1209262" y="1124873"/>
          <a:ext cx="7052704" cy="10031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8747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216914">
                  <a:extLst>
                    <a:ext uri="{9D8B030D-6E8A-4147-A177-3AD203B41FA5}">
                      <a16:colId xmlns:a16="http://schemas.microsoft.com/office/drawing/2014/main" val="713958032"/>
                    </a:ext>
                  </a:extLst>
                </a:gridCol>
                <a:gridCol w="504929">
                  <a:extLst>
                    <a:ext uri="{9D8B030D-6E8A-4147-A177-3AD203B41FA5}">
                      <a16:colId xmlns:a16="http://schemas.microsoft.com/office/drawing/2014/main" val="818264286"/>
                    </a:ext>
                  </a:extLst>
                </a:gridCol>
                <a:gridCol w="711985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96646">
                  <a:extLst>
                    <a:ext uri="{9D8B030D-6E8A-4147-A177-3AD203B41FA5}">
                      <a16:colId xmlns:a16="http://schemas.microsoft.com/office/drawing/2014/main" val="2147434624"/>
                    </a:ext>
                  </a:extLst>
                </a:gridCol>
                <a:gridCol w="1189655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1216914">
                  <a:extLst>
                    <a:ext uri="{9D8B030D-6E8A-4147-A177-3AD203B41FA5}">
                      <a16:colId xmlns:a16="http://schemas.microsoft.com/office/drawing/2014/main" val="3635802676"/>
                    </a:ext>
                  </a:extLst>
                </a:gridCol>
                <a:gridCol w="1216914">
                  <a:extLst>
                    <a:ext uri="{9D8B030D-6E8A-4147-A177-3AD203B41FA5}">
                      <a16:colId xmlns:a16="http://schemas.microsoft.com/office/drawing/2014/main" val="1498552210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GRI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번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F00097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내 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수 합계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05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컨텐츠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 분류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5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컨텐츠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0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6644774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576386"/>
                  </a:ext>
                </a:extLst>
              </a:tr>
            </a:tbl>
          </a:graphicData>
        </a:graphic>
      </p:graphicFrame>
      <p:graphicFrame>
        <p:nvGraphicFramePr>
          <p:cNvPr id="58" name="표 66">
            <a:extLst>
              <a:ext uri="{FF2B5EF4-FFF2-40B4-BE49-F238E27FC236}">
                <a16:creationId xmlns:a16="http://schemas.microsoft.com/office/drawing/2014/main" id="{14F454A3-089C-4CED-9B0A-7EE3B42F63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3282371"/>
              </p:ext>
            </p:extLst>
          </p:nvPr>
        </p:nvGraphicFramePr>
        <p:xfrm>
          <a:off x="1209261" y="2136284"/>
          <a:ext cx="6983316" cy="37337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8227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3243612300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434342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637229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566426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566426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  <a:gridCol w="708032">
                  <a:extLst>
                    <a:ext uri="{9D8B030D-6E8A-4147-A177-3AD203B41FA5}">
                      <a16:colId xmlns:a16="http://schemas.microsoft.com/office/drawing/2014/main" val="3980714550"/>
                    </a:ext>
                  </a:extLst>
                </a:gridCol>
                <a:gridCol w="408258">
                  <a:extLst>
                    <a:ext uri="{9D8B030D-6E8A-4147-A177-3AD203B41FA5}">
                      <a16:colId xmlns:a16="http://schemas.microsoft.com/office/drawing/2014/main" val="3630009978"/>
                    </a:ext>
                  </a:extLst>
                </a:gridCol>
              </a:tblGrid>
              <a:tr h="319992">
                <a:tc gridSpan="10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74068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종류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A00012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P00005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 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102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탄소중립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MOA001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경영보고서 작성 지침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.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P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266895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159332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22774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86058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08503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796546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965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21290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797604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234003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9787249"/>
                  </a:ext>
                </a:extLst>
              </a:tr>
            </a:tbl>
          </a:graphicData>
        </a:graphic>
      </p:graphicFrame>
      <p:sp>
        <p:nvSpPr>
          <p:cNvPr id="71" name="직사각형 70">
            <a:extLst>
              <a:ext uri="{FF2B5EF4-FFF2-40B4-BE49-F238E27FC236}">
                <a16:creationId xmlns:a16="http://schemas.microsoft.com/office/drawing/2014/main" id="{84416A59-86E2-4C51-A827-71AB2338ADA9}"/>
              </a:ext>
            </a:extLst>
          </p:cNvPr>
          <p:cNvSpPr/>
          <p:nvPr/>
        </p:nvSpPr>
        <p:spPr>
          <a:xfrm>
            <a:off x="1278994" y="2214048"/>
            <a:ext cx="480645" cy="1728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</a:t>
            </a: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AFA61CEF-598E-403D-8C01-BE233BF4559F}"/>
              </a:ext>
            </a:extLst>
          </p:cNvPr>
          <p:cNvGrpSpPr/>
          <p:nvPr/>
        </p:nvGrpSpPr>
        <p:grpSpPr>
          <a:xfrm>
            <a:off x="1829372" y="2214048"/>
            <a:ext cx="696669" cy="172800"/>
            <a:chOff x="1260033" y="1778319"/>
            <a:chExt cx="696669" cy="172800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4F9BB940-4A57-4D5E-BE5B-521CC489BE5E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13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DEF14A03-F5A3-497C-88A2-B38087A6A33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607C1B92-CD39-4237-BBEC-6B73EA01FB34}"/>
              </a:ext>
            </a:extLst>
          </p:cNvPr>
          <p:cNvSpPr/>
          <p:nvPr/>
        </p:nvSpPr>
        <p:spPr>
          <a:xfrm>
            <a:off x="3983386" y="594928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CAFE7807-0067-4907-BFB3-277F52AC8341}"/>
              </a:ext>
            </a:extLst>
          </p:cNvPr>
          <p:cNvSpPr/>
          <p:nvPr/>
        </p:nvSpPr>
        <p:spPr>
          <a:xfrm>
            <a:off x="4714651" y="594928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F015E032-E540-476D-B030-CFF9455E96CF}"/>
              </a:ext>
            </a:extLst>
          </p:cNvPr>
          <p:cNvSpPr/>
          <p:nvPr/>
        </p:nvSpPr>
        <p:spPr>
          <a:xfrm>
            <a:off x="1176838" y="214911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88FFD03E-E13E-4C3C-AECF-9DE7161E91C3}"/>
              </a:ext>
            </a:extLst>
          </p:cNvPr>
          <p:cNvSpPr/>
          <p:nvPr/>
        </p:nvSpPr>
        <p:spPr>
          <a:xfrm>
            <a:off x="1792062" y="214911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E045D1A3-50B2-4FC0-98AD-C0E1B10F9699}"/>
              </a:ext>
            </a:extLst>
          </p:cNvPr>
          <p:cNvSpPr/>
          <p:nvPr/>
        </p:nvSpPr>
        <p:spPr>
          <a:xfrm>
            <a:off x="1829372" y="261962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8E4F729D-6221-4614-B928-D941C662D4B0}"/>
              </a:ext>
            </a:extLst>
          </p:cNvPr>
          <p:cNvSpPr/>
          <p:nvPr/>
        </p:nvSpPr>
        <p:spPr>
          <a:xfrm>
            <a:off x="1167508" y="16202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D02A72C2-D77F-4140-AC95-96CC85D70BDC}"/>
              </a:ext>
            </a:extLst>
          </p:cNvPr>
          <p:cNvSpPr/>
          <p:nvPr/>
        </p:nvSpPr>
        <p:spPr>
          <a:xfrm>
            <a:off x="2159442" y="1162971"/>
            <a:ext cx="1534558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03FC1446-044E-4E03-9954-C86F119B1E74}"/>
              </a:ext>
            </a:extLst>
          </p:cNvPr>
          <p:cNvGrpSpPr/>
          <p:nvPr/>
        </p:nvGrpSpPr>
        <p:grpSpPr>
          <a:xfrm>
            <a:off x="7351105" y="2228147"/>
            <a:ext cx="760056" cy="168738"/>
            <a:chOff x="8101523" y="4105249"/>
            <a:chExt cx="760056" cy="168738"/>
          </a:xfrm>
        </p:grpSpPr>
        <p:sp>
          <p:nvSpPr>
            <p:cNvPr id="41" name="사각형: 둥근 모서리 40">
              <a:extLst>
                <a:ext uri="{FF2B5EF4-FFF2-40B4-BE49-F238E27FC236}">
                  <a16:creationId xmlns:a16="http://schemas.microsoft.com/office/drawing/2014/main" id="{B03812A3-F738-448C-BAF6-B01B6B6DCB3C}"/>
                </a:ext>
              </a:extLst>
            </p:cNvPr>
            <p:cNvSpPr/>
            <p:nvPr/>
          </p:nvSpPr>
          <p:spPr>
            <a:xfrm>
              <a:off x="8101523" y="4105249"/>
              <a:ext cx="760056" cy="16873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다운로드</a:t>
              </a:r>
            </a:p>
          </p:txBody>
        </p:sp>
        <p:pic>
          <p:nvPicPr>
            <p:cNvPr id="42" name="그림 41">
              <a:extLst>
                <a:ext uri="{FF2B5EF4-FFF2-40B4-BE49-F238E27FC236}">
                  <a16:creationId xmlns:a16="http://schemas.microsoft.com/office/drawing/2014/main" id="{D94FF3C1-60FB-422C-8B39-89C3DC8753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84232" y="4135768"/>
              <a:ext cx="105940" cy="105940"/>
            </a:xfrm>
            <a:prstGeom prst="rect">
              <a:avLst/>
            </a:prstGeom>
          </p:spPr>
        </p:pic>
      </p:grp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C48D271C-DB66-4743-9EA4-8706B1320BA3}"/>
              </a:ext>
            </a:extLst>
          </p:cNvPr>
          <p:cNvSpPr/>
          <p:nvPr/>
        </p:nvSpPr>
        <p:spPr>
          <a:xfrm>
            <a:off x="1161572" y="10810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28643106-C5F3-4E6F-BBE7-818DBFFD1384}"/>
              </a:ext>
            </a:extLst>
          </p:cNvPr>
          <p:cNvSpPr/>
          <p:nvPr/>
        </p:nvSpPr>
        <p:spPr>
          <a:xfrm>
            <a:off x="7278624" y="215801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55721E41-F18B-44E5-96EC-4D8C42F7E066}"/>
              </a:ext>
            </a:extLst>
          </p:cNvPr>
          <p:cNvSpPr/>
          <p:nvPr/>
        </p:nvSpPr>
        <p:spPr>
          <a:xfrm>
            <a:off x="3914819" y="589587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FA2939F6-FAFA-4503-81A6-5D488513BF32}"/>
              </a:ext>
            </a:extLst>
          </p:cNvPr>
          <p:cNvSpPr/>
          <p:nvPr/>
        </p:nvSpPr>
        <p:spPr>
          <a:xfrm>
            <a:off x="4672521" y="58962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4587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50359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2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검색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2296326"/>
              </p:ext>
            </p:extLst>
          </p:nvPr>
        </p:nvGraphicFramePr>
        <p:xfrm>
          <a:off x="9283335" y="763245"/>
          <a:ext cx="2922885" cy="55386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1791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명으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조회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키워드가 들어간 컨텐츠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두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747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종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서 선택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웃링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 선택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업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임베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코드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747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으로 조회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키워드가 들어간 컨텐츠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두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632782"/>
                  </a:ext>
                </a:extLst>
              </a:tr>
              <a:tr h="1747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외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78117"/>
                  </a:ext>
                </a:extLst>
              </a:tr>
              <a:tr h="1695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이드라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교육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선택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Level 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버튼 활성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사이트 리포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2206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분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관리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략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계획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6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endParaRPr lang="en-US" altLang="ko-KR" sz="800" b="0" i="0" u="none" strike="noStrike" kern="1200" cap="none" spc="-6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734430"/>
                  </a:ext>
                </a:extLst>
              </a:tr>
              <a:tr h="2206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3366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번호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복수 검색 가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352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조건에 맞게 출처 리스트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2363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지워지고 초기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2363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 페이지 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씩 컨텐츠 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34310"/>
                  </a:ext>
                </a:extLst>
              </a:tr>
              <a:tr h="2363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0628552"/>
                  </a:ext>
                </a:extLst>
              </a:tr>
              <a:tr h="2363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체크 후 추가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 화면에서 컨텐츠 추가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328505"/>
                  </a:ext>
                </a:extLst>
              </a:tr>
              <a:tr h="2363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468295"/>
                  </a:ext>
                </a:extLst>
              </a:tr>
            </a:tbl>
          </a:graphicData>
        </a:graphic>
      </p:graphicFrame>
      <p:sp>
        <p:nvSpPr>
          <p:cNvPr id="53" name="직사각형 52">
            <a:extLst>
              <a:ext uri="{FF2B5EF4-FFF2-40B4-BE49-F238E27FC236}">
                <a16:creationId xmlns:a16="http://schemas.microsoft.com/office/drawing/2014/main" id="{A4FDC8AA-2A84-4795-ACEA-0738C8D654DB}"/>
              </a:ext>
            </a:extLst>
          </p:cNvPr>
          <p:cNvSpPr/>
          <p:nvPr/>
        </p:nvSpPr>
        <p:spPr>
          <a:xfrm>
            <a:off x="1127448" y="759198"/>
            <a:ext cx="7183959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검색                                                                                                          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EEC347E6-371C-4826-A595-04354FE32CE7}"/>
              </a:ext>
            </a:extLst>
          </p:cNvPr>
          <p:cNvSpPr/>
          <p:nvPr/>
        </p:nvSpPr>
        <p:spPr>
          <a:xfrm>
            <a:off x="3919899" y="5944434"/>
            <a:ext cx="772169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추가</a:t>
            </a: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3DACF7A1-79BA-4182-9B00-1B53590A43A0}"/>
              </a:ext>
            </a:extLst>
          </p:cNvPr>
          <p:cNvSpPr/>
          <p:nvPr/>
        </p:nvSpPr>
        <p:spPr>
          <a:xfrm>
            <a:off x="4770798" y="5944434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</a:p>
        </p:txBody>
      </p:sp>
      <p:graphicFrame>
        <p:nvGraphicFramePr>
          <p:cNvPr id="62" name="표 12">
            <a:extLst>
              <a:ext uri="{FF2B5EF4-FFF2-40B4-BE49-F238E27FC236}">
                <a16:creationId xmlns:a16="http://schemas.microsoft.com/office/drawing/2014/main" id="{C4BD47BE-ED72-4A16-A19E-56A2DB5765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9624597"/>
              </p:ext>
            </p:extLst>
          </p:nvPr>
        </p:nvGraphicFramePr>
        <p:xfrm>
          <a:off x="1127448" y="1207561"/>
          <a:ext cx="7183959" cy="139577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8237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1157987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750680138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731020562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1136730883"/>
                    </a:ext>
                  </a:extLst>
                </a:gridCol>
                <a:gridCol w="2071391">
                  <a:extLst>
                    <a:ext uri="{9D8B030D-6E8A-4147-A177-3AD203B41FA5}">
                      <a16:colId xmlns:a16="http://schemas.microsoft.com/office/drawing/2014/main" val="3635995640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번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전체         ○ 국내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170291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latinLnBrk="1">
                        <a:lnSpc>
                          <a:spcPct val="130000"/>
                        </a:lnSpc>
                      </a:pP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번호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latinLnBrk="1">
                        <a:lnSpc>
                          <a:spcPct val="130000"/>
                        </a:lnSpc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중검색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320023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무 분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태그 키워드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6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sp>
        <p:nvSpPr>
          <p:cNvPr id="83" name="직사각형 82">
            <a:extLst>
              <a:ext uri="{FF2B5EF4-FFF2-40B4-BE49-F238E27FC236}">
                <a16:creationId xmlns:a16="http://schemas.microsoft.com/office/drawing/2014/main" id="{C1A6DE3A-401F-47B6-B287-1A0DA713E80D}"/>
              </a:ext>
            </a:extLst>
          </p:cNvPr>
          <p:cNvSpPr/>
          <p:nvPr/>
        </p:nvSpPr>
        <p:spPr>
          <a:xfrm>
            <a:off x="2030372" y="1249371"/>
            <a:ext cx="61115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명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B67DDE18-EA2F-4193-89F2-F298A7958176}"/>
              </a:ext>
            </a:extLst>
          </p:cNvPr>
          <p:cNvSpPr/>
          <p:nvPr/>
        </p:nvSpPr>
        <p:spPr>
          <a:xfrm>
            <a:off x="2895508" y="1249371"/>
            <a:ext cx="1596297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5" name="그룹 84">
            <a:extLst>
              <a:ext uri="{FF2B5EF4-FFF2-40B4-BE49-F238E27FC236}">
                <a16:creationId xmlns:a16="http://schemas.microsoft.com/office/drawing/2014/main" id="{EB2E1A45-0742-44FC-843D-3750740F438D}"/>
              </a:ext>
            </a:extLst>
          </p:cNvPr>
          <p:cNvGrpSpPr/>
          <p:nvPr/>
        </p:nvGrpSpPr>
        <p:grpSpPr>
          <a:xfrm>
            <a:off x="6284583" y="1249172"/>
            <a:ext cx="1874731" cy="178979"/>
            <a:chOff x="1331353" y="2500671"/>
            <a:chExt cx="1874731" cy="178979"/>
          </a:xfrm>
        </p:grpSpPr>
        <p:grpSp>
          <p:nvGrpSpPr>
            <p:cNvPr id="86" name="그룹 85">
              <a:extLst>
                <a:ext uri="{FF2B5EF4-FFF2-40B4-BE49-F238E27FC236}">
                  <a16:creationId xmlns:a16="http://schemas.microsoft.com/office/drawing/2014/main" id="{9D8054BC-B0A6-401B-8ADF-975C78886325}"/>
                </a:ext>
              </a:extLst>
            </p:cNvPr>
            <p:cNvGrpSpPr/>
            <p:nvPr/>
          </p:nvGrpSpPr>
          <p:grpSpPr>
            <a:xfrm>
              <a:off x="1331353" y="2500671"/>
              <a:ext cx="756940" cy="178661"/>
              <a:chOff x="1260034" y="1778318"/>
              <a:chExt cx="756940" cy="178661"/>
            </a:xfrm>
          </p:grpSpPr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2BAB8BB8-9A05-42CC-B31D-398DFCB8BB0B}"/>
                  </a:ext>
                </a:extLst>
              </p:cNvPr>
              <p:cNvSpPr/>
              <p:nvPr/>
            </p:nvSpPr>
            <p:spPr>
              <a:xfrm>
                <a:off x="1260034" y="1778318"/>
                <a:ext cx="540916" cy="17834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DEF2B996-6C63-4876-B156-57BCCFEEFE72}"/>
                  </a:ext>
                </a:extLst>
              </p:cNvPr>
              <p:cNvSpPr/>
              <p:nvPr/>
            </p:nvSpPr>
            <p:spPr>
              <a:xfrm>
                <a:off x="1800950" y="1779859"/>
                <a:ext cx="216024" cy="17712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87" name="그룹 86">
              <a:extLst>
                <a:ext uri="{FF2B5EF4-FFF2-40B4-BE49-F238E27FC236}">
                  <a16:creationId xmlns:a16="http://schemas.microsoft.com/office/drawing/2014/main" id="{0E7DC0E3-1A8C-4CEF-863B-BB1E8FF312D6}"/>
                </a:ext>
              </a:extLst>
            </p:cNvPr>
            <p:cNvGrpSpPr/>
            <p:nvPr/>
          </p:nvGrpSpPr>
          <p:grpSpPr>
            <a:xfrm>
              <a:off x="2138666" y="2501892"/>
              <a:ext cx="1067418" cy="177758"/>
              <a:chOff x="937570" y="1778318"/>
              <a:chExt cx="1067418" cy="177758"/>
            </a:xfrm>
          </p:grpSpPr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23B89336-81BE-4FD9-9907-D48DD4BED26B}"/>
                  </a:ext>
                </a:extLst>
              </p:cNvPr>
              <p:cNvSpPr/>
              <p:nvPr/>
            </p:nvSpPr>
            <p:spPr>
              <a:xfrm>
                <a:off x="937570" y="1778318"/>
                <a:ext cx="851394" cy="177439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627FBD27-5D96-4703-A127-24440F096AC0}"/>
                  </a:ext>
                </a:extLst>
              </p:cNvPr>
              <p:cNvSpPr/>
              <p:nvPr/>
            </p:nvSpPr>
            <p:spPr>
              <a:xfrm>
                <a:off x="1788964" y="1778637"/>
                <a:ext cx="216024" cy="17743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50294624-5B05-4E78-926D-DE51BA2FD6B9}"/>
              </a:ext>
            </a:extLst>
          </p:cNvPr>
          <p:cNvGrpSpPr/>
          <p:nvPr/>
        </p:nvGrpSpPr>
        <p:grpSpPr>
          <a:xfrm>
            <a:off x="2030372" y="1795254"/>
            <a:ext cx="2197195" cy="174340"/>
            <a:chOff x="1331353" y="2500672"/>
            <a:chExt cx="2197195" cy="174340"/>
          </a:xfrm>
        </p:grpSpPr>
        <p:grpSp>
          <p:nvGrpSpPr>
            <p:cNvPr id="108" name="그룹 107">
              <a:extLst>
                <a:ext uri="{FF2B5EF4-FFF2-40B4-BE49-F238E27FC236}">
                  <a16:creationId xmlns:a16="http://schemas.microsoft.com/office/drawing/2014/main" id="{69323B1F-221A-4FD7-A1DC-5B1D604871B4}"/>
                </a:ext>
              </a:extLst>
            </p:cNvPr>
            <p:cNvGrpSpPr/>
            <p:nvPr/>
          </p:nvGrpSpPr>
          <p:grpSpPr>
            <a:xfrm>
              <a:off x="1331353" y="2500672"/>
              <a:ext cx="1065950" cy="172800"/>
              <a:chOff x="1260034" y="1778319"/>
              <a:chExt cx="1065950" cy="172800"/>
            </a:xfrm>
          </p:grpSpPr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DBB08CC3-C7EF-4339-9891-028399F0DEAA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36259DF5-F6AA-44D3-80EE-9136F2833277}"/>
                  </a:ext>
                </a:extLst>
              </p:cNvPr>
              <p:cNvSpPr/>
              <p:nvPr/>
            </p:nvSpPr>
            <p:spPr>
              <a:xfrm>
                <a:off x="2111427" y="1778638"/>
                <a:ext cx="214557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109" name="그룹 108">
              <a:extLst>
                <a:ext uri="{FF2B5EF4-FFF2-40B4-BE49-F238E27FC236}">
                  <a16:creationId xmlns:a16="http://schemas.microsoft.com/office/drawing/2014/main" id="{090CFCFF-A552-49A6-951A-5B9E58BDB00D}"/>
                </a:ext>
              </a:extLst>
            </p:cNvPr>
            <p:cNvGrpSpPr/>
            <p:nvPr/>
          </p:nvGrpSpPr>
          <p:grpSpPr>
            <a:xfrm>
              <a:off x="2461130" y="2501893"/>
              <a:ext cx="1067418" cy="173119"/>
              <a:chOff x="1260034" y="1778319"/>
              <a:chExt cx="1067418" cy="173119"/>
            </a:xfrm>
          </p:grpSpPr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19C71105-52F1-45B5-BEF8-32ED111CB927}"/>
                  </a:ext>
                </a:extLst>
              </p:cNvPr>
              <p:cNvSpPr/>
              <p:nvPr/>
            </p:nvSpPr>
            <p:spPr>
              <a:xfrm>
                <a:off x="1260034" y="1778319"/>
                <a:ext cx="851394" cy="1728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전체</a:t>
                </a:r>
              </a:p>
            </p:txBody>
          </p:sp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7FCB761D-0A94-4BD3-A326-99F24810C5B7}"/>
                  </a:ext>
                </a:extLst>
              </p:cNvPr>
              <p:cNvSpPr/>
              <p:nvPr/>
            </p:nvSpPr>
            <p:spPr>
              <a:xfrm>
                <a:off x="2111428" y="1778638"/>
                <a:ext cx="21602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</p:grp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0CD42616-B663-43D7-949D-AC105508E6F8}"/>
              </a:ext>
            </a:extLst>
          </p:cNvPr>
          <p:cNvSpPr/>
          <p:nvPr/>
        </p:nvSpPr>
        <p:spPr>
          <a:xfrm>
            <a:off x="2641531" y="1249172"/>
            <a:ext cx="216024" cy="172481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▼</a:t>
            </a: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137E9D1E-7FF6-4944-A08E-99C5B71F9C48}"/>
              </a:ext>
            </a:extLst>
          </p:cNvPr>
          <p:cNvSpPr/>
          <p:nvPr/>
        </p:nvSpPr>
        <p:spPr>
          <a:xfrm>
            <a:off x="6284583" y="1806368"/>
            <a:ext cx="1895876" cy="43012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48" name="그룹 147">
            <a:extLst>
              <a:ext uri="{FF2B5EF4-FFF2-40B4-BE49-F238E27FC236}">
                <a16:creationId xmlns:a16="http://schemas.microsoft.com/office/drawing/2014/main" id="{99F8E06F-8B19-4633-A50C-FAA425EEF4EA}"/>
              </a:ext>
            </a:extLst>
          </p:cNvPr>
          <p:cNvGrpSpPr/>
          <p:nvPr/>
        </p:nvGrpSpPr>
        <p:grpSpPr>
          <a:xfrm>
            <a:off x="2030372" y="2062655"/>
            <a:ext cx="1067418" cy="173837"/>
            <a:chOff x="1260034" y="1777282"/>
            <a:chExt cx="1067418" cy="173837"/>
          </a:xfrm>
        </p:grpSpPr>
        <p:sp>
          <p:nvSpPr>
            <p:cNvPr id="149" name="직사각형 148">
              <a:extLst>
                <a:ext uri="{FF2B5EF4-FFF2-40B4-BE49-F238E27FC236}">
                  <a16:creationId xmlns:a16="http://schemas.microsoft.com/office/drawing/2014/main" id="{7EE9FB79-851D-49E2-B066-A253FB59A44C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150" name="직사각형 149">
              <a:extLst>
                <a:ext uri="{FF2B5EF4-FFF2-40B4-BE49-F238E27FC236}">
                  <a16:creationId xmlns:a16="http://schemas.microsoft.com/office/drawing/2014/main" id="{C643ACAF-50F8-4CC6-83B3-056E8DFF2EEE}"/>
                </a:ext>
              </a:extLst>
            </p:cNvPr>
            <p:cNvSpPr/>
            <p:nvPr/>
          </p:nvSpPr>
          <p:spPr>
            <a:xfrm>
              <a:off x="2111428" y="1777282"/>
              <a:ext cx="216024" cy="173836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51" name="그룹 150">
            <a:extLst>
              <a:ext uri="{FF2B5EF4-FFF2-40B4-BE49-F238E27FC236}">
                <a16:creationId xmlns:a16="http://schemas.microsoft.com/office/drawing/2014/main" id="{B05EA315-4B9F-4C33-8926-6904CFE4BE84}"/>
              </a:ext>
            </a:extLst>
          </p:cNvPr>
          <p:cNvGrpSpPr/>
          <p:nvPr/>
        </p:nvGrpSpPr>
        <p:grpSpPr>
          <a:xfrm>
            <a:off x="3842611" y="2060901"/>
            <a:ext cx="1065951" cy="172800"/>
            <a:chOff x="1260034" y="1778319"/>
            <a:chExt cx="1065951" cy="172800"/>
          </a:xfrm>
        </p:grpSpPr>
        <p:sp>
          <p:nvSpPr>
            <p:cNvPr id="152" name="직사각형 151">
              <a:extLst>
                <a:ext uri="{FF2B5EF4-FFF2-40B4-BE49-F238E27FC236}">
                  <a16:creationId xmlns:a16="http://schemas.microsoft.com/office/drawing/2014/main" id="{CF6FB8A9-D96C-49A7-A622-9C2898F2ECC9}"/>
                </a:ext>
              </a:extLst>
            </p:cNvPr>
            <p:cNvSpPr/>
            <p:nvPr/>
          </p:nvSpPr>
          <p:spPr>
            <a:xfrm>
              <a:off x="1260034" y="1778319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153" name="직사각형 152">
              <a:extLst>
                <a:ext uri="{FF2B5EF4-FFF2-40B4-BE49-F238E27FC236}">
                  <a16:creationId xmlns:a16="http://schemas.microsoft.com/office/drawing/2014/main" id="{9DB49691-0CBF-4F1F-8B44-2BDC445FFADF}"/>
                </a:ext>
              </a:extLst>
            </p:cNvPr>
            <p:cNvSpPr/>
            <p:nvPr/>
          </p:nvSpPr>
          <p:spPr>
            <a:xfrm>
              <a:off x="2109961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56" name="사각형: 둥근 모서리 155">
            <a:extLst>
              <a:ext uri="{FF2B5EF4-FFF2-40B4-BE49-F238E27FC236}">
                <a16:creationId xmlns:a16="http://schemas.microsoft.com/office/drawing/2014/main" id="{6CD31CC6-DCBC-4006-96ED-DC9831F9BC2E}"/>
              </a:ext>
            </a:extLst>
          </p:cNvPr>
          <p:cNvSpPr/>
          <p:nvPr/>
        </p:nvSpPr>
        <p:spPr>
          <a:xfrm>
            <a:off x="4002588" y="2360072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157" name="사각형: 둥근 모서리 156">
            <a:extLst>
              <a:ext uri="{FF2B5EF4-FFF2-40B4-BE49-F238E27FC236}">
                <a16:creationId xmlns:a16="http://schemas.microsoft.com/office/drawing/2014/main" id="{3604E868-4CD5-45EE-A866-3CAB66F945B7}"/>
              </a:ext>
            </a:extLst>
          </p:cNvPr>
          <p:cNvSpPr/>
          <p:nvPr/>
        </p:nvSpPr>
        <p:spPr>
          <a:xfrm>
            <a:off x="4712140" y="2360072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sp>
        <p:nvSpPr>
          <p:cNvPr id="160" name="사각형: 둥근 모서리 159">
            <a:extLst>
              <a:ext uri="{FF2B5EF4-FFF2-40B4-BE49-F238E27FC236}">
                <a16:creationId xmlns:a16="http://schemas.microsoft.com/office/drawing/2014/main" id="{706498C0-9E5C-47C3-A6DB-435F1CF268E7}"/>
              </a:ext>
            </a:extLst>
          </p:cNvPr>
          <p:cNvSpPr/>
          <p:nvPr/>
        </p:nvSpPr>
        <p:spPr>
          <a:xfrm>
            <a:off x="1199456" y="3303226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1" name="사각형: 둥근 모서리 160">
            <a:extLst>
              <a:ext uri="{FF2B5EF4-FFF2-40B4-BE49-F238E27FC236}">
                <a16:creationId xmlns:a16="http://schemas.microsoft.com/office/drawing/2014/main" id="{D3FEDC2F-1A1D-4563-99E9-49A35472C955}"/>
              </a:ext>
            </a:extLst>
          </p:cNvPr>
          <p:cNvSpPr/>
          <p:nvPr/>
        </p:nvSpPr>
        <p:spPr>
          <a:xfrm>
            <a:off x="1199456" y="3724947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2" name="사각형: 둥근 모서리 161">
            <a:extLst>
              <a:ext uri="{FF2B5EF4-FFF2-40B4-BE49-F238E27FC236}">
                <a16:creationId xmlns:a16="http://schemas.microsoft.com/office/drawing/2014/main" id="{922D8D12-A981-45EE-94B5-286B87CFC27C}"/>
              </a:ext>
            </a:extLst>
          </p:cNvPr>
          <p:cNvSpPr/>
          <p:nvPr/>
        </p:nvSpPr>
        <p:spPr>
          <a:xfrm>
            <a:off x="1199456" y="3518626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3" name="사각형: 둥근 모서리 162">
            <a:extLst>
              <a:ext uri="{FF2B5EF4-FFF2-40B4-BE49-F238E27FC236}">
                <a16:creationId xmlns:a16="http://schemas.microsoft.com/office/drawing/2014/main" id="{00E6F324-8539-473D-96B9-2FD86671755F}"/>
              </a:ext>
            </a:extLst>
          </p:cNvPr>
          <p:cNvSpPr/>
          <p:nvPr/>
        </p:nvSpPr>
        <p:spPr>
          <a:xfrm>
            <a:off x="1199456" y="3936952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E8A822CD-09A9-41C9-9238-464665ED5AE1}"/>
              </a:ext>
            </a:extLst>
          </p:cNvPr>
          <p:cNvSpPr/>
          <p:nvPr/>
        </p:nvSpPr>
        <p:spPr>
          <a:xfrm>
            <a:off x="1122671" y="1032861"/>
            <a:ext cx="7183959" cy="5279690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66" name="사각형: 둥근 모서리 165">
            <a:extLst>
              <a:ext uri="{FF2B5EF4-FFF2-40B4-BE49-F238E27FC236}">
                <a16:creationId xmlns:a16="http://schemas.microsoft.com/office/drawing/2014/main" id="{93741B86-9A1E-4142-B919-0CEB0D2FFE67}"/>
              </a:ext>
            </a:extLst>
          </p:cNvPr>
          <p:cNvSpPr/>
          <p:nvPr/>
        </p:nvSpPr>
        <p:spPr>
          <a:xfrm>
            <a:off x="1072384" y="11609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7" name="사각형: 둥근 모서리 166">
            <a:extLst>
              <a:ext uri="{FF2B5EF4-FFF2-40B4-BE49-F238E27FC236}">
                <a16:creationId xmlns:a16="http://schemas.microsoft.com/office/drawing/2014/main" id="{53251BF1-460D-43CE-85B1-73E884D7AFFC}"/>
              </a:ext>
            </a:extLst>
          </p:cNvPr>
          <p:cNvSpPr/>
          <p:nvPr/>
        </p:nvSpPr>
        <p:spPr>
          <a:xfrm>
            <a:off x="5014934" y="11609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8" name="사각형: 둥근 모서리 167">
            <a:extLst>
              <a:ext uri="{FF2B5EF4-FFF2-40B4-BE49-F238E27FC236}">
                <a16:creationId xmlns:a16="http://schemas.microsoft.com/office/drawing/2014/main" id="{4804C91F-DFB8-426A-93DA-FBCAC0DBEBA9}"/>
              </a:ext>
            </a:extLst>
          </p:cNvPr>
          <p:cNvSpPr/>
          <p:nvPr/>
        </p:nvSpPr>
        <p:spPr>
          <a:xfrm>
            <a:off x="1067860" y="14661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9" name="사각형: 둥근 모서리 168">
            <a:extLst>
              <a:ext uri="{FF2B5EF4-FFF2-40B4-BE49-F238E27FC236}">
                <a16:creationId xmlns:a16="http://schemas.microsoft.com/office/drawing/2014/main" id="{A94BA7C1-4593-40C8-B67E-DE4843E29647}"/>
              </a:ext>
            </a:extLst>
          </p:cNvPr>
          <p:cNvSpPr/>
          <p:nvPr/>
        </p:nvSpPr>
        <p:spPr>
          <a:xfrm>
            <a:off x="5014934" y="146471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0" name="사각형: 둥근 모서리 169">
            <a:extLst>
              <a:ext uri="{FF2B5EF4-FFF2-40B4-BE49-F238E27FC236}">
                <a16:creationId xmlns:a16="http://schemas.microsoft.com/office/drawing/2014/main" id="{F7B2A08A-79C3-4DEE-8365-DED35BB3B2A2}"/>
              </a:ext>
            </a:extLst>
          </p:cNvPr>
          <p:cNvSpPr/>
          <p:nvPr/>
        </p:nvSpPr>
        <p:spPr>
          <a:xfrm>
            <a:off x="1075298" y="174895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1" name="사각형: 둥근 모서리 170">
            <a:extLst>
              <a:ext uri="{FF2B5EF4-FFF2-40B4-BE49-F238E27FC236}">
                <a16:creationId xmlns:a16="http://schemas.microsoft.com/office/drawing/2014/main" id="{5D9969B8-03A7-42FD-851D-0F8274AD2111}"/>
              </a:ext>
            </a:extLst>
          </p:cNvPr>
          <p:cNvSpPr/>
          <p:nvPr/>
        </p:nvSpPr>
        <p:spPr>
          <a:xfrm>
            <a:off x="1075298" y="20099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2" name="사각형: 둥근 모서리 171">
            <a:extLst>
              <a:ext uri="{FF2B5EF4-FFF2-40B4-BE49-F238E27FC236}">
                <a16:creationId xmlns:a16="http://schemas.microsoft.com/office/drawing/2014/main" id="{63CA8A31-C107-4552-8080-E0D7B81A7229}"/>
              </a:ext>
            </a:extLst>
          </p:cNvPr>
          <p:cNvSpPr/>
          <p:nvPr/>
        </p:nvSpPr>
        <p:spPr>
          <a:xfrm>
            <a:off x="3105739" y="20197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3" name="사각형: 둥근 모서리 172">
            <a:extLst>
              <a:ext uri="{FF2B5EF4-FFF2-40B4-BE49-F238E27FC236}">
                <a16:creationId xmlns:a16="http://schemas.microsoft.com/office/drawing/2014/main" id="{68AF2A85-342A-4C4A-8598-5E244B0C00EE}"/>
              </a:ext>
            </a:extLst>
          </p:cNvPr>
          <p:cNvSpPr/>
          <p:nvPr/>
        </p:nvSpPr>
        <p:spPr>
          <a:xfrm>
            <a:off x="5011462" y="180313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E26121C6-7772-41D9-88F5-8DAAE65CB50B}"/>
              </a:ext>
            </a:extLst>
          </p:cNvPr>
          <p:cNvSpPr/>
          <p:nvPr/>
        </p:nvSpPr>
        <p:spPr>
          <a:xfrm>
            <a:off x="3945571" y="23029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5" name="사각형: 둥근 모서리 174">
            <a:extLst>
              <a:ext uri="{FF2B5EF4-FFF2-40B4-BE49-F238E27FC236}">
                <a16:creationId xmlns:a16="http://schemas.microsoft.com/office/drawing/2014/main" id="{98A0026C-2B79-4B39-8B1F-37B610185661}"/>
              </a:ext>
            </a:extLst>
          </p:cNvPr>
          <p:cNvSpPr/>
          <p:nvPr/>
        </p:nvSpPr>
        <p:spPr>
          <a:xfrm>
            <a:off x="4683021" y="230292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572E9A69-89AC-4091-BD40-12C9C504E986}"/>
              </a:ext>
            </a:extLst>
          </p:cNvPr>
          <p:cNvSpPr/>
          <p:nvPr/>
        </p:nvSpPr>
        <p:spPr>
          <a:xfrm>
            <a:off x="3870466" y="58902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B8A40025-0D87-4C56-9191-3C9710697CAA}"/>
              </a:ext>
            </a:extLst>
          </p:cNvPr>
          <p:cNvSpPr/>
          <p:nvPr/>
        </p:nvSpPr>
        <p:spPr>
          <a:xfrm>
            <a:off x="4728668" y="58914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5275D086-D064-4926-AF6C-7EA219F9A1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1727235"/>
              </p:ext>
            </p:extLst>
          </p:nvPr>
        </p:nvGraphicFramePr>
        <p:xfrm>
          <a:off x="1119967" y="2713381"/>
          <a:ext cx="7060492" cy="30936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3430">
                  <a:extLst>
                    <a:ext uri="{9D8B030D-6E8A-4147-A177-3AD203B41FA5}">
                      <a16:colId xmlns:a16="http://schemas.microsoft.com/office/drawing/2014/main" val="3829246906"/>
                    </a:ext>
                  </a:extLst>
                </a:gridCol>
                <a:gridCol w="233430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62483">
                  <a:extLst>
                    <a:ext uri="{9D8B030D-6E8A-4147-A177-3AD203B41FA5}">
                      <a16:colId xmlns:a16="http://schemas.microsoft.com/office/drawing/2014/main" val="3243612300"/>
                    </a:ext>
                  </a:extLst>
                </a:gridCol>
                <a:gridCol w="664554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1480380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372805">
                  <a:extLst>
                    <a:ext uri="{9D8B030D-6E8A-4147-A177-3AD203B41FA5}">
                      <a16:colId xmlns:a16="http://schemas.microsoft.com/office/drawing/2014/main" val="1602765021"/>
                    </a:ext>
                  </a:extLst>
                </a:gridCol>
                <a:gridCol w="372805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621342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595332">
                  <a:extLst>
                    <a:ext uri="{9D8B030D-6E8A-4147-A177-3AD203B41FA5}">
                      <a16:colId xmlns:a16="http://schemas.microsoft.com/office/drawing/2014/main" val="3569582593"/>
                    </a:ext>
                  </a:extLst>
                </a:gridCol>
                <a:gridCol w="595332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527491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  <a:gridCol w="658584">
                  <a:extLst>
                    <a:ext uri="{9D8B030D-6E8A-4147-A177-3AD203B41FA5}">
                      <a16:colId xmlns:a16="http://schemas.microsoft.com/office/drawing/2014/main" val="3980714550"/>
                    </a:ext>
                  </a:extLst>
                </a:gridCol>
                <a:gridCol w="342524">
                  <a:extLst>
                    <a:ext uri="{9D8B030D-6E8A-4147-A177-3AD203B41FA5}">
                      <a16:colId xmlns:a16="http://schemas.microsoft.com/office/drawing/2014/main" val="3630009978"/>
                    </a:ext>
                  </a:extLst>
                </a:gridCol>
              </a:tblGrid>
              <a:tr h="319992">
                <a:tc gridSpan="13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74068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종류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A00012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P00005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102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탄소중립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MOA00120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경영보고서 작성 지침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.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P4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266895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159332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22774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86058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08503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796546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965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212903"/>
                  </a:ext>
                </a:extLst>
              </a:tr>
            </a:tbl>
          </a:graphicData>
        </a:graphic>
      </p:graphicFrame>
      <p:grpSp>
        <p:nvGrpSpPr>
          <p:cNvPr id="5" name="그룹 4">
            <a:extLst>
              <a:ext uri="{FF2B5EF4-FFF2-40B4-BE49-F238E27FC236}">
                <a16:creationId xmlns:a16="http://schemas.microsoft.com/office/drawing/2014/main" id="{971697D0-1C2A-4F49-8D47-428221A44323}"/>
              </a:ext>
            </a:extLst>
          </p:cNvPr>
          <p:cNvGrpSpPr/>
          <p:nvPr/>
        </p:nvGrpSpPr>
        <p:grpSpPr>
          <a:xfrm>
            <a:off x="1072384" y="2723525"/>
            <a:ext cx="1349203" cy="237734"/>
            <a:chOff x="1110334" y="2712149"/>
            <a:chExt cx="1349203" cy="237734"/>
          </a:xfrm>
        </p:grpSpPr>
        <p:sp>
          <p:nvSpPr>
            <p:cNvPr id="178" name="직사각형 177">
              <a:extLst>
                <a:ext uri="{FF2B5EF4-FFF2-40B4-BE49-F238E27FC236}">
                  <a16:creationId xmlns:a16="http://schemas.microsoft.com/office/drawing/2014/main" id="{2222930B-99B9-4697-B14A-C72F8603F45D}"/>
                </a:ext>
              </a:extLst>
            </p:cNvPr>
            <p:cNvSpPr/>
            <p:nvPr/>
          </p:nvSpPr>
          <p:spPr>
            <a:xfrm>
              <a:off x="1212490" y="2777083"/>
              <a:ext cx="480645" cy="172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5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grpSp>
          <p:nvGrpSpPr>
            <p:cNvPr id="179" name="그룹 178">
              <a:extLst>
                <a:ext uri="{FF2B5EF4-FFF2-40B4-BE49-F238E27FC236}">
                  <a16:creationId xmlns:a16="http://schemas.microsoft.com/office/drawing/2014/main" id="{0933E348-41EE-4BE2-AEC2-CEBF1FD07DE4}"/>
                </a:ext>
              </a:extLst>
            </p:cNvPr>
            <p:cNvGrpSpPr/>
            <p:nvPr/>
          </p:nvGrpSpPr>
          <p:grpSpPr>
            <a:xfrm>
              <a:off x="1762868" y="2777083"/>
              <a:ext cx="696669" cy="172800"/>
              <a:chOff x="1260033" y="1778319"/>
              <a:chExt cx="696669" cy="172800"/>
            </a:xfrm>
          </p:grpSpPr>
          <p:sp>
            <p:nvSpPr>
              <p:cNvPr id="180" name="직사각형 179">
                <a:extLst>
                  <a:ext uri="{FF2B5EF4-FFF2-40B4-BE49-F238E27FC236}">
                    <a16:creationId xmlns:a16="http://schemas.microsoft.com/office/drawing/2014/main" id="{2ADC64F5-CCC1-4AE2-9F8E-BD0488238229}"/>
                  </a:ext>
                </a:extLst>
              </p:cNvPr>
              <p:cNvSpPr/>
              <p:nvPr/>
            </p:nvSpPr>
            <p:spPr>
              <a:xfrm>
                <a:off x="1260033" y="1778319"/>
                <a:ext cx="480645" cy="1728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/1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81" name="직사각형 180">
                <a:extLst>
                  <a:ext uri="{FF2B5EF4-FFF2-40B4-BE49-F238E27FC236}">
                    <a16:creationId xmlns:a16="http://schemas.microsoft.com/office/drawing/2014/main" id="{FB7519DA-E911-4B3E-9520-28F2BEB85A53}"/>
                  </a:ext>
                </a:extLst>
              </p:cNvPr>
              <p:cNvSpPr/>
              <p:nvPr/>
            </p:nvSpPr>
            <p:spPr>
              <a:xfrm>
                <a:off x="1740678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182" name="사각형: 둥근 모서리 181">
              <a:extLst>
                <a:ext uri="{FF2B5EF4-FFF2-40B4-BE49-F238E27FC236}">
                  <a16:creationId xmlns:a16="http://schemas.microsoft.com/office/drawing/2014/main" id="{BCE8EF42-AC99-48EC-BE1B-E8B5FE88BDAE}"/>
                </a:ext>
              </a:extLst>
            </p:cNvPr>
            <p:cNvSpPr/>
            <p:nvPr/>
          </p:nvSpPr>
          <p:spPr>
            <a:xfrm>
              <a:off x="1110334" y="2712149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1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3" name="사각형: 둥근 모서리 182">
              <a:extLst>
                <a:ext uri="{FF2B5EF4-FFF2-40B4-BE49-F238E27FC236}">
                  <a16:creationId xmlns:a16="http://schemas.microsoft.com/office/drawing/2014/main" id="{61E89C44-8886-46A8-9305-3CDB64E1DE49}"/>
                </a:ext>
              </a:extLst>
            </p:cNvPr>
            <p:cNvSpPr/>
            <p:nvPr/>
          </p:nvSpPr>
          <p:spPr>
            <a:xfrm>
              <a:off x="1725558" y="2712149"/>
              <a:ext cx="144962" cy="10837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75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2</a:t>
              </a:r>
              <a:endParaRPr lang="ko-KR" altLang="en-US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A42F6FC8-B193-47E1-A732-E2ABABB81A98}"/>
              </a:ext>
            </a:extLst>
          </p:cNvPr>
          <p:cNvSpPr/>
          <p:nvPr/>
        </p:nvSpPr>
        <p:spPr>
          <a:xfrm>
            <a:off x="2031468" y="1522086"/>
            <a:ext cx="61115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명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0379CC78-9E79-4F53-9564-D2F73C7F6188}"/>
              </a:ext>
            </a:extLst>
          </p:cNvPr>
          <p:cNvSpPr/>
          <p:nvPr/>
        </p:nvSpPr>
        <p:spPr>
          <a:xfrm>
            <a:off x="2896604" y="1522086"/>
            <a:ext cx="1596297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8B20BF53-0CC2-4059-94C4-60D868049F3D}"/>
              </a:ext>
            </a:extLst>
          </p:cNvPr>
          <p:cNvSpPr/>
          <p:nvPr/>
        </p:nvSpPr>
        <p:spPr>
          <a:xfrm>
            <a:off x="2642627" y="1521887"/>
            <a:ext cx="216024" cy="172481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▼</a:t>
            </a:r>
          </a:p>
        </p:txBody>
      </p:sp>
    </p:spTree>
    <p:extLst>
      <p:ext uri="{BB962C8B-B14F-4D97-AF65-F5344CB8AC3E}">
        <p14:creationId xmlns:p14="http://schemas.microsoft.com/office/powerpoint/2010/main" val="40294287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760826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2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 검색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630381"/>
              </p:ext>
            </p:extLst>
          </p:nvPr>
        </p:nvGraphicFramePr>
        <p:xfrm>
          <a:off x="9267391" y="759199"/>
          <a:ext cx="2922885" cy="22352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구분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명으로 조회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키워드가 들어간 컨텐츠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두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국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외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래 리스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값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처 추가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처 등록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09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에서 개별 행 영역 더블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본 화면에서 출처 추가됨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3035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닫기 버튼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닫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551729"/>
                  </a:ext>
                </a:extLst>
              </a:tr>
            </a:tbl>
          </a:graphicData>
        </a:graphic>
      </p:graphicFrame>
      <p:sp>
        <p:nvSpPr>
          <p:cNvPr id="52" name="직사각형 51">
            <a:extLst>
              <a:ext uri="{FF2B5EF4-FFF2-40B4-BE49-F238E27FC236}">
                <a16:creationId xmlns:a16="http://schemas.microsoft.com/office/drawing/2014/main" id="{E8A822CD-09A9-41C9-9238-464665ED5AE1}"/>
              </a:ext>
            </a:extLst>
          </p:cNvPr>
          <p:cNvSpPr/>
          <p:nvPr/>
        </p:nvSpPr>
        <p:spPr>
          <a:xfrm>
            <a:off x="2862238" y="1132266"/>
            <a:ext cx="3587203" cy="4889022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A4FDC8AA-2A84-4795-ACEA-0738C8D654DB}"/>
              </a:ext>
            </a:extLst>
          </p:cNvPr>
          <p:cNvSpPr/>
          <p:nvPr/>
        </p:nvSpPr>
        <p:spPr>
          <a:xfrm>
            <a:off x="2862238" y="915755"/>
            <a:ext cx="3587203" cy="273662"/>
          </a:xfrm>
          <a:prstGeom prst="rect">
            <a:avLst/>
          </a:prstGeom>
          <a:solidFill>
            <a:srgbClr val="C04600"/>
          </a:solidFill>
          <a:ln w="3175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 검색                                                                                     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X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54" name="표 12">
            <a:extLst>
              <a:ext uri="{FF2B5EF4-FFF2-40B4-BE49-F238E27FC236}">
                <a16:creationId xmlns:a16="http://schemas.microsoft.com/office/drawing/2014/main" id="{B2A664C5-269B-4298-92A0-A52AF632C1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7692905"/>
              </p:ext>
            </p:extLst>
          </p:nvPr>
        </p:nvGraphicFramePr>
        <p:xfrm>
          <a:off x="2944052" y="1281430"/>
          <a:ext cx="3374570" cy="5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8747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475823">
                  <a:extLst>
                    <a:ext uri="{9D8B030D-6E8A-4147-A177-3AD203B41FA5}">
                      <a16:colId xmlns:a16="http://schemas.microsoft.com/office/drawing/2014/main" val="713958032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번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D04A02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    ○ 국내     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해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4024232"/>
                  </a:ext>
                </a:extLst>
              </a:tr>
            </a:tbl>
          </a:graphicData>
        </a:graphic>
      </p:graphicFrame>
      <p:sp>
        <p:nvSpPr>
          <p:cNvPr id="79" name="사각형: 둥근 모서리 78">
            <a:extLst>
              <a:ext uri="{FF2B5EF4-FFF2-40B4-BE49-F238E27FC236}">
                <a16:creationId xmlns:a16="http://schemas.microsoft.com/office/drawing/2014/main" id="{607C1B92-CD39-4237-BBEC-6B73EA01FB34}"/>
              </a:ext>
            </a:extLst>
          </p:cNvPr>
          <p:cNvSpPr/>
          <p:nvPr/>
        </p:nvSpPr>
        <p:spPr>
          <a:xfrm>
            <a:off x="3751605" y="1947941"/>
            <a:ext cx="798399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CAFE7807-0067-4907-BFB3-277F52AC8341}"/>
              </a:ext>
            </a:extLst>
          </p:cNvPr>
          <p:cNvSpPr/>
          <p:nvPr/>
        </p:nvSpPr>
        <p:spPr>
          <a:xfrm>
            <a:off x="4662439" y="1947941"/>
            <a:ext cx="798399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출처 추가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B14EAAD-2F00-4FB0-B24E-F383B35E52B1}"/>
              </a:ext>
            </a:extLst>
          </p:cNvPr>
          <p:cNvSpPr/>
          <p:nvPr/>
        </p:nvSpPr>
        <p:spPr>
          <a:xfrm>
            <a:off x="4710129" y="1317999"/>
            <a:ext cx="1532087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3EE253DA-9B01-401A-8F1D-8BC8D505D1ED}"/>
              </a:ext>
            </a:extLst>
          </p:cNvPr>
          <p:cNvSpPr/>
          <p:nvPr/>
        </p:nvSpPr>
        <p:spPr>
          <a:xfrm>
            <a:off x="2896362" y="123759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31049267-4555-430C-A05C-8CCAE642D4BC}"/>
              </a:ext>
            </a:extLst>
          </p:cNvPr>
          <p:cNvSpPr/>
          <p:nvPr/>
        </p:nvSpPr>
        <p:spPr>
          <a:xfrm>
            <a:off x="2896362" y="15257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09D1D371-E3C1-447F-8647-294E59DF336A}"/>
              </a:ext>
            </a:extLst>
          </p:cNvPr>
          <p:cNvSpPr/>
          <p:nvPr/>
        </p:nvSpPr>
        <p:spPr>
          <a:xfrm>
            <a:off x="3713302" y="18994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694BADD2-108C-475D-BD1E-CC0D41B4FA4E}"/>
              </a:ext>
            </a:extLst>
          </p:cNvPr>
          <p:cNvSpPr/>
          <p:nvPr/>
        </p:nvSpPr>
        <p:spPr>
          <a:xfrm>
            <a:off x="4622012" y="18994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7FED85E2-F1BC-4206-BC52-7F0B148C17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48018"/>
              </p:ext>
            </p:extLst>
          </p:nvPr>
        </p:nvGraphicFramePr>
        <p:xfrm>
          <a:off x="2944052" y="2374786"/>
          <a:ext cx="3446578" cy="3200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8226">
                  <a:extLst>
                    <a:ext uri="{9D8B030D-6E8A-4147-A177-3AD203B41FA5}">
                      <a16:colId xmlns:a16="http://schemas.microsoft.com/office/drawing/2014/main" val="226974026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764666627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1119182599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3987175365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34736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K12345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회계법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05056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K12356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한상공회의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031045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F00097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698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93730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F01239</a:t>
                      </a:r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arbon Trust Standard for Water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130090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884525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923678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152721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3908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948905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22395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60944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599023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1376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135533"/>
                  </a:ext>
                </a:extLst>
              </a:tr>
            </a:tbl>
          </a:graphicData>
        </a:graphic>
      </p:graphicFrame>
      <p:sp>
        <p:nvSpPr>
          <p:cNvPr id="40" name="직사각형 39">
            <a:extLst>
              <a:ext uri="{FF2B5EF4-FFF2-40B4-BE49-F238E27FC236}">
                <a16:creationId xmlns:a16="http://schemas.microsoft.com/office/drawing/2014/main" id="{AC988B03-807E-4D29-B9C7-E5FF18B17ED2}"/>
              </a:ext>
            </a:extLst>
          </p:cNvPr>
          <p:cNvSpPr/>
          <p:nvPr/>
        </p:nvSpPr>
        <p:spPr>
          <a:xfrm>
            <a:off x="3921097" y="1320778"/>
            <a:ext cx="525318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출처명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1634EF68-B324-4287-BA32-37FAB2F1D3F0}"/>
              </a:ext>
            </a:extLst>
          </p:cNvPr>
          <p:cNvSpPr/>
          <p:nvPr/>
        </p:nvSpPr>
        <p:spPr>
          <a:xfrm>
            <a:off x="4446415" y="1319562"/>
            <a:ext cx="216024" cy="172481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▼</a:t>
            </a: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6E8AC794-0C0F-4168-9A46-F51FE9F238B7}"/>
              </a:ext>
            </a:extLst>
          </p:cNvPr>
          <p:cNvSpPr/>
          <p:nvPr/>
        </p:nvSpPr>
        <p:spPr>
          <a:xfrm>
            <a:off x="2879443" y="295261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84808AD7-FB10-47D7-A943-BEBE80ED128C}"/>
              </a:ext>
            </a:extLst>
          </p:cNvPr>
          <p:cNvSpPr/>
          <p:nvPr/>
        </p:nvSpPr>
        <p:spPr>
          <a:xfrm>
            <a:off x="4310929" y="5708237"/>
            <a:ext cx="798399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닫기</a:t>
            </a:r>
          </a:p>
        </p:txBody>
      </p: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45608D36-1024-4DA5-A442-9516C3CFBB7A}"/>
              </a:ext>
            </a:extLst>
          </p:cNvPr>
          <p:cNvSpPr/>
          <p:nvPr/>
        </p:nvSpPr>
        <p:spPr>
          <a:xfrm>
            <a:off x="4219681" y="565404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8FA15839-687F-4D7F-8EE2-7F677FFEE828}"/>
              </a:ext>
            </a:extLst>
          </p:cNvPr>
          <p:cNvSpPr/>
          <p:nvPr/>
        </p:nvSpPr>
        <p:spPr>
          <a:xfrm>
            <a:off x="8966920" y="256686"/>
            <a:ext cx="3218221" cy="6872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03</a:t>
            </a:r>
            <a:r>
              <a:rPr lang="en-US" altLang="ko-KR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gt;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출력결과 목록이 길 경우 </a:t>
            </a: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스크롤 처리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96361160-8543-41DF-BD2F-B98E59F5B3DF}"/>
              </a:ext>
            </a:extLst>
          </p:cNvPr>
          <p:cNvGrpSpPr/>
          <p:nvPr/>
        </p:nvGrpSpPr>
        <p:grpSpPr>
          <a:xfrm>
            <a:off x="6297081" y="2207672"/>
            <a:ext cx="152360" cy="3813616"/>
            <a:chOff x="9201470" y="1601344"/>
            <a:chExt cx="188139" cy="4198758"/>
          </a:xfrm>
        </p:grpSpPr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2002335B-1974-415D-9FC8-2A97BB5E28AC}"/>
                </a:ext>
              </a:extLst>
            </p:cNvPr>
            <p:cNvSpPr/>
            <p:nvPr/>
          </p:nvSpPr>
          <p:spPr>
            <a:xfrm>
              <a:off x="9201472" y="1810107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D2E5C4AA-B9E9-4C8F-845F-32F376105F65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28" name="직사각형 27">
                <a:extLst>
                  <a:ext uri="{FF2B5EF4-FFF2-40B4-BE49-F238E27FC236}">
                    <a16:creationId xmlns:a16="http://schemas.microsoft.com/office/drawing/2014/main" id="{919B3C3F-C528-4035-AB67-2B180B0C1B7D}"/>
                  </a:ext>
                </a:extLst>
              </p:cNvPr>
              <p:cNvSpPr/>
              <p:nvPr/>
            </p:nvSpPr>
            <p:spPr>
              <a:xfrm>
                <a:off x="9201495" y="1756813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32" name="직사각형 31">
                <a:extLst>
                  <a:ext uri="{FF2B5EF4-FFF2-40B4-BE49-F238E27FC236}">
                    <a16:creationId xmlns:a16="http://schemas.microsoft.com/office/drawing/2014/main" id="{7E327FCE-7385-443E-9898-362946937943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33" name="직사각형 32">
                <a:extLst>
                  <a:ext uri="{FF2B5EF4-FFF2-40B4-BE49-F238E27FC236}">
                    <a16:creationId xmlns:a16="http://schemas.microsoft.com/office/drawing/2014/main" id="{402E61A5-0489-4829-830A-32AF48D1D82C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F3A65562-8CA2-4D3B-A4C8-66FC7FB2CC0E}"/>
              </a:ext>
            </a:extLst>
          </p:cNvPr>
          <p:cNvCxnSpPr>
            <a:cxnSpLocks/>
          </p:cNvCxnSpPr>
          <p:nvPr/>
        </p:nvCxnSpPr>
        <p:spPr>
          <a:xfrm>
            <a:off x="2862238" y="2207672"/>
            <a:ext cx="351101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6299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346740" y="330861"/>
            <a:ext cx="115212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목록 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1/2)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87D1A855-0C24-45D4-94C5-51EEACBA1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4484744"/>
              </p:ext>
            </p:extLst>
          </p:nvPr>
        </p:nvGraphicFramePr>
        <p:xfrm>
          <a:off x="342860" y="766725"/>
          <a:ext cx="11513780" cy="57464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9187">
                  <a:extLst>
                    <a:ext uri="{9D8B030D-6E8A-4147-A177-3AD203B41FA5}">
                      <a16:colId xmlns:a16="http://schemas.microsoft.com/office/drawing/2014/main" val="1163915430"/>
                    </a:ext>
                  </a:extLst>
                </a:gridCol>
                <a:gridCol w="1421970">
                  <a:extLst>
                    <a:ext uri="{9D8B030D-6E8A-4147-A177-3AD203B41FA5}">
                      <a16:colId xmlns:a16="http://schemas.microsoft.com/office/drawing/2014/main" val="3753752439"/>
                    </a:ext>
                  </a:extLst>
                </a:gridCol>
                <a:gridCol w="625284">
                  <a:extLst>
                    <a:ext uri="{9D8B030D-6E8A-4147-A177-3AD203B41FA5}">
                      <a16:colId xmlns:a16="http://schemas.microsoft.com/office/drawing/2014/main" val="370456716"/>
                    </a:ext>
                  </a:extLst>
                </a:gridCol>
                <a:gridCol w="2186659">
                  <a:extLst>
                    <a:ext uri="{9D8B030D-6E8A-4147-A177-3AD203B41FA5}">
                      <a16:colId xmlns:a16="http://schemas.microsoft.com/office/drawing/2014/main" val="3230953248"/>
                    </a:ext>
                  </a:extLst>
                </a:gridCol>
                <a:gridCol w="6120680">
                  <a:extLst>
                    <a:ext uri="{9D8B030D-6E8A-4147-A177-3AD203B41FA5}">
                      <a16:colId xmlns:a16="http://schemas.microsoft.com/office/drawing/2014/main" val="3680146870"/>
                    </a:ext>
                  </a:extLst>
                </a:gridCol>
              </a:tblGrid>
              <a:tr h="250454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(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10353"/>
                  </a:ext>
                </a:extLst>
              </a:tr>
              <a:tr h="21415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Hom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A6A6A6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(Admin Home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 랜딩 페이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 err="1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어드민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으로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입하기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위한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7816437"/>
                  </a:ext>
                </a:extLst>
              </a:tr>
              <a:tr h="2141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A6A6A6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(Admin </a:t>
                      </a:r>
                      <a:r>
                        <a:rPr lang="ko-KR" altLang="en-US" sz="900" b="0" i="0" u="none" strike="noStrike" dirty="0">
                          <a:solidFill>
                            <a:srgbClr val="A6A6A6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그인</a:t>
                      </a:r>
                      <a:r>
                        <a:rPr lang="en-US" altLang="ko-KR" sz="900" b="0" i="0" u="none" strike="noStrike" dirty="0">
                          <a:solidFill>
                            <a:srgbClr val="A6A6A6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 로그인 화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가 아이디</a:t>
                      </a:r>
                      <a:r>
                        <a:rPr lang="en-US" altLang="ko-KR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밀번호 입력하여 로그인하는 화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2523635"/>
                  </a:ext>
                </a:extLst>
              </a:tr>
              <a:tr h="423845">
                <a:tc rowSpan="16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텐츠 관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서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상 관리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0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텐츠 조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 컨텐츠를 등록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리하는 화면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 및 등록방식에 따라 구성방식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로 구분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 :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B :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C :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D :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베드코드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URL)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입력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 E :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</a:t>
                      </a: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203954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0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텐츠 등록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1781920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0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텐츠 상세 조회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 :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B :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C :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D :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임베드코드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URL)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입력 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 E : 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r>
                        <a:rPr lang="en-US" altLang="ko-KR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원포인트레슨</a:t>
                      </a: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4712353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료 업데이트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4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신규 연구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보고 자료 조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4769257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뉴스 키워드 관리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4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뉴스 키워드 관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81905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4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키워드별 뉴스 리스트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0022155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뉴스 업데이트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규 입수 뉴스 조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0885396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3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규 입수 뉴스 등록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297557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3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규 입수 뉴스 일괄등록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7687028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록 뉴스 관리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록 뉴스 조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3620014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M03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록 뉴스 상세 조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2914323"/>
                  </a:ext>
                </a:extLst>
              </a:tr>
              <a:tr h="35756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처 관리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처 조회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1066043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0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처 등록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520729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처 상세조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7827609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dirty="0">
                          <a:solidFill>
                            <a:srgbClr val="A6A6A6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rgbClr val="A6A6A6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텐츠 공통</a:t>
                      </a:r>
                      <a:r>
                        <a:rPr lang="en-US" altLang="ko-KR" sz="900" b="0" i="0" u="none" strike="noStrike" dirty="0">
                          <a:solidFill>
                            <a:srgbClr val="A6A6A6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2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텐츠 검색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354745"/>
                  </a:ext>
                </a:extLst>
              </a:tr>
              <a:tr h="2504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처 검색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9992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36828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id="{2584CC6C-50EC-459E-B22B-136FF07BD122}"/>
              </a:ext>
            </a:extLst>
          </p:cNvPr>
          <p:cNvSpPr/>
          <p:nvPr/>
        </p:nvSpPr>
        <p:spPr>
          <a:xfrm>
            <a:off x="-10149" y="2708920"/>
            <a:ext cx="886108" cy="720080"/>
          </a:xfrm>
          <a:prstGeom prst="rect">
            <a:avLst/>
          </a:prstGeom>
          <a:solidFill>
            <a:srgbClr val="E0301E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A086D23-8EA7-494F-A420-90D8685749A8}"/>
              </a:ext>
            </a:extLst>
          </p:cNvPr>
          <p:cNvSpPr/>
          <p:nvPr/>
        </p:nvSpPr>
        <p:spPr>
          <a:xfrm>
            <a:off x="1024178" y="2719563"/>
            <a:ext cx="3290355" cy="70943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24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고객 관리</a:t>
            </a:r>
            <a:endParaRPr lang="en-US" altLang="ko-KR" sz="24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맑은 고딕" panose="020B0503020000020004" pitchFamily="50" charset="-127"/>
            </a:endParaRP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5D7C2872-3169-48D2-B546-9038AADD6816}"/>
              </a:ext>
            </a:extLst>
          </p:cNvPr>
          <p:cNvCxnSpPr>
            <a:cxnSpLocks/>
          </p:cNvCxnSpPr>
          <p:nvPr/>
        </p:nvCxnSpPr>
        <p:spPr>
          <a:xfrm>
            <a:off x="1024178" y="3429001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D27A8386-EBFB-462A-B6E2-E8766189896F}"/>
              </a:ext>
            </a:extLst>
          </p:cNvPr>
          <p:cNvSpPr/>
          <p:nvPr/>
        </p:nvSpPr>
        <p:spPr>
          <a:xfrm>
            <a:off x="983432" y="3534561"/>
            <a:ext cx="5940263" cy="14876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기획 및 구축 컨설팅</a:t>
            </a: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D8D02604-E3A3-4C50-B266-16CA2E78FA19}"/>
              </a:ext>
            </a:extLst>
          </p:cNvPr>
          <p:cNvCxnSpPr>
            <a:cxnSpLocks/>
          </p:cNvCxnSpPr>
          <p:nvPr/>
        </p:nvCxnSpPr>
        <p:spPr>
          <a:xfrm>
            <a:off x="1024178" y="4005064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681627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7338517"/>
              </p:ext>
            </p:extLst>
          </p:nvPr>
        </p:nvGraphicFramePr>
        <p:xfrm>
          <a:off x="345126" y="1459939"/>
          <a:ext cx="8630652" cy="16661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129954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  <a:gridCol w="719818">
                  <a:extLst>
                    <a:ext uri="{9D8B030D-6E8A-4147-A177-3AD203B41FA5}">
                      <a16:colId xmlns:a16="http://schemas.microsoft.com/office/drawing/2014/main" val="3010769140"/>
                    </a:ext>
                  </a:extLst>
                </a:gridCol>
                <a:gridCol w="1295602">
                  <a:extLst>
                    <a:ext uri="{9D8B030D-6E8A-4147-A177-3AD203B41FA5}">
                      <a16:colId xmlns:a16="http://schemas.microsoft.com/office/drawing/2014/main" val="328249262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일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일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                    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6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직접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구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 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914425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가입  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탈퇴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케팅 동의 여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전체 ○동의 ○미동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전체 ○신청 ○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신청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24715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심영역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▣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전체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 ∙ 계획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∙ 평가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 ∙ 검증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28944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명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번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6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835704"/>
              </p:ext>
            </p:extLst>
          </p:nvPr>
        </p:nvGraphicFramePr>
        <p:xfrm>
          <a:off x="336268" y="3117692"/>
          <a:ext cx="8640052" cy="14856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8389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43578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65024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466090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424815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554990">
                  <a:extLst>
                    <a:ext uri="{9D8B030D-6E8A-4147-A177-3AD203B41FA5}">
                      <a16:colId xmlns:a16="http://schemas.microsoft.com/office/drawing/2014/main" val="1761654621"/>
                    </a:ext>
                  </a:extLst>
                </a:gridCol>
                <a:gridCol w="694690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669290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323215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1047115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701040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2336600">
                  <a:extLst>
                    <a:ext uri="{9D8B030D-6E8A-4147-A177-3AD203B41FA5}">
                      <a16:colId xmlns:a16="http://schemas.microsoft.com/office/drawing/2014/main" val="752193906"/>
                    </a:ext>
                  </a:extLst>
                </a:gridCol>
              </a:tblGrid>
              <a:tr h="298415">
                <a:tc gridSpan="12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12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부서명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이메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전화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심영역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>
                            <a:lumMod val="6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u="sng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A000001</a:t>
                      </a:r>
                      <a:endParaRPr lang="ko-KR" altLang="en-US" sz="800" b="1" u="sng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esg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김삼일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mil.kim@pwc.com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2-709-123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실행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–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>
                            <a:lumMod val="6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sng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A000002</a:t>
                      </a:r>
                      <a:endParaRPr kumimoji="0" lang="ko-KR" altLang="en-US" sz="800" b="1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sng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</a:tbl>
          </a:graphicData>
        </a:graphic>
      </p:graphicFrame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312423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리스트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3468699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5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3473929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2899488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2899488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FBB595B-DBDA-4362-81D9-4DD4A6460596}"/>
              </a:ext>
            </a:extLst>
          </p:cNvPr>
          <p:cNvGrpSpPr/>
          <p:nvPr/>
        </p:nvGrpSpPr>
        <p:grpSpPr>
          <a:xfrm>
            <a:off x="1341924" y="1503599"/>
            <a:ext cx="765799" cy="172800"/>
            <a:chOff x="1718678" y="1508908"/>
            <a:chExt cx="765799" cy="172800"/>
          </a:xfrm>
        </p:grpSpPr>
        <p:sp>
          <p:nvSpPr>
            <p:cNvPr id="98" name="직사각형 97">
              <a:extLst>
                <a:ext uri="{FF2B5EF4-FFF2-40B4-BE49-F238E27FC236}">
                  <a16:creationId xmlns:a16="http://schemas.microsoft.com/office/drawing/2014/main" id="{E74BE2C3-568E-484B-8740-6CE511573AD3}"/>
                </a:ext>
              </a:extLst>
            </p:cNvPr>
            <p:cNvSpPr/>
            <p:nvPr/>
          </p:nvSpPr>
          <p:spPr>
            <a:xfrm>
              <a:off x="1718678" y="1508908"/>
              <a:ext cx="551242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가입일</a:t>
              </a:r>
            </a:p>
          </p:txBody>
        </p:sp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DC247E82-DB5D-4DD7-92D3-DFC2A46FF1EE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3E725873-6527-4927-A072-14B6326BBA82}"/>
              </a:ext>
            </a:extLst>
          </p:cNvPr>
          <p:cNvSpPr/>
          <p:nvPr/>
        </p:nvSpPr>
        <p:spPr>
          <a:xfrm rot="16200000">
            <a:off x="1081889" y="5788673"/>
            <a:ext cx="125259" cy="1636115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06" name="그룹 105">
            <a:extLst>
              <a:ext uri="{FF2B5EF4-FFF2-40B4-BE49-F238E27FC236}">
                <a16:creationId xmlns:a16="http://schemas.microsoft.com/office/drawing/2014/main" id="{ABFE480A-41DD-44BA-94C5-F32330A68A6A}"/>
              </a:ext>
            </a:extLst>
          </p:cNvPr>
          <p:cNvGrpSpPr/>
          <p:nvPr/>
        </p:nvGrpSpPr>
        <p:grpSpPr>
          <a:xfrm>
            <a:off x="1297753" y="2565691"/>
            <a:ext cx="765799" cy="172800"/>
            <a:chOff x="1718678" y="1508908"/>
            <a:chExt cx="765799" cy="172800"/>
          </a:xfrm>
        </p:grpSpPr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3D049768-F3B9-4A4F-8E19-21639E22D30E}"/>
                </a:ext>
              </a:extLst>
            </p:cNvPr>
            <p:cNvSpPr/>
            <p:nvPr/>
          </p:nvSpPr>
          <p:spPr>
            <a:xfrm>
              <a:off x="1718678" y="1508908"/>
              <a:ext cx="551242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회원번호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D15CC15B-443F-4B6A-B73C-C53C59E50130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09" name="사각형: 둥근 모서리 108">
            <a:extLst>
              <a:ext uri="{FF2B5EF4-FFF2-40B4-BE49-F238E27FC236}">
                <a16:creationId xmlns:a16="http://schemas.microsoft.com/office/drawing/2014/main" id="{8FEEA4C9-BB77-4FEC-9019-5F6F8A0B8CAD}"/>
              </a:ext>
            </a:extLst>
          </p:cNvPr>
          <p:cNvSpPr/>
          <p:nvPr/>
        </p:nvSpPr>
        <p:spPr>
          <a:xfrm>
            <a:off x="9001853" y="3701767"/>
            <a:ext cx="125259" cy="1636115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5747AE14-594F-4676-9185-09255AB22796}"/>
              </a:ext>
            </a:extLst>
          </p:cNvPr>
          <p:cNvSpPr/>
          <p:nvPr/>
        </p:nvSpPr>
        <p:spPr>
          <a:xfrm>
            <a:off x="8224742" y="3473929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다운로드</a:t>
            </a: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53603580-E5CB-4456-B32F-9F355CE9FF81}"/>
              </a:ext>
            </a:extLst>
          </p:cNvPr>
          <p:cNvSpPr/>
          <p:nvPr/>
        </p:nvSpPr>
        <p:spPr>
          <a:xfrm>
            <a:off x="437391" y="4931798"/>
            <a:ext cx="2274234" cy="151278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4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altLang="ko-KR" sz="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endParaRPr lang="en-US" altLang="ko-KR" sz="1200" dirty="0"/>
          </a:p>
          <a:p>
            <a:pPr algn="ctr"/>
            <a:r>
              <a:rPr lang="en-US" altLang="ko-KR" dirty="0"/>
              <a:t> </a:t>
            </a: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DBBA5811-77EF-4414-B888-07A29E5C3874}"/>
              </a:ext>
            </a:extLst>
          </p:cNvPr>
          <p:cNvSpPr/>
          <p:nvPr/>
        </p:nvSpPr>
        <p:spPr>
          <a:xfrm>
            <a:off x="495599" y="4988700"/>
            <a:ext cx="1547689" cy="1760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번호 생성 규칙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ED4927D4-0C8A-4092-B0E9-8BBB199F7D66}"/>
              </a:ext>
            </a:extLst>
          </p:cNvPr>
          <p:cNvGraphicFramePr>
            <a:graphicFrameLocks noGrp="1"/>
          </p:cNvGraphicFramePr>
          <p:nvPr/>
        </p:nvGraphicFramePr>
        <p:xfrm>
          <a:off x="495599" y="5215196"/>
          <a:ext cx="2160239" cy="1005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6562">
                  <a:extLst>
                    <a:ext uri="{9D8B030D-6E8A-4147-A177-3AD203B41FA5}">
                      <a16:colId xmlns:a16="http://schemas.microsoft.com/office/drawing/2014/main" val="1784923415"/>
                    </a:ext>
                  </a:extLst>
                </a:gridCol>
                <a:gridCol w="964679">
                  <a:extLst>
                    <a:ext uri="{9D8B030D-6E8A-4147-A177-3AD203B41FA5}">
                      <a16:colId xmlns:a16="http://schemas.microsoft.com/office/drawing/2014/main" val="3913659082"/>
                    </a:ext>
                  </a:extLst>
                </a:gridCol>
                <a:gridCol w="498998">
                  <a:extLst>
                    <a:ext uri="{9D8B030D-6E8A-4147-A177-3AD203B41FA5}">
                      <a16:colId xmlns:a16="http://schemas.microsoft.com/office/drawing/2014/main" val="305359917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연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련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5804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0000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85758"/>
                  </a:ext>
                </a:extLst>
              </a:tr>
              <a:tr h="341674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 연도의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##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 해당하는 숫자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공개 범위를 고려한 회원 그룹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: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부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용자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: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대외 이용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 순서대로 부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3278608"/>
                  </a:ext>
                </a:extLst>
              </a:tr>
            </a:tbl>
          </a:graphicData>
        </a:graphic>
      </p:graphicFrame>
      <p:sp>
        <p:nvSpPr>
          <p:cNvPr id="140" name="사각형: 둥근 모서리 139">
            <a:extLst>
              <a:ext uri="{FF2B5EF4-FFF2-40B4-BE49-F238E27FC236}">
                <a16:creationId xmlns:a16="http://schemas.microsoft.com/office/drawing/2014/main" id="{6F904664-C6A8-4D68-B05F-3D6E22533282}"/>
              </a:ext>
            </a:extLst>
          </p:cNvPr>
          <p:cNvSpPr/>
          <p:nvPr/>
        </p:nvSpPr>
        <p:spPr>
          <a:xfrm>
            <a:off x="280971" y="32136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1" name="사각형: 둥근 모서리 140">
            <a:extLst>
              <a:ext uri="{FF2B5EF4-FFF2-40B4-BE49-F238E27FC236}">
                <a16:creationId xmlns:a16="http://schemas.microsoft.com/office/drawing/2014/main" id="{2F7ACE38-8919-41F9-9D1D-CA296ADCB548}"/>
              </a:ext>
            </a:extLst>
          </p:cNvPr>
          <p:cNvSpPr/>
          <p:nvPr/>
        </p:nvSpPr>
        <p:spPr>
          <a:xfrm>
            <a:off x="280971" y="34114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2" name="사각형: 둥근 모서리 141">
            <a:extLst>
              <a:ext uri="{FF2B5EF4-FFF2-40B4-BE49-F238E27FC236}">
                <a16:creationId xmlns:a16="http://schemas.microsoft.com/office/drawing/2014/main" id="{6CD2E5D8-E00D-4832-AF07-98810E8780A1}"/>
              </a:ext>
            </a:extLst>
          </p:cNvPr>
          <p:cNvSpPr/>
          <p:nvPr/>
        </p:nvSpPr>
        <p:spPr>
          <a:xfrm>
            <a:off x="1177582" y="34114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3" name="사각형: 둥근 모서리 142">
            <a:extLst>
              <a:ext uri="{FF2B5EF4-FFF2-40B4-BE49-F238E27FC236}">
                <a16:creationId xmlns:a16="http://schemas.microsoft.com/office/drawing/2014/main" id="{6455FD69-2BBC-42D3-89BE-74DEDCA455F8}"/>
              </a:ext>
            </a:extLst>
          </p:cNvPr>
          <p:cNvSpPr/>
          <p:nvPr/>
        </p:nvSpPr>
        <p:spPr>
          <a:xfrm>
            <a:off x="4024642" y="28522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4" name="사각형: 둥근 모서리 143">
            <a:extLst>
              <a:ext uri="{FF2B5EF4-FFF2-40B4-BE49-F238E27FC236}">
                <a16:creationId xmlns:a16="http://schemas.microsoft.com/office/drawing/2014/main" id="{518D8316-6806-4141-BB8A-4B47C651219B}"/>
              </a:ext>
            </a:extLst>
          </p:cNvPr>
          <p:cNvSpPr/>
          <p:nvPr/>
        </p:nvSpPr>
        <p:spPr>
          <a:xfrm>
            <a:off x="4745708" y="285225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5" name="사각형: 둥근 모서리 144">
            <a:extLst>
              <a:ext uri="{FF2B5EF4-FFF2-40B4-BE49-F238E27FC236}">
                <a16:creationId xmlns:a16="http://schemas.microsoft.com/office/drawing/2014/main" id="{CA87F5A6-8CCA-4D89-8633-A16D4834D053}"/>
              </a:ext>
            </a:extLst>
          </p:cNvPr>
          <p:cNvSpPr/>
          <p:nvPr/>
        </p:nvSpPr>
        <p:spPr>
          <a:xfrm>
            <a:off x="8152261" y="34114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6" name="사각형: 둥근 모서리 145">
            <a:extLst>
              <a:ext uri="{FF2B5EF4-FFF2-40B4-BE49-F238E27FC236}">
                <a16:creationId xmlns:a16="http://schemas.microsoft.com/office/drawing/2014/main" id="{F3389416-DBBC-4C3E-ABBB-87E77EA094A3}"/>
              </a:ext>
            </a:extLst>
          </p:cNvPr>
          <p:cNvSpPr/>
          <p:nvPr/>
        </p:nvSpPr>
        <p:spPr>
          <a:xfrm>
            <a:off x="280971" y="368712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3" name="사각형: 둥근 모서리 152">
            <a:extLst>
              <a:ext uri="{FF2B5EF4-FFF2-40B4-BE49-F238E27FC236}">
                <a16:creationId xmlns:a16="http://schemas.microsoft.com/office/drawing/2014/main" id="{CA69194D-3292-49DD-96BE-07DD12105AFA}"/>
              </a:ext>
            </a:extLst>
          </p:cNvPr>
          <p:cNvSpPr/>
          <p:nvPr/>
        </p:nvSpPr>
        <p:spPr>
          <a:xfrm>
            <a:off x="767408" y="368712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4" name="사각형: 둥근 모서리 153">
            <a:extLst>
              <a:ext uri="{FF2B5EF4-FFF2-40B4-BE49-F238E27FC236}">
                <a16:creationId xmlns:a16="http://schemas.microsoft.com/office/drawing/2014/main" id="{83CC5E93-FBC7-4B9C-8F09-8316E13C8BE2}"/>
              </a:ext>
            </a:extLst>
          </p:cNvPr>
          <p:cNvSpPr/>
          <p:nvPr/>
        </p:nvSpPr>
        <p:spPr>
          <a:xfrm>
            <a:off x="1196962" y="3687123"/>
            <a:ext cx="12558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FD2B920B-5E3B-4C1C-9AAC-991222118301}"/>
              </a:ext>
            </a:extLst>
          </p:cNvPr>
          <p:cNvSpPr/>
          <p:nvPr/>
        </p:nvSpPr>
        <p:spPr>
          <a:xfrm>
            <a:off x="395105" y="1988840"/>
            <a:ext cx="8489792" cy="2028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altLang="ko-KR" sz="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endParaRPr lang="en-US" altLang="ko-KR" sz="1200" dirty="0"/>
          </a:p>
          <a:p>
            <a:pPr algn="ctr"/>
            <a:r>
              <a:rPr lang="en-US" altLang="ko-KR" dirty="0"/>
              <a:t> </a:t>
            </a:r>
          </a:p>
        </p:txBody>
      </p:sp>
      <p:sp>
        <p:nvSpPr>
          <p:cNvPr id="155" name="사각형: 둥근 모서리 154">
            <a:extLst>
              <a:ext uri="{FF2B5EF4-FFF2-40B4-BE49-F238E27FC236}">
                <a16:creationId xmlns:a16="http://schemas.microsoft.com/office/drawing/2014/main" id="{81609B91-AF31-470F-B73A-0494AF1FA466}"/>
              </a:ext>
            </a:extLst>
          </p:cNvPr>
          <p:cNvSpPr/>
          <p:nvPr/>
        </p:nvSpPr>
        <p:spPr>
          <a:xfrm>
            <a:off x="8361409" y="463293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02BD8605-A434-4249-BC85-35E262EB2885}"/>
              </a:ext>
            </a:extLst>
          </p:cNvPr>
          <p:cNvGrpSpPr/>
          <p:nvPr/>
        </p:nvGrpSpPr>
        <p:grpSpPr>
          <a:xfrm>
            <a:off x="4655840" y="1492149"/>
            <a:ext cx="1697790" cy="180527"/>
            <a:chOff x="1260033" y="1514945"/>
            <a:chExt cx="1697790" cy="180527"/>
          </a:xfrm>
        </p:grpSpPr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181567DB-7B39-44EE-89C5-62D3BEDFAA72}"/>
                </a:ext>
              </a:extLst>
            </p:cNvPr>
            <p:cNvSpPr/>
            <p:nvPr/>
          </p:nvSpPr>
          <p:spPr>
            <a:xfrm>
              <a:off x="2177088" y="1522883"/>
              <a:ext cx="672438" cy="1725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193F7B86-138D-4463-A446-75DA923DB393}"/>
                </a:ext>
              </a:extLst>
            </p:cNvPr>
            <p:cNvSpPr/>
            <p:nvPr/>
          </p:nvSpPr>
          <p:spPr>
            <a:xfrm>
              <a:off x="1260033" y="1522517"/>
              <a:ext cx="671379" cy="1725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75" name="그룹 74">
              <a:extLst>
                <a:ext uri="{FF2B5EF4-FFF2-40B4-BE49-F238E27FC236}">
                  <a16:creationId xmlns:a16="http://schemas.microsoft.com/office/drawing/2014/main" id="{3EB2247C-B05D-468D-B1E9-D08574387EDC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88" name="직사각형 87">
                <a:extLst>
                  <a:ext uri="{FF2B5EF4-FFF2-40B4-BE49-F238E27FC236}">
                    <a16:creationId xmlns:a16="http://schemas.microsoft.com/office/drawing/2014/main" id="{DF6AF10C-936D-4AE2-A55E-36F4181A8C08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E006D79E-D17D-42AF-9A2F-2E70833EE4FE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90" name="그림 89">
                <a:extLst>
                  <a:ext uri="{FF2B5EF4-FFF2-40B4-BE49-F238E27FC236}">
                    <a16:creationId xmlns:a16="http://schemas.microsoft.com/office/drawing/2014/main" id="{24D8F69C-D387-4F4F-A003-2B21C9C655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0FD09CE1-9948-495E-A87B-25387CA52C54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BD587676-A0A7-48F6-A61C-4E4DC91C79E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4" name="직사각형 83">
                <a:extLst>
                  <a:ext uri="{FF2B5EF4-FFF2-40B4-BE49-F238E27FC236}">
                    <a16:creationId xmlns:a16="http://schemas.microsoft.com/office/drawing/2014/main" id="{A0BD52D2-2E39-46B2-8C39-8721CF53CDAB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5" name="그림 84">
                <a:extLst>
                  <a:ext uri="{FF2B5EF4-FFF2-40B4-BE49-F238E27FC236}">
                    <a16:creationId xmlns:a16="http://schemas.microsoft.com/office/drawing/2014/main" id="{315F27E8-256F-438F-B33F-C37A0F3A7A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929EC347-046F-4740-AC46-CEC5001AC58C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</p:grpSp>
      <p:grpSp>
        <p:nvGrpSpPr>
          <p:cNvPr id="104" name="그룹 103">
            <a:extLst>
              <a:ext uri="{FF2B5EF4-FFF2-40B4-BE49-F238E27FC236}">
                <a16:creationId xmlns:a16="http://schemas.microsoft.com/office/drawing/2014/main" id="{7D9758C6-DFBC-4799-B3C5-16634E6D97BD}"/>
              </a:ext>
            </a:extLst>
          </p:cNvPr>
          <p:cNvGrpSpPr/>
          <p:nvPr/>
        </p:nvGrpSpPr>
        <p:grpSpPr>
          <a:xfrm>
            <a:off x="5735960" y="1767245"/>
            <a:ext cx="2143165" cy="172800"/>
            <a:chOff x="4965016" y="1837758"/>
            <a:chExt cx="2143165" cy="172800"/>
          </a:xfrm>
        </p:grpSpPr>
        <p:sp>
          <p:nvSpPr>
            <p:cNvPr id="105" name="사각형: 둥근 모서리 104">
              <a:extLst>
                <a:ext uri="{FF2B5EF4-FFF2-40B4-BE49-F238E27FC236}">
                  <a16:creationId xmlns:a16="http://schemas.microsoft.com/office/drawing/2014/main" id="{1D7D2B87-D8BE-492E-B6A6-62D869F04FAF}"/>
                </a:ext>
              </a:extLst>
            </p:cNvPr>
            <p:cNvSpPr/>
            <p:nvPr/>
          </p:nvSpPr>
          <p:spPr>
            <a:xfrm>
              <a:off x="6938709" y="183942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10" name="그림 109">
              <a:extLst>
                <a:ext uri="{FF2B5EF4-FFF2-40B4-BE49-F238E27FC236}">
                  <a16:creationId xmlns:a16="http://schemas.microsoft.com/office/drawing/2014/main" id="{E9A8331A-22BA-42F3-B3C4-AF3C7C2460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54563" y="1848032"/>
              <a:ext cx="144016" cy="144016"/>
            </a:xfrm>
            <a:prstGeom prst="rect">
              <a:avLst/>
            </a:prstGeom>
          </p:spPr>
        </p:pic>
        <p:sp>
          <p:nvSpPr>
            <p:cNvPr id="112" name="직사각형 111">
              <a:extLst>
                <a:ext uri="{FF2B5EF4-FFF2-40B4-BE49-F238E27FC236}">
                  <a16:creationId xmlns:a16="http://schemas.microsoft.com/office/drawing/2014/main" id="{DF9D4BEC-948B-448B-AAF3-6B076DAA74D8}"/>
                </a:ext>
              </a:extLst>
            </p:cNvPr>
            <p:cNvSpPr/>
            <p:nvPr/>
          </p:nvSpPr>
          <p:spPr>
            <a:xfrm>
              <a:off x="4965016" y="1837758"/>
              <a:ext cx="1964091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pPr defTabSz="914400" latinLnBrk="1">
                <a:defRPr/>
              </a:pP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/>
                </a:rPr>
                <a:t>기관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/>
                </a:rPr>
                <a:t>,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/>
                </a:rPr>
                <a:t>기업 검색</a:t>
              </a:r>
            </a:p>
          </p:txBody>
        </p:sp>
      </p:grp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ECDD5B0E-A1B8-4D02-A4AA-35179DA80B93}"/>
              </a:ext>
            </a:extLst>
          </p:cNvPr>
          <p:cNvSpPr/>
          <p:nvPr/>
        </p:nvSpPr>
        <p:spPr>
          <a:xfrm>
            <a:off x="2136078" y="2565691"/>
            <a:ext cx="1964091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아이디</a:t>
            </a:r>
            <a:r>
              <a:rPr lang="en-US" altLang="ko-KR" sz="8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, </a:t>
            </a:r>
            <a:r>
              <a:rPr lang="ko-KR" altLang="en-US" sz="800" kern="12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회원명</a:t>
            </a:r>
            <a:r>
              <a:rPr lang="en-US" altLang="ko-KR" sz="8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, </a:t>
            </a:r>
            <a:r>
              <a:rPr lang="ko-KR" altLang="en-US" sz="8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회원번호 검색</a:t>
            </a: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1B883D3D-F000-4A31-87EF-2AD107785DBA}"/>
              </a:ext>
            </a:extLst>
          </p:cNvPr>
          <p:cNvSpPr/>
          <p:nvPr/>
        </p:nvSpPr>
        <p:spPr>
          <a:xfrm>
            <a:off x="4549169" y="17910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E401F1F4-E71F-4B7A-8D1A-0E56D80B2D11}"/>
              </a:ext>
            </a:extLst>
          </p:cNvPr>
          <p:cNvSpPr/>
          <p:nvPr/>
        </p:nvSpPr>
        <p:spPr>
          <a:xfrm>
            <a:off x="280971" y="152172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사각형: 둥근 모서리 135">
            <a:extLst>
              <a:ext uri="{FF2B5EF4-FFF2-40B4-BE49-F238E27FC236}">
                <a16:creationId xmlns:a16="http://schemas.microsoft.com/office/drawing/2014/main" id="{D17E48FD-D77C-43A6-B695-C065CA3E8B31}"/>
              </a:ext>
            </a:extLst>
          </p:cNvPr>
          <p:cNvSpPr/>
          <p:nvPr/>
        </p:nvSpPr>
        <p:spPr>
          <a:xfrm>
            <a:off x="280971" y="17910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7" name="사각형: 둥근 모서리 136">
            <a:extLst>
              <a:ext uri="{FF2B5EF4-FFF2-40B4-BE49-F238E27FC236}">
                <a16:creationId xmlns:a16="http://schemas.microsoft.com/office/drawing/2014/main" id="{1B78FC40-F0B1-4094-869A-C0C18949E4F7}"/>
              </a:ext>
            </a:extLst>
          </p:cNvPr>
          <p:cNvSpPr/>
          <p:nvPr/>
        </p:nvSpPr>
        <p:spPr>
          <a:xfrm>
            <a:off x="280971" y="202634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8" name="사각형: 둥근 모서리 137">
            <a:extLst>
              <a:ext uri="{FF2B5EF4-FFF2-40B4-BE49-F238E27FC236}">
                <a16:creationId xmlns:a16="http://schemas.microsoft.com/office/drawing/2014/main" id="{D5F92A8B-2710-4BFA-A2A3-B81F06B60512}"/>
              </a:ext>
            </a:extLst>
          </p:cNvPr>
          <p:cNvSpPr/>
          <p:nvPr/>
        </p:nvSpPr>
        <p:spPr>
          <a:xfrm>
            <a:off x="280971" y="230904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9" name="사각형: 둥근 모서리 138">
            <a:extLst>
              <a:ext uri="{FF2B5EF4-FFF2-40B4-BE49-F238E27FC236}">
                <a16:creationId xmlns:a16="http://schemas.microsoft.com/office/drawing/2014/main" id="{821B8F54-E2DB-4F0A-BEC2-4764BE56394C}"/>
              </a:ext>
            </a:extLst>
          </p:cNvPr>
          <p:cNvSpPr/>
          <p:nvPr/>
        </p:nvSpPr>
        <p:spPr>
          <a:xfrm>
            <a:off x="280971" y="25506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86" name="표 10">
            <a:extLst>
              <a:ext uri="{FF2B5EF4-FFF2-40B4-BE49-F238E27FC236}">
                <a16:creationId xmlns:a16="http://schemas.microsoft.com/office/drawing/2014/main" id="{A8F8ED8F-4954-4FC1-A1C5-693A644AD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646636"/>
              </p:ext>
            </p:extLst>
          </p:nvPr>
        </p:nvGraphicFramePr>
        <p:xfrm>
          <a:off x="9267391" y="759199"/>
          <a:ext cx="2922885" cy="62724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조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Wingdings" panose="05000000000000000000" pitchFamily="2" charset="2"/>
                        </a:rPr>
                        <a:t>회원정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Wingdings" panose="05000000000000000000" pitchFamily="2" charset="2"/>
                        </a:rPr>
                        <a:t>DB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Wingdings" panose="05000000000000000000" pitchFamily="2" charset="2"/>
                        </a:rPr>
                        <a:t> 동일한 컬럼명을 불러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02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드롭다운 리스트 선택 항목은 조회 기간의 기준을 의미하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입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탈퇴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있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항목을 변경하면 우측의 버튼이 초기화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입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탈퇴일 선택 후 조회 기간을 선택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‘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, ‘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, ‘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직접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라디오버튼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직접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시 캘린더가 활성화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폴트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from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~ t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 선택에 제한 없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, ‘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, ‘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선택 시 캘린더는 비활성화되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from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오늘로부터 해당하는 기간에 맞게 역산되고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t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는 오늘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여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48415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권한그룹 유형을 라디오 버튼으로 선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디폴트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 ‘[?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박스 클릭 시 각 그룹에 대한 설명이 생성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돋보기버튼 클릭 시 소속 조회 팝업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M032]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뜨고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팝업에서 소속 기관을 선택하여 입력함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복수 입력 가능하며 제한 없음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유입력  통해 검색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 키워드가 들어간 소속이 모두 검색됨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0462586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,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[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마케팅 동의 여부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인정보 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 제공 동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레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라디오버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 디폴트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심영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이 설정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심 영역에 따라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체크박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하나라도 해당하는 경우 조회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기준을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드롭다운리스트에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항목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, 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후 검색 내용 키인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능 설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2564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조건 해당 값을 하단 리스트에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0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초기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단 조회 영역 설정 내역 초기화 시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2585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되는 데이터 건수 표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78030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한페이지에 출력되는 데이터 건수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‘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, ‘5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, ‘10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. ’5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디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143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페이지 이동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할 페이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/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 페이지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 페이지에 출력되는 데이터 수에 따라 자동 계산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546863"/>
                  </a:ext>
                </a:extLst>
              </a:tr>
              <a:tr h="3412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운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하단 그리드에 조회되는 내역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xce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다운로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첨부 레이아웃 참고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9743692"/>
                  </a:ext>
                </a:extLst>
              </a:tr>
              <a:tr h="3412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승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 내역 중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신청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 경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선택 후 해당 버튼을 누르면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 탈퇴로 변경 저장됨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승인 시 탈퇴신청일로부터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 후 이메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화번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휴대전화번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 후 회원 번호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가입일 외 모든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정보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B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삭제됨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4798334"/>
                  </a:ext>
                </a:extLst>
              </a:tr>
            </a:tbl>
          </a:graphicData>
        </a:graphic>
      </p:graphicFrame>
      <p:graphicFrame>
        <p:nvGraphicFramePr>
          <p:cNvPr id="91" name="표 90">
            <a:extLst>
              <a:ext uri="{FF2B5EF4-FFF2-40B4-BE49-F238E27FC236}">
                <a16:creationId xmlns:a16="http://schemas.microsoft.com/office/drawing/2014/main" id="{90FFA90E-ACFE-4194-994B-396D87DF10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4019686"/>
              </p:ext>
            </p:extLst>
          </p:nvPr>
        </p:nvGraphicFramePr>
        <p:xfrm>
          <a:off x="6654349" y="4637746"/>
          <a:ext cx="2321971" cy="853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54360">
                  <a:extLst>
                    <a:ext uri="{9D8B030D-6E8A-4147-A177-3AD203B41FA5}">
                      <a16:colId xmlns:a16="http://schemas.microsoft.com/office/drawing/2014/main" val="2309266161"/>
                    </a:ext>
                  </a:extLst>
                </a:gridCol>
                <a:gridCol w="756230">
                  <a:extLst>
                    <a:ext uri="{9D8B030D-6E8A-4147-A177-3AD203B41FA5}">
                      <a16:colId xmlns:a16="http://schemas.microsoft.com/office/drawing/2014/main" val="368272252"/>
                    </a:ext>
                  </a:extLst>
                </a:gridCol>
                <a:gridCol w="611381">
                  <a:extLst>
                    <a:ext uri="{9D8B030D-6E8A-4147-A177-3AD203B41FA5}">
                      <a16:colId xmlns:a16="http://schemas.microsoft.com/office/drawing/2014/main" val="245694054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케팅 동의 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2945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Y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Y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288824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059576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086133"/>
                  </a:ext>
                </a:extLst>
              </a:tr>
            </a:tbl>
          </a:graphicData>
        </a:graphic>
      </p:graphicFrame>
      <p:sp>
        <p:nvSpPr>
          <p:cNvPr id="92" name="사각형: 둥근 모서리 91">
            <a:extLst>
              <a:ext uri="{FF2B5EF4-FFF2-40B4-BE49-F238E27FC236}">
                <a16:creationId xmlns:a16="http://schemas.microsoft.com/office/drawing/2014/main" id="{552EF4CC-FD62-4622-96BA-9C453B464A73}"/>
              </a:ext>
            </a:extLst>
          </p:cNvPr>
          <p:cNvSpPr/>
          <p:nvPr/>
        </p:nvSpPr>
        <p:spPr>
          <a:xfrm>
            <a:off x="8380789" y="4651279"/>
            <a:ext cx="12558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사각형: 둥근 모서리 86">
            <a:extLst>
              <a:ext uri="{FF2B5EF4-FFF2-40B4-BE49-F238E27FC236}">
                <a16:creationId xmlns:a16="http://schemas.microsoft.com/office/drawing/2014/main" id="{915F01AD-9400-4942-BD17-A4B0B59BB377}"/>
              </a:ext>
            </a:extLst>
          </p:cNvPr>
          <p:cNvSpPr/>
          <p:nvPr/>
        </p:nvSpPr>
        <p:spPr>
          <a:xfrm>
            <a:off x="4358554" y="1795334"/>
            <a:ext cx="143118" cy="126201"/>
          </a:xfrm>
          <a:prstGeom prst="round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?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7AB4F5CA-48F8-48D9-8C8B-814F2474BB12}"/>
              </a:ext>
            </a:extLst>
          </p:cNvPr>
          <p:cNvCxnSpPr>
            <a:cxnSpLocks/>
            <a:stCxn id="87" idx="2"/>
          </p:cNvCxnSpPr>
          <p:nvPr/>
        </p:nvCxnSpPr>
        <p:spPr>
          <a:xfrm>
            <a:off x="4430113" y="1921535"/>
            <a:ext cx="1203541" cy="1093584"/>
          </a:xfrm>
          <a:prstGeom prst="straightConnector1">
            <a:avLst/>
          </a:prstGeom>
          <a:ln w="127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3B7F2AA2-9DD7-47BF-80B5-3E651F3C86EF}"/>
              </a:ext>
            </a:extLst>
          </p:cNvPr>
          <p:cNvSpPr/>
          <p:nvPr/>
        </p:nvSpPr>
        <p:spPr>
          <a:xfrm>
            <a:off x="395105" y="1734657"/>
            <a:ext cx="4131175" cy="2028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altLang="ko-KR" sz="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endParaRPr lang="en-US" altLang="ko-KR" sz="1200" dirty="0"/>
          </a:p>
          <a:p>
            <a:pPr algn="ctr"/>
            <a:r>
              <a:rPr lang="en-US" altLang="ko-KR" dirty="0"/>
              <a:t> </a:t>
            </a: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4A1FDFAB-7564-4854-8441-A42764076946}"/>
              </a:ext>
            </a:extLst>
          </p:cNvPr>
          <p:cNvSpPr/>
          <p:nvPr/>
        </p:nvSpPr>
        <p:spPr>
          <a:xfrm>
            <a:off x="9055616" y="4108821"/>
            <a:ext cx="3098119" cy="9105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1) FO-</a:t>
            </a:r>
            <a:r>
              <a:rPr lang="ko-KR" altLang="en-US" sz="9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회원이 마케팅</a:t>
            </a:r>
            <a:r>
              <a:rPr lang="en-US" altLang="ko-KR" sz="9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뉴스레터 </a:t>
            </a:r>
            <a:r>
              <a:rPr lang="en-US" altLang="ko-KR" sz="9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On/OFF</a:t>
            </a:r>
            <a:r>
              <a:rPr lang="ko-KR" altLang="en-US" sz="9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하는 기능 부재</a:t>
            </a:r>
            <a:endParaRPr lang="en-US" altLang="ko-KR" sz="9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9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2) </a:t>
            </a:r>
            <a:r>
              <a:rPr lang="ko-KR" altLang="en-US" sz="900" dirty="0" err="1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탈퇴후</a:t>
            </a:r>
            <a:r>
              <a:rPr lang="ko-KR" altLang="en-US" sz="9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</a:t>
            </a:r>
            <a:r>
              <a:rPr lang="en-US" altLang="ko-KR" sz="9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DB</a:t>
            </a:r>
            <a:r>
              <a:rPr lang="ko-KR" altLang="en-US" sz="9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보존연한 지정 필요</a:t>
            </a:r>
            <a:endParaRPr lang="en-US" altLang="ko-KR" sz="9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endParaRPr lang="en-US" altLang="ko-KR" sz="9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[</a:t>
            </a:r>
            <a:r>
              <a:rPr lang="ko-KR" altLang="en-US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답변</a:t>
            </a:r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]</a:t>
            </a:r>
          </a:p>
          <a:p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1) </a:t>
            </a:r>
            <a:r>
              <a:rPr lang="ko-KR" altLang="en-US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마이페이지 내 개인정보 수정 기능 제공</a:t>
            </a:r>
          </a:p>
          <a:p>
            <a:pPr>
              <a:lnSpc>
                <a:spcPct val="100000"/>
              </a:lnSpc>
            </a:pPr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2) </a:t>
            </a:r>
            <a:r>
              <a:rPr lang="ko-KR" altLang="en-US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탈퇴 후 모든 개인정보는 즉시 파기</a:t>
            </a: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E7D46DF7-2207-4664-A4CB-C07C5E66E273}"/>
              </a:ext>
            </a:extLst>
          </p:cNvPr>
          <p:cNvSpPr/>
          <p:nvPr/>
        </p:nvSpPr>
        <p:spPr>
          <a:xfrm>
            <a:off x="9055616" y="5076743"/>
            <a:ext cx="3098119" cy="15981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ko-KR" altLang="en-US" sz="900" b="1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탈퇴 관련 질문사항 </a:t>
            </a:r>
            <a:r>
              <a:rPr lang="en-US" altLang="ko-KR" sz="900" b="1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(p7</a:t>
            </a:r>
            <a:r>
              <a:rPr lang="ko-KR" altLang="en-US" sz="900" b="1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의 딱지에 대한 답변</a:t>
            </a:r>
            <a:r>
              <a:rPr lang="en-US" altLang="ko-KR" sz="900" b="1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)</a:t>
            </a:r>
            <a:r>
              <a:rPr lang="ko-KR" altLang="en-US" sz="900" b="1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</a:t>
            </a:r>
            <a:endParaRPr lang="en-US" altLang="ko-KR" sz="900" b="1" dirty="0">
              <a:solidFill>
                <a:srgbClr val="0060D7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900" b="1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:</a:t>
            </a:r>
            <a:r>
              <a:rPr lang="ko-KR" altLang="en-US" sz="900" b="1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다음의 </a:t>
            </a:r>
            <a:r>
              <a:rPr lang="en-US" altLang="ko-KR" sz="900" b="1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1), 2) </a:t>
            </a:r>
            <a:r>
              <a:rPr lang="ko-KR" altLang="en-US" sz="900" b="1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중 일반적인 탈퇴 프로세스가 어떤 것인지에 대한 의견 부탁드립니다</a:t>
            </a:r>
            <a:r>
              <a:rPr lang="en-US" altLang="ko-KR" sz="900" b="1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.</a:t>
            </a:r>
          </a:p>
          <a:p>
            <a:pPr>
              <a:lnSpc>
                <a:spcPct val="100000"/>
              </a:lnSpc>
            </a:pPr>
            <a:endParaRPr lang="en-US" altLang="ko-KR" sz="900" b="1" dirty="0">
              <a:solidFill>
                <a:srgbClr val="0060D7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 marL="228600" indent="-228600">
              <a:lnSpc>
                <a:spcPct val="100000"/>
              </a:lnSpc>
              <a:buAutoNum type="arabicParenR"/>
            </a:pPr>
            <a:r>
              <a:rPr lang="ko-KR" altLang="en-US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고객이 탈퇴 버튼 누르는 즉시 탈퇴 처리 되면 모든 개인정보 파기 </a:t>
            </a:r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(</a:t>
            </a:r>
            <a:r>
              <a:rPr lang="ko-KR" altLang="en-US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이 방식대로 진행하는 경우 </a:t>
            </a:r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13</a:t>
            </a:r>
            <a:r>
              <a:rPr lang="ko-KR" altLang="en-US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번 탈퇴승인 기능 삭제되어야 함</a:t>
            </a:r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)</a:t>
            </a:r>
          </a:p>
          <a:p>
            <a:pPr marL="228600" indent="-228600">
              <a:lnSpc>
                <a:spcPct val="100000"/>
              </a:lnSpc>
              <a:buAutoNum type="arabicParenR"/>
            </a:pPr>
            <a:endParaRPr lang="en-US" altLang="ko-KR" sz="900" dirty="0">
              <a:solidFill>
                <a:srgbClr val="0060D7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 marL="228600" indent="-228600">
              <a:lnSpc>
                <a:spcPct val="100000"/>
              </a:lnSpc>
              <a:buAutoNum type="arabicParenR"/>
            </a:pPr>
            <a:r>
              <a:rPr lang="ko-KR" altLang="en-US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고객이 탈퇴 버튼 누른 후</a:t>
            </a:r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관리자가 별도 탈퇴승인 처리 후</a:t>
            </a:r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처리 완료 시 모든 개인정보 파기 </a:t>
            </a:r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(</a:t>
            </a:r>
            <a:r>
              <a:rPr lang="ko-KR" altLang="en-US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현재 설계된 버전</a:t>
            </a:r>
            <a:r>
              <a:rPr lang="en-US" altLang="ko-KR" sz="9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)</a:t>
            </a:r>
            <a:endParaRPr lang="ko-KR" altLang="en-US" sz="900" dirty="0">
              <a:solidFill>
                <a:srgbClr val="0060D7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414D380D-6397-4345-A54E-254EC58CAB68}"/>
              </a:ext>
            </a:extLst>
          </p:cNvPr>
          <p:cNvSpPr/>
          <p:nvPr/>
        </p:nvSpPr>
        <p:spPr>
          <a:xfrm>
            <a:off x="8975470" y="6542"/>
            <a:ext cx="3218221" cy="1485607"/>
          </a:xfrm>
          <a:prstGeom prst="rect">
            <a:avLst/>
          </a:prstGeom>
          <a:solidFill>
            <a:schemeClr val="accent2"/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31&gt; 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13] 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탈퇴 승인 기능 삭제 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탈퇴 승인 버튼도 삭제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17] ‘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상태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’ 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항목 </a:t>
            </a:r>
            <a:r>
              <a:rPr lang="ko-KR" altLang="en-US" sz="800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선택값에서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‘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가입신청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’, ‘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탈퇴신청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‘ 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탈퇴 시 고객 식별 정보는 삭제되며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비식별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정보는 유지 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하단의 탈퇴 정책 박스 참고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)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 10. 20&gt;</a:t>
            </a: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[2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회원구분 도움말 정보 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[3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소속 조회 팝업 출력 안함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자유입력 통해 검색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cs typeface="Arial"/>
              </a:rPr>
              <a:t>[4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cs typeface="Arial"/>
              </a:rPr>
              <a:t>마케팅 동의 → 개인정보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.10.20&gt;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자 제공 동의로 변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38E99178-7BD2-40B9-876C-DE6E8FE947C1}"/>
              </a:ext>
            </a:extLst>
          </p:cNvPr>
          <p:cNvSpPr/>
          <p:nvPr/>
        </p:nvSpPr>
        <p:spPr>
          <a:xfrm>
            <a:off x="2809494" y="4935543"/>
            <a:ext cx="2763401" cy="18087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ko-KR" altLang="en-US" sz="1000" b="1" dirty="0">
                <a:solidFill>
                  <a:srgbClr val="FF0000"/>
                </a:solidFill>
                <a:highlight>
                  <a:srgbClr val="FFFF00"/>
                </a:highlight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탈퇴 정책</a:t>
            </a:r>
            <a:endParaRPr lang="en-US" altLang="ko-KR" sz="1000" b="1" dirty="0">
              <a:solidFill>
                <a:srgbClr val="FF0000"/>
              </a:solidFill>
              <a:highlight>
                <a:srgbClr val="FFFF00"/>
              </a:highlight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altLang="ko-KR" sz="1000" dirty="0">
              <a:solidFill>
                <a:srgbClr val="FF0000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- </a:t>
            </a:r>
            <a:r>
              <a:rPr lang="ko-KR" altLang="en-US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고객의 탈퇴 절차 완료 시 </a:t>
            </a:r>
            <a:r>
              <a:rPr lang="ko-KR" altLang="en-US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  <a:sym typeface="Wingdings" panose="05000000000000000000" pitchFamily="2" charset="2"/>
              </a:rPr>
              <a:t>즉시 탈퇴 처리되며</a:t>
            </a:r>
            <a:r>
              <a:rPr lang="en-US" altLang="ko-KR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  <a:sym typeface="Wingdings" panose="05000000000000000000" pitchFamily="2" charset="2"/>
              </a:rPr>
              <a:t>, </a:t>
            </a:r>
            <a:r>
              <a:rPr lang="ko-KR" altLang="en-US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  <a:sym typeface="Wingdings" panose="05000000000000000000" pitchFamily="2" charset="2"/>
              </a:rPr>
              <a:t>개인정보 즉시 파기</a:t>
            </a:r>
            <a:r>
              <a:rPr lang="en-US" altLang="ko-KR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  <a:sym typeface="Wingdings" panose="05000000000000000000" pitchFamily="2" charset="2"/>
              </a:rPr>
              <a:t>. </a:t>
            </a:r>
            <a:endParaRPr lang="en-US" altLang="ko-KR" sz="1000" dirty="0">
              <a:solidFill>
                <a:srgbClr val="FF0000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- </a:t>
            </a:r>
            <a:r>
              <a:rPr lang="ko-KR" altLang="en-US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단</a:t>
            </a:r>
            <a:r>
              <a:rPr lang="en-US" altLang="ko-KR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고객을 식별할 수 없는 정보는 통계 분석 목적으로 유지함</a:t>
            </a:r>
            <a:endParaRPr lang="en-US" altLang="ko-KR" sz="1000" dirty="0">
              <a:solidFill>
                <a:srgbClr val="FF0000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1000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: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회원번호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소속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부서명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직급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ESG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관심영역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업종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(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경영진단 시 입력한 정보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),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가입일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탈퇴일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경영진단 수행 여부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경영진단 수행 결과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CSRD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진단 수행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여부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CSRD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진단 수행 결과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문의 건수</a:t>
            </a:r>
            <a:r>
              <a:rPr lang="en-US" altLang="ko-KR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b="1" dirty="0">
                <a:solidFill>
                  <a:srgbClr val="FF000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활동 로그</a:t>
            </a:r>
            <a:endParaRPr lang="en-US" altLang="ko-KR" sz="1000" b="1" dirty="0">
              <a:solidFill>
                <a:srgbClr val="FF0000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FCFA323E-D321-B3B1-1BDB-FC678CB62FD7}"/>
              </a:ext>
            </a:extLst>
          </p:cNvPr>
          <p:cNvSpPr/>
          <p:nvPr/>
        </p:nvSpPr>
        <p:spPr>
          <a:xfrm>
            <a:off x="4219130" y="1985238"/>
            <a:ext cx="1468976" cy="22501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인정보 제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자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/>
              </a:rPr>
              <a:t>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 동의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E61F0CE1-05F0-7D1F-0E36-095CBE436CC6}"/>
              </a:ext>
            </a:extLst>
          </p:cNvPr>
          <p:cNvSpPr/>
          <p:nvPr/>
        </p:nvSpPr>
        <p:spPr>
          <a:xfrm>
            <a:off x="6177434" y="4628800"/>
            <a:ext cx="1468976" cy="22501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인정보 제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자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/>
              </a:rPr>
              <a:t>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 동의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C165CF31-C509-63E4-D77C-175E386C3D3B}"/>
              </a:ext>
            </a:extLst>
          </p:cNvPr>
          <p:cNvSpPr/>
          <p:nvPr/>
        </p:nvSpPr>
        <p:spPr>
          <a:xfrm>
            <a:off x="7608168" y="1745927"/>
            <a:ext cx="411212" cy="22501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kern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삭제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9E060289-C745-2687-5A9A-EC48F1F4BE39}"/>
              </a:ext>
            </a:extLst>
          </p:cNvPr>
          <p:cNvSpPr/>
          <p:nvPr/>
        </p:nvSpPr>
        <p:spPr>
          <a:xfrm>
            <a:off x="5633654" y="2618759"/>
            <a:ext cx="2799218" cy="7927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800" dirty="0">
                <a:solidFill>
                  <a:srgbClr val="FF0000"/>
                </a:solidFill>
              </a:rPr>
              <a:t>[</a:t>
            </a:r>
            <a:r>
              <a:rPr lang="ko-KR" altLang="en-US" sz="800" dirty="0">
                <a:solidFill>
                  <a:srgbClr val="FF0000"/>
                </a:solidFill>
              </a:rPr>
              <a:t>도움말</a:t>
            </a:r>
            <a:r>
              <a:rPr lang="en-US" altLang="ko-KR" sz="800" dirty="0">
                <a:solidFill>
                  <a:srgbClr val="FF0000"/>
                </a:solidFill>
              </a:rPr>
              <a:t>]</a:t>
            </a:r>
          </a:p>
          <a:p>
            <a:pPr>
              <a:lnSpc>
                <a:spcPct val="100000"/>
              </a:lnSpc>
            </a:pPr>
            <a:r>
              <a:rPr lang="ko-KR" altLang="en-US" sz="800" dirty="0">
                <a:solidFill>
                  <a:srgbClr val="FF0000"/>
                </a:solidFill>
              </a:rPr>
              <a:t>그룹</a:t>
            </a:r>
            <a:r>
              <a:rPr lang="en-US" altLang="ko-KR" sz="800" dirty="0">
                <a:solidFill>
                  <a:srgbClr val="FF0000"/>
                </a:solidFill>
              </a:rPr>
              <a:t> A: </a:t>
            </a:r>
            <a:r>
              <a:rPr lang="ko-KR" altLang="en-US" sz="800" dirty="0">
                <a:solidFill>
                  <a:srgbClr val="FF0000"/>
                </a:solidFill>
              </a:rPr>
              <a:t>운영관리자 </a:t>
            </a:r>
            <a:r>
              <a:rPr lang="en-US" altLang="ko-KR" sz="800" dirty="0">
                <a:solidFill>
                  <a:srgbClr val="FF0000"/>
                </a:solidFill>
              </a:rPr>
              <a:t>(</a:t>
            </a:r>
            <a:r>
              <a:rPr lang="ko-KR" altLang="en-US" sz="800" dirty="0">
                <a:solidFill>
                  <a:srgbClr val="FF0000"/>
                </a:solidFill>
              </a:rPr>
              <a:t>개인정보처리 可 </a:t>
            </a:r>
            <a:r>
              <a:rPr lang="en-US" altLang="ko-KR" sz="800" dirty="0">
                <a:solidFill>
                  <a:srgbClr val="FF0000"/>
                </a:solidFill>
              </a:rPr>
              <a:t>– </a:t>
            </a:r>
            <a:r>
              <a:rPr lang="ko-KR" altLang="en-US" sz="800" dirty="0">
                <a:solidFill>
                  <a:srgbClr val="FF0000"/>
                </a:solidFill>
              </a:rPr>
              <a:t>회원정보 조회 等</a:t>
            </a:r>
            <a:r>
              <a:rPr lang="en-US" altLang="ko-KR" sz="800" dirty="0">
                <a:solidFill>
                  <a:srgbClr val="FF0000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r>
              <a:rPr lang="ko-KR" altLang="en-US" sz="800" dirty="0">
                <a:solidFill>
                  <a:srgbClr val="FF0000"/>
                </a:solidFill>
              </a:rPr>
              <a:t>그룹 </a:t>
            </a:r>
            <a:r>
              <a:rPr lang="en-US" altLang="ko-KR" sz="800" dirty="0">
                <a:solidFill>
                  <a:srgbClr val="FF0000"/>
                </a:solidFill>
              </a:rPr>
              <a:t>B: </a:t>
            </a:r>
            <a:r>
              <a:rPr lang="ko-KR" altLang="en-US" sz="800" dirty="0">
                <a:solidFill>
                  <a:srgbClr val="FF0000"/>
                </a:solidFill>
              </a:rPr>
              <a:t>컨텐츠 및 일반 운영관리</a:t>
            </a:r>
            <a:r>
              <a:rPr lang="en-US" altLang="ko-KR" sz="800" dirty="0">
                <a:solidFill>
                  <a:srgbClr val="FF0000"/>
                </a:solidFill>
              </a:rPr>
              <a:t> (</a:t>
            </a:r>
            <a:r>
              <a:rPr lang="ko-KR" altLang="en-US" sz="800" dirty="0">
                <a:solidFill>
                  <a:srgbClr val="FF0000"/>
                </a:solidFill>
              </a:rPr>
              <a:t>개인정보처리 불가</a:t>
            </a:r>
            <a:r>
              <a:rPr lang="en-US" altLang="ko-KR" sz="800" dirty="0">
                <a:solidFill>
                  <a:srgbClr val="FF0000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r>
              <a:rPr lang="ko-KR" altLang="en-US" sz="800" dirty="0">
                <a:solidFill>
                  <a:srgbClr val="FF0000"/>
                </a:solidFill>
              </a:rPr>
              <a:t>그룹 </a:t>
            </a:r>
            <a:r>
              <a:rPr lang="en-US" altLang="ko-KR" sz="800" dirty="0">
                <a:solidFill>
                  <a:srgbClr val="FF0000"/>
                </a:solidFill>
              </a:rPr>
              <a:t>C: PwC </a:t>
            </a:r>
            <a:r>
              <a:rPr lang="ko-KR" altLang="en-US" sz="800" dirty="0">
                <a:solidFill>
                  <a:srgbClr val="FF0000"/>
                </a:solidFill>
              </a:rPr>
              <a:t>사용자</a:t>
            </a:r>
            <a:endParaRPr lang="en-US" altLang="ko-KR" sz="80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</a:pPr>
            <a:r>
              <a:rPr lang="ko-KR" altLang="en-US" sz="800" dirty="0">
                <a:solidFill>
                  <a:srgbClr val="FF0000"/>
                </a:solidFill>
              </a:rPr>
              <a:t>그룹 </a:t>
            </a:r>
            <a:r>
              <a:rPr lang="en-US" altLang="ko-KR" sz="800" dirty="0">
                <a:solidFill>
                  <a:srgbClr val="FF0000"/>
                </a:solidFill>
              </a:rPr>
              <a:t>D: </a:t>
            </a:r>
            <a:r>
              <a:rPr lang="ko-KR" altLang="en-US" sz="800" dirty="0">
                <a:solidFill>
                  <a:srgbClr val="FF0000"/>
                </a:solidFill>
              </a:rPr>
              <a:t>외부</a:t>
            </a:r>
            <a:r>
              <a:rPr lang="en-US" altLang="ko-KR" sz="800" dirty="0">
                <a:solidFill>
                  <a:srgbClr val="FF0000"/>
                </a:solidFill>
              </a:rPr>
              <a:t> </a:t>
            </a:r>
            <a:r>
              <a:rPr lang="ko-KR" altLang="en-US" sz="800" dirty="0">
                <a:solidFill>
                  <a:srgbClr val="FF0000"/>
                </a:solidFill>
              </a:rPr>
              <a:t>가입자</a:t>
            </a:r>
          </a:p>
        </p:txBody>
      </p:sp>
    </p:spTree>
    <p:extLst>
      <p:ext uri="{BB962C8B-B14F-4D97-AF65-F5344CB8AC3E}">
        <p14:creationId xmlns:p14="http://schemas.microsoft.com/office/powerpoint/2010/main" val="25979724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F91D5D4C-A77F-4FBA-8296-E4BAFF7D4F82}"/>
              </a:ext>
            </a:extLst>
          </p:cNvPr>
          <p:cNvGrpSpPr/>
          <p:nvPr/>
        </p:nvGrpSpPr>
        <p:grpSpPr>
          <a:xfrm>
            <a:off x="332094" y="626591"/>
            <a:ext cx="8797290" cy="6084335"/>
            <a:chOff x="332094" y="613068"/>
            <a:chExt cx="8797290" cy="6084335"/>
          </a:xfrm>
        </p:grpSpPr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09B62F82-3A05-4B12-9484-213B2BBD4F63}"/>
                </a:ext>
              </a:extLst>
            </p:cNvPr>
            <p:cNvGrpSpPr/>
            <p:nvPr/>
          </p:nvGrpSpPr>
          <p:grpSpPr>
            <a:xfrm>
              <a:off x="332094" y="613068"/>
              <a:ext cx="8797290" cy="6084335"/>
              <a:chOff x="332094" y="613068"/>
              <a:chExt cx="8797290" cy="6084335"/>
            </a:xfrm>
          </p:grpSpPr>
          <p:grpSp>
            <p:nvGrpSpPr>
              <p:cNvPr id="14" name="그룹 13">
                <a:extLst>
                  <a:ext uri="{FF2B5EF4-FFF2-40B4-BE49-F238E27FC236}">
                    <a16:creationId xmlns:a16="http://schemas.microsoft.com/office/drawing/2014/main" id="{5188BC57-3A79-4344-B396-2C5C8D1E86BF}"/>
                  </a:ext>
                </a:extLst>
              </p:cNvPr>
              <p:cNvGrpSpPr/>
              <p:nvPr/>
            </p:nvGrpSpPr>
            <p:grpSpPr>
              <a:xfrm>
                <a:off x="332094" y="613068"/>
                <a:ext cx="8797290" cy="6084335"/>
                <a:chOff x="332094" y="613068"/>
                <a:chExt cx="8797290" cy="6084335"/>
              </a:xfrm>
            </p:grpSpPr>
            <p:pic>
              <p:nvPicPr>
                <p:cNvPr id="4" name="그림 3">
                  <a:extLst>
                    <a:ext uri="{FF2B5EF4-FFF2-40B4-BE49-F238E27FC236}">
                      <a16:creationId xmlns:a16="http://schemas.microsoft.com/office/drawing/2014/main" id="{D65D5FB7-7980-4488-9707-7B1405D05A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332094" y="613068"/>
                  <a:ext cx="8797290" cy="6084335"/>
                </a:xfrm>
                <a:prstGeom prst="rect">
                  <a:avLst/>
                </a:prstGeom>
              </p:spPr>
            </p:pic>
            <p:sp>
              <p:nvSpPr>
                <p:cNvPr id="13" name="직사각형 12">
                  <a:extLst>
                    <a:ext uri="{FF2B5EF4-FFF2-40B4-BE49-F238E27FC236}">
                      <a16:creationId xmlns:a16="http://schemas.microsoft.com/office/drawing/2014/main" id="{33BF3924-11CD-4227-AE29-B60CF54CE20A}"/>
                    </a:ext>
                  </a:extLst>
                </p:cNvPr>
                <p:cNvSpPr/>
                <p:nvPr/>
              </p:nvSpPr>
              <p:spPr>
                <a:xfrm>
                  <a:off x="8419935" y="5121361"/>
                  <a:ext cx="504056" cy="16183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ko-KR" altLang="en-US" sz="800" dirty="0">
                      <a:solidFill>
                        <a:schemeClr val="tx1"/>
                      </a:solidFill>
                    </a:rPr>
                    <a:t>가입</a:t>
                  </a:r>
                </a:p>
              </p:txBody>
            </p:sp>
          </p:grpSp>
          <p:sp>
            <p:nvSpPr>
              <p:cNvPr id="2" name="직사각형 1">
                <a:extLst>
                  <a:ext uri="{FF2B5EF4-FFF2-40B4-BE49-F238E27FC236}">
                    <a16:creationId xmlns:a16="http://schemas.microsoft.com/office/drawing/2014/main" id="{DFAB0038-4128-4EDC-AAED-C0870226A030}"/>
                  </a:ext>
                </a:extLst>
              </p:cNvPr>
              <p:cNvSpPr/>
              <p:nvPr/>
            </p:nvSpPr>
            <p:spPr>
              <a:xfrm>
                <a:off x="8400259" y="5346875"/>
                <a:ext cx="523731" cy="1083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/>
              </a:p>
            </p:txBody>
          </p:sp>
        </p:grpSp>
        <p:sp>
          <p:nvSpPr>
            <p:cNvPr id="24" name="사각형: 둥근 모서리 23">
              <a:extLst>
                <a:ext uri="{FF2B5EF4-FFF2-40B4-BE49-F238E27FC236}">
                  <a16:creationId xmlns:a16="http://schemas.microsoft.com/office/drawing/2014/main" id="{D5B670E8-88FB-47E9-A43D-7D487A870C30}"/>
                </a:ext>
              </a:extLst>
            </p:cNvPr>
            <p:cNvSpPr/>
            <p:nvPr/>
          </p:nvSpPr>
          <p:spPr>
            <a:xfrm>
              <a:off x="8224742" y="3493006"/>
              <a:ext cx="652535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다운로드</a:t>
              </a:r>
            </a:p>
          </p:txBody>
        </p:sp>
        <p:sp>
          <p:nvSpPr>
            <p:cNvPr id="26" name="사각형: 둥근 모서리 25">
              <a:extLst>
                <a:ext uri="{FF2B5EF4-FFF2-40B4-BE49-F238E27FC236}">
                  <a16:creationId xmlns:a16="http://schemas.microsoft.com/office/drawing/2014/main" id="{6C2069E7-D102-4D87-BE0C-BC52CDDEE30D}"/>
                </a:ext>
              </a:extLst>
            </p:cNvPr>
            <p:cNvSpPr/>
            <p:nvPr/>
          </p:nvSpPr>
          <p:spPr>
            <a:xfrm>
              <a:off x="7408540" y="3459438"/>
              <a:ext cx="736101" cy="22768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5460607"/>
              </p:ext>
            </p:extLst>
          </p:nvPr>
        </p:nvGraphicFramePr>
        <p:xfrm>
          <a:off x="9267391" y="759199"/>
          <a:ext cx="2922885" cy="369443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utpu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항목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조건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하는 데이터를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회원정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DB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 동일한 컬럼명으로 불러옴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02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신청 회원을 선택하여 탈퇴승인 처리 하기 위한 체크박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신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 데이터만 활성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복수 선택 불가능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91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NO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순서대로 부여되는 일련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가입 시 생성 규칙에 따라 자동 생성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이퍼링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M031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상세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 생성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0462586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의 가입 상태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입 신청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, 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, 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신청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, 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구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값이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신청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 경우 빨간색 표시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의 가입 상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 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지로 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0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2585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78030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143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546863"/>
                  </a:ext>
                </a:extLst>
              </a:tr>
              <a:tr h="3412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9743692"/>
                  </a:ext>
                </a:extLst>
              </a:tr>
              <a:tr h="3412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4798334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7F908A9B-1E1D-4E52-9C91-4E7CDECF1A6E}"/>
              </a:ext>
            </a:extLst>
          </p:cNvPr>
          <p:cNvGrpSpPr/>
          <p:nvPr/>
        </p:nvGrpSpPr>
        <p:grpSpPr>
          <a:xfrm>
            <a:off x="468533" y="1412776"/>
            <a:ext cx="8580777" cy="1875676"/>
            <a:chOff x="2006950" y="864499"/>
            <a:chExt cx="8580777" cy="1875676"/>
          </a:xfrm>
        </p:grpSpPr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E05E3594-E7D4-4C3C-AE1E-FF5A77B9C871}"/>
                </a:ext>
              </a:extLst>
            </p:cNvPr>
            <p:cNvGrpSpPr/>
            <p:nvPr/>
          </p:nvGrpSpPr>
          <p:grpSpPr>
            <a:xfrm>
              <a:off x="2008450" y="864499"/>
              <a:ext cx="8579277" cy="283115"/>
              <a:chOff x="2008450" y="864499"/>
              <a:chExt cx="8579277" cy="283115"/>
            </a:xfrm>
          </p:grpSpPr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530939CC-C364-4D8E-B496-2FE50899316F}"/>
                  </a:ext>
                </a:extLst>
              </p:cNvPr>
              <p:cNvSpPr/>
              <p:nvPr/>
            </p:nvSpPr>
            <p:spPr>
              <a:xfrm>
                <a:off x="2008450" y="864499"/>
                <a:ext cx="8579277" cy="283115"/>
              </a:xfrm>
              <a:prstGeom prst="rect">
                <a:avLst/>
              </a:prstGeom>
              <a:solidFill>
                <a:srgbClr val="2A7A56"/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ctr" anchorCtr="0"/>
              <a:lstStyle/>
              <a:p>
                <a:r>
                  <a:rPr lang="en-US" altLang="ko-KR" sz="1000" b="1" dirty="0">
                    <a:solidFill>
                      <a:schemeClr val="bg1"/>
                    </a:solidFill>
                    <a:latin typeface="+mn-ea"/>
                    <a:cs typeface="Segoe UI" panose="020B0502040204020203" pitchFamily="34" charset="0"/>
                  </a:rPr>
                  <a:t>Excel</a:t>
                </a:r>
                <a:endParaRPr lang="ko-KR" altLang="en-US" sz="10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65EF7D4B-D250-4D3B-9221-4EF922966EAB}"/>
                  </a:ext>
                </a:extLst>
              </p:cNvPr>
              <p:cNvSpPr txBox="1"/>
              <p:nvPr/>
            </p:nvSpPr>
            <p:spPr>
              <a:xfrm>
                <a:off x="10316155" y="877058"/>
                <a:ext cx="216000" cy="2547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rPr>
                  <a:t>X</a:t>
                </a:r>
                <a:endParaRPr kumimoji="0" lang="ko-KR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1FAE448A-A781-4119-AEB9-754724AC9BC0}"/>
                </a:ext>
              </a:extLst>
            </p:cNvPr>
            <p:cNvSpPr/>
            <p:nvPr/>
          </p:nvSpPr>
          <p:spPr>
            <a:xfrm>
              <a:off x="2006950" y="1097605"/>
              <a:ext cx="8580777" cy="164257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</p:grpSp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8B85FB51-58CB-4D3D-8C3B-D0773AE6ECCB}"/>
              </a:ext>
            </a:extLst>
          </p:cNvPr>
          <p:cNvGraphicFramePr>
            <a:graphicFrameLocks noGrp="1"/>
          </p:cNvGraphicFramePr>
          <p:nvPr/>
        </p:nvGraphicFramePr>
        <p:xfrm>
          <a:off x="496355" y="1715730"/>
          <a:ext cx="8552956" cy="15940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3105">
                  <a:extLst>
                    <a:ext uri="{9D8B030D-6E8A-4147-A177-3AD203B41FA5}">
                      <a16:colId xmlns:a16="http://schemas.microsoft.com/office/drawing/2014/main" val="4031946057"/>
                    </a:ext>
                  </a:extLst>
                </a:gridCol>
                <a:gridCol w="190416">
                  <a:extLst>
                    <a:ext uri="{9D8B030D-6E8A-4147-A177-3AD203B41FA5}">
                      <a16:colId xmlns:a16="http://schemas.microsoft.com/office/drawing/2014/main" val="2885879684"/>
                    </a:ext>
                  </a:extLst>
                </a:gridCol>
                <a:gridCol w="605867">
                  <a:extLst>
                    <a:ext uri="{9D8B030D-6E8A-4147-A177-3AD203B41FA5}">
                      <a16:colId xmlns:a16="http://schemas.microsoft.com/office/drawing/2014/main" val="3432879806"/>
                    </a:ext>
                  </a:extLst>
                </a:gridCol>
                <a:gridCol w="458728">
                  <a:extLst>
                    <a:ext uri="{9D8B030D-6E8A-4147-A177-3AD203B41FA5}">
                      <a16:colId xmlns:a16="http://schemas.microsoft.com/office/drawing/2014/main" val="2621330426"/>
                    </a:ext>
                  </a:extLst>
                </a:gridCol>
                <a:gridCol w="458728">
                  <a:extLst>
                    <a:ext uri="{9D8B030D-6E8A-4147-A177-3AD203B41FA5}">
                      <a16:colId xmlns:a16="http://schemas.microsoft.com/office/drawing/2014/main" val="3872999289"/>
                    </a:ext>
                  </a:extLst>
                </a:gridCol>
                <a:gridCol w="458728">
                  <a:extLst>
                    <a:ext uri="{9D8B030D-6E8A-4147-A177-3AD203B41FA5}">
                      <a16:colId xmlns:a16="http://schemas.microsoft.com/office/drawing/2014/main" val="2398499303"/>
                    </a:ext>
                  </a:extLst>
                </a:gridCol>
                <a:gridCol w="375909">
                  <a:extLst>
                    <a:ext uri="{9D8B030D-6E8A-4147-A177-3AD203B41FA5}">
                      <a16:colId xmlns:a16="http://schemas.microsoft.com/office/drawing/2014/main" val="3403053914"/>
                    </a:ext>
                  </a:extLst>
                </a:gridCol>
                <a:gridCol w="649143">
                  <a:extLst>
                    <a:ext uri="{9D8B030D-6E8A-4147-A177-3AD203B41FA5}">
                      <a16:colId xmlns:a16="http://schemas.microsoft.com/office/drawing/2014/main" val="2249351916"/>
                    </a:ext>
                  </a:extLst>
                </a:gridCol>
                <a:gridCol w="219257">
                  <a:extLst>
                    <a:ext uri="{9D8B030D-6E8A-4147-A177-3AD203B41FA5}">
                      <a16:colId xmlns:a16="http://schemas.microsoft.com/office/drawing/2014/main" val="507926597"/>
                    </a:ext>
                  </a:extLst>
                </a:gridCol>
                <a:gridCol w="995353">
                  <a:extLst>
                    <a:ext uri="{9D8B030D-6E8A-4147-A177-3AD203B41FA5}">
                      <a16:colId xmlns:a16="http://schemas.microsoft.com/office/drawing/2014/main" val="2696009349"/>
                    </a:ext>
                  </a:extLst>
                </a:gridCol>
                <a:gridCol w="494586">
                  <a:extLst>
                    <a:ext uri="{9D8B030D-6E8A-4147-A177-3AD203B41FA5}">
                      <a16:colId xmlns:a16="http://schemas.microsoft.com/office/drawing/2014/main" val="1259275105"/>
                    </a:ext>
                  </a:extLst>
                </a:gridCol>
                <a:gridCol w="1679118">
                  <a:extLst>
                    <a:ext uri="{9D8B030D-6E8A-4147-A177-3AD203B41FA5}">
                      <a16:colId xmlns:a16="http://schemas.microsoft.com/office/drawing/2014/main" val="1898049026"/>
                    </a:ext>
                  </a:extLst>
                </a:gridCol>
                <a:gridCol w="703457">
                  <a:extLst>
                    <a:ext uri="{9D8B030D-6E8A-4147-A177-3AD203B41FA5}">
                      <a16:colId xmlns:a16="http://schemas.microsoft.com/office/drawing/2014/main" val="1489353074"/>
                    </a:ext>
                  </a:extLst>
                </a:gridCol>
                <a:gridCol w="458728">
                  <a:extLst>
                    <a:ext uri="{9D8B030D-6E8A-4147-A177-3AD203B41FA5}">
                      <a16:colId xmlns:a16="http://schemas.microsoft.com/office/drawing/2014/main" val="2657638403"/>
                    </a:ext>
                  </a:extLst>
                </a:gridCol>
                <a:gridCol w="458728">
                  <a:extLst>
                    <a:ext uri="{9D8B030D-6E8A-4147-A177-3AD203B41FA5}">
                      <a16:colId xmlns:a16="http://schemas.microsoft.com/office/drawing/2014/main" val="2144485192"/>
                    </a:ext>
                  </a:extLst>
                </a:gridCol>
                <a:gridCol w="173105">
                  <a:extLst>
                    <a:ext uri="{9D8B030D-6E8A-4147-A177-3AD203B41FA5}">
                      <a16:colId xmlns:a16="http://schemas.microsoft.com/office/drawing/2014/main" val="2779173636"/>
                    </a:ext>
                  </a:extLst>
                </a:gridCol>
              </a:tblGrid>
              <a:tr h="151091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865986"/>
                  </a:ext>
                </a:extLst>
              </a:tr>
              <a:tr h="166721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u="none" strike="noStrike" dirty="0">
                          <a:effectLst/>
                        </a:rPr>
                        <a:t>◎ 회원 리스트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4699600"/>
                  </a:ext>
                </a:extLst>
              </a:tr>
              <a:tr h="151091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r" fontAlgn="ctr"/>
                      <a:r>
                        <a:rPr lang="en-US" altLang="ko-KR" sz="700" u="none" strike="noStrike" dirty="0">
                          <a:effectLst/>
                        </a:rPr>
                        <a:t>2023-06-20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682268"/>
                  </a:ext>
                </a:extLst>
              </a:tr>
              <a:tr h="151091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r" rtl="0" fontAlgn="ctr"/>
                      <a:r>
                        <a:rPr lang="ko-KR" altLang="en-US" sz="700" u="none" strike="noStrike" dirty="0">
                          <a:effectLst/>
                        </a:rPr>
                        <a:t>회원 조회 </a:t>
                      </a:r>
                      <a:r>
                        <a:rPr lang="en-US" altLang="ko-KR" sz="700" u="none" strike="noStrike" dirty="0">
                          <a:effectLst/>
                        </a:rPr>
                        <a:t>[</a:t>
                      </a:r>
                      <a:r>
                        <a:rPr lang="ko-KR" altLang="en-US" sz="700" u="none" strike="noStrike" dirty="0">
                          <a:effectLst/>
                        </a:rPr>
                        <a:t>고객 관리</a:t>
                      </a:r>
                      <a:r>
                        <a:rPr lang="en-US" altLang="ko-KR" sz="700" u="none" strike="noStrike" dirty="0">
                          <a:effectLst/>
                        </a:rPr>
                        <a:t>&gt;</a:t>
                      </a:r>
                      <a:r>
                        <a:rPr lang="ko-KR" altLang="en-US" sz="700" u="none" strike="noStrike" dirty="0">
                          <a:effectLst/>
                        </a:rPr>
                        <a:t>회원 관리</a:t>
                      </a:r>
                      <a:r>
                        <a:rPr lang="en-US" altLang="ko-KR" sz="700" u="none" strike="noStrike" dirty="0">
                          <a:effectLst/>
                        </a:rPr>
                        <a:t>&gt;</a:t>
                      </a:r>
                      <a:r>
                        <a:rPr lang="ko-KR" altLang="en-US" sz="700" u="none" strike="noStrike" dirty="0">
                          <a:effectLst/>
                        </a:rPr>
                        <a:t>회원 조회</a:t>
                      </a:r>
                      <a:r>
                        <a:rPr lang="en-US" altLang="ko-KR" sz="700" u="none" strike="noStrike" dirty="0">
                          <a:effectLst/>
                        </a:rPr>
                        <a:t>]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973557"/>
                  </a:ext>
                </a:extLst>
              </a:tr>
              <a:tr h="151091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</a:rPr>
                        <a:t>NO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회원 번호</a:t>
                      </a:r>
                      <a:endParaRPr lang="ko-KR" altLang="en-US" sz="7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 dirty="0">
                          <a:effectLst/>
                        </a:rPr>
                        <a:t>아이디</a:t>
                      </a:r>
                      <a:endParaRPr lang="ko-KR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회원명</a:t>
                      </a:r>
                      <a:endParaRPr lang="ko-KR" altLang="en-US" sz="7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회원 구분</a:t>
                      </a:r>
                      <a:endParaRPr lang="ko-KR" altLang="en-US" sz="7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 dirty="0">
                          <a:effectLst/>
                        </a:rPr>
                        <a:t>소속</a:t>
                      </a:r>
                      <a:endParaRPr lang="ko-KR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부서명</a:t>
                      </a:r>
                      <a:endParaRPr lang="ko-KR" altLang="en-US" sz="7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직급</a:t>
                      </a:r>
                      <a:endParaRPr lang="ko-KR" altLang="en-US" sz="7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 dirty="0">
                          <a:effectLst/>
                        </a:rPr>
                        <a:t>회사 이메일</a:t>
                      </a:r>
                      <a:endParaRPr lang="ko-KR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회사 전화</a:t>
                      </a:r>
                      <a:endParaRPr lang="ko-KR" altLang="en-US" sz="7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</a:rPr>
                        <a:t>ESG </a:t>
                      </a:r>
                      <a:r>
                        <a:rPr lang="ko-KR" altLang="en-US" sz="700" u="none" strike="noStrike" dirty="0">
                          <a:effectLst/>
                        </a:rPr>
                        <a:t>관심영역</a:t>
                      </a:r>
                      <a:endParaRPr lang="ko-KR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 dirty="0">
                          <a:effectLst/>
                        </a:rPr>
                        <a:t>마케팅 동의 여부</a:t>
                      </a:r>
                      <a:endParaRPr lang="ko-KR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뉴스레터</a:t>
                      </a:r>
                      <a:endParaRPr lang="ko-KR" altLang="en-US" sz="7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 dirty="0">
                          <a:effectLst/>
                        </a:rPr>
                        <a:t>상태</a:t>
                      </a:r>
                      <a:endParaRPr lang="ko-KR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655195"/>
                  </a:ext>
                </a:extLst>
              </a:tr>
              <a:tr h="151091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700" u="none" strike="noStrike">
                          <a:effectLst/>
                        </a:rPr>
                        <a:t>1</a:t>
                      </a:r>
                      <a:endParaRPr lang="en-US" altLang="ko-KR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sng" strike="noStrike" dirty="0">
                          <a:effectLst/>
                        </a:rPr>
                        <a:t>23A000001</a:t>
                      </a:r>
                      <a:endParaRPr lang="en-US" sz="700" b="1" i="0" u="sng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>
                          <a:effectLst/>
                        </a:rPr>
                        <a:t>pwcesg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김삼일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그룹 </a:t>
                      </a:r>
                      <a:r>
                        <a:rPr lang="en-US" sz="700" u="none" strike="noStrike">
                          <a:effectLst/>
                        </a:rPr>
                        <a:t>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삼일</a:t>
                      </a:r>
                      <a:r>
                        <a:rPr lang="en-US" sz="700" u="none" strike="noStrike">
                          <a:effectLst/>
                        </a:rPr>
                        <a:t>Pw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>
                          <a:effectLst/>
                        </a:rPr>
                        <a:t>ESG </a:t>
                      </a:r>
                      <a:r>
                        <a:rPr lang="ko-KR" altLang="en-US" sz="700" u="none" strike="noStrike">
                          <a:effectLst/>
                        </a:rPr>
                        <a:t>플랫폼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>
                          <a:effectLst/>
                        </a:rPr>
                        <a:t>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 dirty="0">
                          <a:effectLst/>
                        </a:rPr>
                        <a:t>samil.kim@pwc.co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700" u="none" strike="noStrike">
                          <a:effectLst/>
                        </a:rPr>
                        <a:t>02-709-1234</a:t>
                      </a:r>
                      <a:endParaRPr lang="en-US" altLang="ko-KR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700" u="none" strike="noStrike" dirty="0">
                          <a:effectLst/>
                        </a:rPr>
                        <a:t>ESG </a:t>
                      </a:r>
                      <a:r>
                        <a:rPr lang="ko-KR" altLang="en-US" sz="700" u="none" strike="noStrike" dirty="0">
                          <a:effectLst/>
                        </a:rPr>
                        <a:t>실행 </a:t>
                      </a:r>
                      <a:r>
                        <a:rPr lang="en-US" altLang="ko-KR" sz="700" u="none" strike="noStrike" dirty="0">
                          <a:effectLst/>
                        </a:rPr>
                        <a:t>– </a:t>
                      </a:r>
                      <a:r>
                        <a:rPr lang="ko-KR" altLang="en-US" sz="700" u="none" strike="noStrike" dirty="0">
                          <a:effectLst/>
                        </a:rPr>
                        <a:t>환경</a:t>
                      </a:r>
                      <a:r>
                        <a:rPr lang="en-US" altLang="ko-KR" sz="700" u="none" strike="noStrike" dirty="0">
                          <a:effectLst/>
                        </a:rPr>
                        <a:t>, ESG </a:t>
                      </a:r>
                      <a:r>
                        <a:rPr lang="ko-KR" altLang="en-US" sz="700" u="none" strike="noStrike" dirty="0">
                          <a:effectLst/>
                        </a:rPr>
                        <a:t>실행 </a:t>
                      </a:r>
                      <a:r>
                        <a:rPr lang="en-US" altLang="ko-KR" sz="700" u="none" strike="noStrike" dirty="0">
                          <a:effectLst/>
                        </a:rPr>
                        <a:t>– </a:t>
                      </a:r>
                      <a:r>
                        <a:rPr lang="ko-KR" altLang="en-US" sz="700" u="none" strike="noStrike" dirty="0">
                          <a:effectLst/>
                        </a:rPr>
                        <a:t>거버넌스</a:t>
                      </a:r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가입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9661960"/>
                  </a:ext>
                </a:extLst>
              </a:tr>
              <a:tr h="151091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sng" strike="noStrike" dirty="0">
                          <a:effectLst/>
                        </a:rPr>
                        <a:t>　</a:t>
                      </a:r>
                      <a:endParaRPr lang="ko-KR" altLang="en-US" sz="700" b="1" i="0" u="sng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 dirty="0">
                          <a:effectLst/>
                        </a:rPr>
                        <a:t>　</a:t>
                      </a:r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 dirty="0">
                          <a:effectLst/>
                        </a:rPr>
                        <a:t>　</a:t>
                      </a:r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239200"/>
                  </a:ext>
                </a:extLst>
              </a:tr>
              <a:tr h="151091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sng" strike="noStrike" dirty="0">
                          <a:effectLst/>
                        </a:rPr>
                        <a:t>　</a:t>
                      </a:r>
                      <a:endParaRPr lang="ko-KR" altLang="en-US" sz="700" b="1" i="0" u="sng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 dirty="0">
                          <a:effectLst/>
                        </a:rPr>
                        <a:t>　</a:t>
                      </a:r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6425585"/>
                  </a:ext>
                </a:extLst>
              </a:tr>
              <a:tr h="151091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sng" strike="noStrike" dirty="0">
                          <a:effectLst/>
                        </a:rPr>
                        <a:t>　</a:t>
                      </a:r>
                      <a:endParaRPr lang="ko-KR" altLang="en-US" sz="700" b="1" i="0" u="sng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 dirty="0">
                          <a:effectLst/>
                        </a:rPr>
                        <a:t>　</a:t>
                      </a:r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>
                          <a:effectLst/>
                        </a:rPr>
                        <a:t>　</a:t>
                      </a:r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700" u="none" strike="noStrike" dirty="0">
                          <a:effectLst/>
                        </a:rPr>
                        <a:t>　</a:t>
                      </a:r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505605"/>
                  </a:ext>
                </a:extLst>
              </a:tr>
              <a:tr h="151091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210" marR="5210" marT="521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167258"/>
                  </a:ext>
                </a:extLst>
              </a:tr>
            </a:tbl>
          </a:graphicData>
        </a:graphic>
      </p:graphicFrame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5014112E-DF5E-429C-B4BB-6913DFC112A7}"/>
              </a:ext>
            </a:extLst>
          </p:cNvPr>
          <p:cNvSpPr/>
          <p:nvPr/>
        </p:nvSpPr>
        <p:spPr>
          <a:xfrm>
            <a:off x="280971" y="368712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3B17D7DF-87FB-4C79-8213-58C5A71BB02C}"/>
              </a:ext>
            </a:extLst>
          </p:cNvPr>
          <p:cNvSpPr/>
          <p:nvPr/>
        </p:nvSpPr>
        <p:spPr>
          <a:xfrm>
            <a:off x="767408" y="368712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9C4B6822-1627-47A2-805F-42F288F00421}"/>
              </a:ext>
            </a:extLst>
          </p:cNvPr>
          <p:cNvSpPr/>
          <p:nvPr/>
        </p:nvSpPr>
        <p:spPr>
          <a:xfrm>
            <a:off x="1196962" y="3687123"/>
            <a:ext cx="12558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사각형: 둥근 모서리 116">
            <a:extLst>
              <a:ext uri="{FF2B5EF4-FFF2-40B4-BE49-F238E27FC236}">
                <a16:creationId xmlns:a16="http://schemas.microsoft.com/office/drawing/2014/main" id="{F5A55EFA-64B7-4905-A2DD-21EF79AFEAE0}"/>
              </a:ext>
            </a:extLst>
          </p:cNvPr>
          <p:cNvSpPr/>
          <p:nvPr/>
        </p:nvSpPr>
        <p:spPr>
          <a:xfrm>
            <a:off x="8380789" y="4651279"/>
            <a:ext cx="12558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사각형: 둥근 모서리 117">
            <a:extLst>
              <a:ext uri="{FF2B5EF4-FFF2-40B4-BE49-F238E27FC236}">
                <a16:creationId xmlns:a16="http://schemas.microsoft.com/office/drawing/2014/main" id="{90638233-2535-4F86-8280-57C007C3B9B6}"/>
              </a:ext>
            </a:extLst>
          </p:cNvPr>
          <p:cNvSpPr/>
          <p:nvPr/>
        </p:nvSpPr>
        <p:spPr>
          <a:xfrm>
            <a:off x="8152261" y="341147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" name="화살표: 위쪽 5">
            <a:extLst>
              <a:ext uri="{FF2B5EF4-FFF2-40B4-BE49-F238E27FC236}">
                <a16:creationId xmlns:a16="http://schemas.microsoft.com/office/drawing/2014/main" id="{C5E518F7-DDB8-4761-A70B-DD27CEA4AEDE}"/>
              </a:ext>
            </a:extLst>
          </p:cNvPr>
          <p:cNvSpPr/>
          <p:nvPr/>
        </p:nvSpPr>
        <p:spPr>
          <a:xfrm>
            <a:off x="8472264" y="3132159"/>
            <a:ext cx="216024" cy="327279"/>
          </a:xfrm>
          <a:prstGeom prst="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7" name="표 26">
            <a:extLst>
              <a:ext uri="{FF2B5EF4-FFF2-40B4-BE49-F238E27FC236}">
                <a16:creationId xmlns:a16="http://schemas.microsoft.com/office/drawing/2014/main" id="{3A93D37C-D018-4EE6-B82B-7D971211F0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1219117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2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sp>
        <p:nvSpPr>
          <p:cNvPr id="8" name="직사각형 7">
            <a:extLst>
              <a:ext uri="{FF2B5EF4-FFF2-40B4-BE49-F238E27FC236}">
                <a16:creationId xmlns:a16="http://schemas.microsoft.com/office/drawing/2014/main" id="{0EC979BB-F2CE-5489-8EDD-CD2467371198}"/>
              </a:ext>
            </a:extLst>
          </p:cNvPr>
          <p:cNvSpPr/>
          <p:nvPr/>
        </p:nvSpPr>
        <p:spPr>
          <a:xfrm>
            <a:off x="6962774" y="2343131"/>
            <a:ext cx="1184244" cy="152468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kern="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인정보 제 </a:t>
            </a:r>
            <a:r>
              <a:rPr lang="en-US" altLang="ko-KR" sz="700" b="1" kern="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lang="ko-KR" altLang="en-US" sz="700" b="1" kern="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자 </a:t>
            </a:r>
            <a:r>
              <a:rPr lang="ko-KR" altLang="en-US" sz="700" b="1" kern="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/>
              </a:rPr>
              <a:t>제</a:t>
            </a:r>
            <a:r>
              <a:rPr lang="ko-KR" altLang="en-US" sz="700" b="1" kern="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 동의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6C10F26-7F9D-A314-69B4-C97828C61CD3}"/>
              </a:ext>
            </a:extLst>
          </p:cNvPr>
          <p:cNvSpPr/>
          <p:nvPr/>
        </p:nvSpPr>
        <p:spPr>
          <a:xfrm>
            <a:off x="6547098" y="4689770"/>
            <a:ext cx="1148020" cy="152468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700" b="1" kern="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인정보 제 </a:t>
            </a:r>
            <a:r>
              <a:rPr lang="en-US" altLang="ko-KR" sz="700" b="1" kern="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lang="ko-KR" altLang="en-US" sz="700" b="1" kern="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자 </a:t>
            </a:r>
            <a:r>
              <a:rPr lang="ko-KR" altLang="en-US" sz="700" b="1" kern="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/>
              </a:rPr>
              <a:t>제</a:t>
            </a:r>
            <a:r>
              <a:rPr lang="ko-KR" altLang="en-US" sz="700" b="1" kern="0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 동의</a:t>
            </a:r>
          </a:p>
        </p:txBody>
      </p:sp>
    </p:spTree>
    <p:extLst>
      <p:ext uri="{BB962C8B-B14F-4D97-AF65-F5344CB8AC3E}">
        <p14:creationId xmlns:p14="http://schemas.microsoft.com/office/powerpoint/2010/main" val="7141948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상세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6225837"/>
              </p:ext>
            </p:extLst>
          </p:nvPr>
        </p:nvGraphicFramePr>
        <p:xfrm>
          <a:off x="9267391" y="759198"/>
          <a:ext cx="2922885" cy="62367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77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기본 정보 영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내 조회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은 회원정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DB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의 동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컬럼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최신 정보를 불러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활동 진단 시행 일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system date)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전 진단 일자를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까지 드롭다운 리스트에 표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YY.MM.D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표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진단일 디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내역이 없는 경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없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라고 표시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 박스 비활성화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377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업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활동 진단 시 등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보를 불러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위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에서 진단일 선택 시 즉시 내용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324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‘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데이터가 있는 경우 활성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선택한 진단일에 수행한 결과가 반영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P003 –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경영 자가진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연결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운영자 권한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F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도 로그인 없이 해당 화면이 호출되도록 개발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324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대상여부 진단 일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system date)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전 진단 일자를 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까지 드롭다운 리스트에 표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YY.MM.D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표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진단일 디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진단내역이 없는 경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결과없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라고 표시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 박스 비활성화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652885"/>
                  </a:ext>
                </a:extLst>
              </a:tr>
              <a:tr h="2377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SRD)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결과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‘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진단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데이터가 있는 경우 활성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선택한 진단일에 수행한 결과가 반영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R007 – CSR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대상 확인 결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으로 연결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운영자 권한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F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별도 로그인 없이 해당 화면이 호출되도록 개발 필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3241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현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(a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완료 건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/ (b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건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. b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상인 경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현황 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활성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2377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현황 보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M001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청사항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해당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 기준으로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된 결과로 이동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2377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케팅동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 수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 또는 회원정보 변경 화면에서 동의한 경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Y’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동의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N’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4970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상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 현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메일 인증을 거쳐 가입 완료된 상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 신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탈퇴 하였으나 운영자가 확인하기 전 단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 시점부터 탈퇴로 인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운영자가 전산 탈퇴 처리를 완료한 상태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6174622"/>
                  </a:ext>
                </a:extLst>
              </a:tr>
              <a:tr h="1512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 날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YYYY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M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로 표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0804157"/>
                  </a:ext>
                </a:extLst>
              </a:tr>
              <a:tr h="2377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최신 수정 날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YYYY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M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로 표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사항 없는 경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-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표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3534023"/>
                  </a:ext>
                </a:extLst>
              </a:tr>
              <a:tr h="2377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탈퇴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이 탈퇴를 신청한 날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YYYY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M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로 표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사항 없는 경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-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표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891399"/>
                  </a:ext>
                </a:extLst>
              </a:tr>
              <a:tr h="1512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 화면에서 작성한 회원 관련 메모를 출력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677240"/>
                  </a:ext>
                </a:extLst>
              </a:tr>
              <a:tr h="1512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시 우측 메모 내용 박스에 커서 활성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7002179"/>
                  </a:ext>
                </a:extLst>
              </a:tr>
              <a:tr h="1512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모 작성 후 클릭 시 저장 및 메모 내용 박스 비활성화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9225009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1" name="그림 50">
            <a:extLst>
              <a:ext uri="{FF2B5EF4-FFF2-40B4-BE49-F238E27FC236}">
                <a16:creationId xmlns:a16="http://schemas.microsoft.com/office/drawing/2014/main" id="{84E39BE8-14AC-413D-A6F8-6E303CBB681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-25000"/>
                    </a14:imgEffect>
                  </a14:imgLayer>
                </a14:imgProps>
              </a:ext>
            </a:extLst>
          </a:blip>
          <a:srcRect l="1064" r="1578"/>
          <a:stretch/>
        </p:blipFill>
        <p:spPr>
          <a:xfrm>
            <a:off x="332993" y="1134965"/>
            <a:ext cx="8653843" cy="5560034"/>
          </a:xfrm>
          <a:prstGeom prst="rect">
            <a:avLst/>
          </a:prstGeom>
        </p:spPr>
      </p:pic>
      <p:grpSp>
        <p:nvGrpSpPr>
          <p:cNvPr id="54" name="그룹 53">
            <a:extLst>
              <a:ext uri="{FF2B5EF4-FFF2-40B4-BE49-F238E27FC236}">
                <a16:creationId xmlns:a16="http://schemas.microsoft.com/office/drawing/2014/main" id="{F5BBC4E4-196E-4330-8004-B32F72C3C9C4}"/>
              </a:ext>
            </a:extLst>
          </p:cNvPr>
          <p:cNvGrpSpPr/>
          <p:nvPr/>
        </p:nvGrpSpPr>
        <p:grpSpPr>
          <a:xfrm>
            <a:off x="1279523" y="1107720"/>
            <a:ext cx="7183959" cy="5490396"/>
            <a:chOff x="911830" y="1211122"/>
            <a:chExt cx="7183959" cy="5307081"/>
          </a:xfrm>
        </p:grpSpPr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A6641F4A-8143-4513-8CAD-EA12C1767DCE}"/>
                </a:ext>
              </a:extLst>
            </p:cNvPr>
            <p:cNvSpPr/>
            <p:nvPr/>
          </p:nvSpPr>
          <p:spPr>
            <a:xfrm>
              <a:off x="911830" y="1436444"/>
              <a:ext cx="7183959" cy="508175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92472ACF-4EE8-40DE-8932-3DEFB62048BF}"/>
                </a:ext>
              </a:extLst>
            </p:cNvPr>
            <p:cNvSpPr/>
            <p:nvPr/>
          </p:nvSpPr>
          <p:spPr>
            <a:xfrm>
              <a:off x="911830" y="1211122"/>
              <a:ext cx="7183959" cy="27366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r>
                <a:rPr lang="ko-KR" altLang="en-US" sz="10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회원상세조회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4A0CE58A-E066-4E13-8309-14B11EA96395}"/>
                </a:ext>
              </a:extLst>
            </p:cNvPr>
            <p:cNvSpPr txBox="1"/>
            <p:nvPr/>
          </p:nvSpPr>
          <p:spPr>
            <a:xfrm>
              <a:off x="7824216" y="1223262"/>
              <a:ext cx="2160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X</a:t>
              </a:r>
              <a:endPara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2993A26D-5366-474B-A21B-7B961AD7B975}"/>
              </a:ext>
            </a:extLst>
          </p:cNvPr>
          <p:cNvSpPr txBox="1"/>
          <p:nvPr/>
        </p:nvSpPr>
        <p:spPr>
          <a:xfrm>
            <a:off x="1443025" y="1503043"/>
            <a:ext cx="23048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</a:t>
            </a:r>
            <a:r>
              <a:rPr kumimoji="0" lang="en-US" altLang="ko-KR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본 정보</a:t>
            </a: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E05AADC9-671A-4424-98F0-E036ED2DE6A8}"/>
              </a:ext>
            </a:extLst>
          </p:cNvPr>
          <p:cNvSpPr/>
          <p:nvPr/>
        </p:nvSpPr>
        <p:spPr>
          <a:xfrm>
            <a:off x="1432303" y="1700808"/>
            <a:ext cx="6867635" cy="229548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0C3BDC2A-7E01-41EE-AB71-C1F16EB2336F}"/>
              </a:ext>
            </a:extLst>
          </p:cNvPr>
          <p:cNvGrpSpPr/>
          <p:nvPr/>
        </p:nvGrpSpPr>
        <p:grpSpPr>
          <a:xfrm>
            <a:off x="1605497" y="1797177"/>
            <a:ext cx="2553636" cy="200211"/>
            <a:chOff x="1605497" y="1797177"/>
            <a:chExt cx="2553636" cy="200211"/>
          </a:xfrm>
        </p:grpSpPr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A33A547B-1F4A-49B1-965C-3EB90D51C602}"/>
                </a:ext>
              </a:extLst>
            </p:cNvPr>
            <p:cNvSpPr/>
            <p:nvPr/>
          </p:nvSpPr>
          <p:spPr>
            <a:xfrm>
              <a:off x="2291592" y="1797177"/>
              <a:ext cx="1867541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23A000001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9E88BD19-4EB8-4D12-B3E2-72A0A36EE3FE}"/>
                </a:ext>
              </a:extLst>
            </p:cNvPr>
            <p:cNvSpPr txBox="1"/>
            <p:nvPr/>
          </p:nvSpPr>
          <p:spPr>
            <a:xfrm>
              <a:off x="1605497" y="1805767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회원번호</a:t>
              </a:r>
              <a:endParaRPr kumimoji="0" lang="ko-KR" altLang="en-US" sz="800" b="0" i="0" u="none" strike="noStrike" kern="1200" cap="none" spc="-30" normalizeH="0" baseline="3000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3422597E-DCE5-4C7F-BDA5-7B360D8CC8E9}"/>
              </a:ext>
            </a:extLst>
          </p:cNvPr>
          <p:cNvGrpSpPr/>
          <p:nvPr/>
        </p:nvGrpSpPr>
        <p:grpSpPr>
          <a:xfrm>
            <a:off x="1605497" y="2050650"/>
            <a:ext cx="2553636" cy="200211"/>
            <a:chOff x="1605497" y="2100609"/>
            <a:chExt cx="2553636" cy="200211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15BD1700-1CC2-4F87-AD87-D46DB8473E7E}"/>
                </a:ext>
              </a:extLst>
            </p:cNvPr>
            <p:cNvSpPr txBox="1"/>
            <p:nvPr/>
          </p:nvSpPr>
          <p:spPr>
            <a:xfrm>
              <a:off x="1605497" y="2106489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아이디</a:t>
              </a:r>
            </a:p>
          </p:txBody>
        </p:sp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FDB656AF-F52B-4752-A2EF-F260A29FB641}"/>
                </a:ext>
              </a:extLst>
            </p:cNvPr>
            <p:cNvSpPr/>
            <p:nvPr/>
          </p:nvSpPr>
          <p:spPr>
            <a:xfrm>
              <a:off x="2291592" y="2100609"/>
              <a:ext cx="1867541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pesg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grpSp>
        <p:nvGrpSpPr>
          <p:cNvPr id="6" name="그룹 5">
            <a:extLst>
              <a:ext uri="{FF2B5EF4-FFF2-40B4-BE49-F238E27FC236}">
                <a16:creationId xmlns:a16="http://schemas.microsoft.com/office/drawing/2014/main" id="{45B63340-AB91-4F68-8D1B-75444DACBDF1}"/>
              </a:ext>
            </a:extLst>
          </p:cNvPr>
          <p:cNvGrpSpPr/>
          <p:nvPr/>
        </p:nvGrpSpPr>
        <p:grpSpPr>
          <a:xfrm>
            <a:off x="1605497" y="2304123"/>
            <a:ext cx="2553636" cy="200211"/>
            <a:chOff x="1605497" y="2404041"/>
            <a:chExt cx="2553636" cy="200211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04750A39-D3ED-4E47-9858-57815D15F93D}"/>
                </a:ext>
              </a:extLst>
            </p:cNvPr>
            <p:cNvSpPr txBox="1"/>
            <p:nvPr/>
          </p:nvSpPr>
          <p:spPr>
            <a:xfrm>
              <a:off x="1605497" y="2407211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회원구분</a:t>
              </a:r>
              <a:endParaRPr kumimoji="0" lang="ko-KR" altLang="en-US" sz="800" b="0" i="0" u="none" strike="noStrike" kern="1200" cap="none" spc="-30" normalizeH="0" baseline="3000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2" name="직사각형 121">
              <a:extLst>
                <a:ext uri="{FF2B5EF4-FFF2-40B4-BE49-F238E27FC236}">
                  <a16:creationId xmlns:a16="http://schemas.microsoft.com/office/drawing/2014/main" id="{08CA8387-4A66-4AB5-8361-7F5441B4FD98}"/>
                </a:ext>
              </a:extLst>
            </p:cNvPr>
            <p:cNvSpPr/>
            <p:nvPr/>
          </p:nvSpPr>
          <p:spPr>
            <a:xfrm>
              <a:off x="2291592" y="2404041"/>
              <a:ext cx="1867541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그룹 </a:t>
              </a:r>
              <a:r>
                <a:rPr lang="en-US" altLang="ko-KR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A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9F335E82-D7BB-450B-8A68-B4BEE9ABB596}"/>
              </a:ext>
            </a:extLst>
          </p:cNvPr>
          <p:cNvGrpSpPr/>
          <p:nvPr/>
        </p:nvGrpSpPr>
        <p:grpSpPr>
          <a:xfrm>
            <a:off x="5007171" y="1797177"/>
            <a:ext cx="2036393" cy="200211"/>
            <a:chOff x="4526531" y="1937219"/>
            <a:chExt cx="2036393" cy="200211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2CFCC761-CEB6-4C94-BA3D-BE715360918B}"/>
                </a:ext>
              </a:extLst>
            </p:cNvPr>
            <p:cNvSpPr txBox="1"/>
            <p:nvPr/>
          </p:nvSpPr>
          <p:spPr>
            <a:xfrm>
              <a:off x="4526531" y="1945809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부서명</a:t>
              </a:r>
            </a:p>
          </p:txBody>
        </p:sp>
        <p:sp>
          <p:nvSpPr>
            <p:cNvPr id="120" name="직사각형 119">
              <a:extLst>
                <a:ext uri="{FF2B5EF4-FFF2-40B4-BE49-F238E27FC236}">
                  <a16:creationId xmlns:a16="http://schemas.microsoft.com/office/drawing/2014/main" id="{E0CDC31B-F444-4A76-9D95-9C0C8D528B75}"/>
                </a:ext>
              </a:extLst>
            </p:cNvPr>
            <p:cNvSpPr/>
            <p:nvPr/>
          </p:nvSpPr>
          <p:spPr>
            <a:xfrm>
              <a:off x="5283160" y="1937219"/>
              <a:ext cx="1279764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ESG</a:t>
              </a:r>
              <a:r>
                <a:rPr lang="ko-KR" altLang="en-US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 플랫폼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455580D9-AA00-436C-ACD2-4EC6609E6718}"/>
              </a:ext>
            </a:extLst>
          </p:cNvPr>
          <p:cNvGrpSpPr/>
          <p:nvPr/>
        </p:nvGrpSpPr>
        <p:grpSpPr>
          <a:xfrm>
            <a:off x="5007171" y="2050650"/>
            <a:ext cx="2036393" cy="200211"/>
            <a:chOff x="4526531" y="2347987"/>
            <a:chExt cx="2036393" cy="200211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A1A49FA1-B331-4C94-88D6-C570C690870A}"/>
                </a:ext>
              </a:extLst>
            </p:cNvPr>
            <p:cNvSpPr txBox="1"/>
            <p:nvPr/>
          </p:nvSpPr>
          <p:spPr>
            <a:xfrm>
              <a:off x="4526531" y="2353866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직급</a:t>
              </a:r>
            </a:p>
          </p:txBody>
        </p:sp>
        <p:sp>
          <p:nvSpPr>
            <p:cNvPr id="118" name="직사각형 117">
              <a:extLst>
                <a:ext uri="{FF2B5EF4-FFF2-40B4-BE49-F238E27FC236}">
                  <a16:creationId xmlns:a16="http://schemas.microsoft.com/office/drawing/2014/main" id="{143584B8-BD0B-4A11-9FBB-1092FA05EE2E}"/>
                </a:ext>
              </a:extLst>
            </p:cNvPr>
            <p:cNvSpPr/>
            <p:nvPr/>
          </p:nvSpPr>
          <p:spPr>
            <a:xfrm>
              <a:off x="5283160" y="2347987"/>
              <a:ext cx="1279764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A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54693EE4-7780-4B29-91A7-C29BD7851D45}"/>
              </a:ext>
            </a:extLst>
          </p:cNvPr>
          <p:cNvGrpSpPr/>
          <p:nvPr/>
        </p:nvGrpSpPr>
        <p:grpSpPr>
          <a:xfrm>
            <a:off x="5007171" y="2304123"/>
            <a:ext cx="2530847" cy="200211"/>
            <a:chOff x="4526531" y="2758755"/>
            <a:chExt cx="2530847" cy="200211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A8C72603-9463-435E-ACCA-39F6C8E1F264}"/>
                </a:ext>
              </a:extLst>
            </p:cNvPr>
            <p:cNvSpPr txBox="1"/>
            <p:nvPr/>
          </p:nvSpPr>
          <p:spPr>
            <a:xfrm>
              <a:off x="4526531" y="2761923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소속 이메일</a:t>
              </a:r>
              <a:r>
                <a:rPr kumimoji="0" lang="ko-KR" altLang="en-US" sz="800" b="0" i="0" u="none" strike="noStrike" kern="1200" cap="none" spc="-30" normalizeH="0" baseline="3000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*</a:t>
              </a:r>
              <a:endPara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6" name="직사각형 115">
              <a:extLst>
                <a:ext uri="{FF2B5EF4-FFF2-40B4-BE49-F238E27FC236}">
                  <a16:creationId xmlns:a16="http://schemas.microsoft.com/office/drawing/2014/main" id="{658153FD-89DA-4506-AA9A-A00668BC862F}"/>
                </a:ext>
              </a:extLst>
            </p:cNvPr>
            <p:cNvSpPr/>
            <p:nvPr/>
          </p:nvSpPr>
          <p:spPr>
            <a:xfrm>
              <a:off x="5283160" y="2758755"/>
              <a:ext cx="1774218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samil.kim@pwc.com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E8009847-A1E8-49AB-994E-25C3E77EF205}"/>
              </a:ext>
            </a:extLst>
          </p:cNvPr>
          <p:cNvGrpSpPr/>
          <p:nvPr/>
        </p:nvGrpSpPr>
        <p:grpSpPr>
          <a:xfrm>
            <a:off x="1605497" y="2557596"/>
            <a:ext cx="2553636" cy="200211"/>
            <a:chOff x="1605497" y="2564904"/>
            <a:chExt cx="2553636" cy="200211"/>
          </a:xfrm>
        </p:grpSpPr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2044D69-0CCD-4CB8-8B9C-CEC1F1BD5F23}"/>
                </a:ext>
              </a:extLst>
            </p:cNvPr>
            <p:cNvSpPr txBox="1"/>
            <p:nvPr/>
          </p:nvSpPr>
          <p:spPr>
            <a:xfrm>
              <a:off x="1605497" y="2565364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-30" normalizeH="0" baseline="0" noProof="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회원명</a:t>
              </a:r>
              <a:endPara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94531277-4C3C-4567-9D1D-953FACA7B58A}"/>
                </a:ext>
              </a:extLst>
            </p:cNvPr>
            <p:cNvSpPr/>
            <p:nvPr/>
          </p:nvSpPr>
          <p:spPr>
            <a:xfrm>
              <a:off x="2291592" y="2564904"/>
              <a:ext cx="1867541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김삼일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5CB0A039-486D-4E2A-B750-03518FAF50CC}"/>
              </a:ext>
            </a:extLst>
          </p:cNvPr>
          <p:cNvGrpSpPr/>
          <p:nvPr/>
        </p:nvGrpSpPr>
        <p:grpSpPr>
          <a:xfrm>
            <a:off x="5007171" y="2557596"/>
            <a:ext cx="2036393" cy="200211"/>
            <a:chOff x="4526531" y="3169523"/>
            <a:chExt cx="2036393" cy="200211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EFA9BAD5-6B36-4126-A1BC-A2BB86D27D07}"/>
                </a:ext>
              </a:extLst>
            </p:cNvPr>
            <p:cNvSpPr txBox="1"/>
            <p:nvPr/>
          </p:nvSpPr>
          <p:spPr>
            <a:xfrm>
              <a:off x="4526531" y="3197736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ko-KR" altLang="en-US" sz="800" spc="-3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소속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전화</a:t>
              </a:r>
              <a:r>
                <a:rPr kumimoji="0" lang="ko-KR" altLang="en-US" sz="800" b="0" i="0" u="none" strike="noStrike" kern="1200" cap="none" spc="-30" normalizeH="0" baseline="3000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*</a:t>
              </a:r>
              <a:endPara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2" name="직사각형 111">
              <a:extLst>
                <a:ext uri="{FF2B5EF4-FFF2-40B4-BE49-F238E27FC236}">
                  <a16:creationId xmlns:a16="http://schemas.microsoft.com/office/drawing/2014/main" id="{8FF5C1DD-6362-45F8-8603-2E90FDA6DBC4}"/>
                </a:ext>
              </a:extLst>
            </p:cNvPr>
            <p:cNvSpPr/>
            <p:nvPr/>
          </p:nvSpPr>
          <p:spPr>
            <a:xfrm>
              <a:off x="5283160" y="3169523"/>
              <a:ext cx="1279764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02-709-1234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grpSp>
        <p:nvGrpSpPr>
          <p:cNvPr id="5" name="그룹 4">
            <a:extLst>
              <a:ext uri="{FF2B5EF4-FFF2-40B4-BE49-F238E27FC236}">
                <a16:creationId xmlns:a16="http://schemas.microsoft.com/office/drawing/2014/main" id="{D51453E6-0469-4D26-B40D-D766D8A89602}"/>
              </a:ext>
            </a:extLst>
          </p:cNvPr>
          <p:cNvGrpSpPr/>
          <p:nvPr/>
        </p:nvGrpSpPr>
        <p:grpSpPr>
          <a:xfrm>
            <a:off x="1605497" y="2811069"/>
            <a:ext cx="2553636" cy="200211"/>
            <a:chOff x="1605497" y="2924944"/>
            <a:chExt cx="2553636" cy="200211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E1705F2D-AE01-4922-AFEF-DCE5C8FC6B7F}"/>
                </a:ext>
              </a:extLst>
            </p:cNvPr>
            <p:cNvSpPr txBox="1"/>
            <p:nvPr/>
          </p:nvSpPr>
          <p:spPr>
            <a:xfrm>
              <a:off x="1605497" y="2924944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소속</a:t>
              </a: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회사명</a:t>
              </a: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r>
                <a:rPr kumimoji="0" lang="ko-KR" altLang="en-US" sz="800" b="0" i="0" u="none" strike="noStrike" kern="1200" cap="none" spc="-30" normalizeH="0" baseline="3000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*</a:t>
              </a:r>
              <a:endPara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5" name="직사각형 104">
              <a:extLst>
                <a:ext uri="{FF2B5EF4-FFF2-40B4-BE49-F238E27FC236}">
                  <a16:creationId xmlns:a16="http://schemas.microsoft.com/office/drawing/2014/main" id="{6622E1AE-361F-4357-AEC1-29B47498CD98}"/>
                </a:ext>
              </a:extLst>
            </p:cNvPr>
            <p:cNvSpPr/>
            <p:nvPr/>
          </p:nvSpPr>
          <p:spPr>
            <a:xfrm>
              <a:off x="2291592" y="2924944"/>
              <a:ext cx="1867541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삼일회계법인</a:t>
              </a:r>
            </a:p>
          </p:txBody>
        </p:sp>
      </p:grpSp>
      <p:grpSp>
        <p:nvGrpSpPr>
          <p:cNvPr id="2" name="그룹 1">
            <a:extLst>
              <a:ext uri="{FF2B5EF4-FFF2-40B4-BE49-F238E27FC236}">
                <a16:creationId xmlns:a16="http://schemas.microsoft.com/office/drawing/2014/main" id="{482D39E2-5468-4266-B004-A024F19337F4}"/>
              </a:ext>
            </a:extLst>
          </p:cNvPr>
          <p:cNvGrpSpPr/>
          <p:nvPr/>
        </p:nvGrpSpPr>
        <p:grpSpPr>
          <a:xfrm>
            <a:off x="1605497" y="3429000"/>
            <a:ext cx="2546287" cy="200211"/>
            <a:chOff x="1605497" y="3678794"/>
            <a:chExt cx="2546287" cy="200211"/>
          </a:xfrm>
        </p:grpSpPr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124A3328-9F22-4D4B-898E-3378BF92B1DF}"/>
                </a:ext>
              </a:extLst>
            </p:cNvPr>
            <p:cNvSpPr/>
            <p:nvPr/>
          </p:nvSpPr>
          <p:spPr>
            <a:xfrm>
              <a:off x="2284243" y="3678794"/>
              <a:ext cx="1867541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010-1234-4567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B7614113-923D-4C3F-88AD-520936BBFFE4}"/>
                </a:ext>
              </a:extLst>
            </p:cNvPr>
            <p:cNvSpPr txBox="1"/>
            <p:nvPr/>
          </p:nvSpPr>
          <p:spPr>
            <a:xfrm>
              <a:off x="1605497" y="3687384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휴대폰</a:t>
              </a:r>
            </a:p>
          </p:txBody>
        </p: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A96F4851-578F-4532-8711-AF5AA03104A3}"/>
              </a:ext>
            </a:extLst>
          </p:cNvPr>
          <p:cNvGrpSpPr/>
          <p:nvPr/>
        </p:nvGrpSpPr>
        <p:grpSpPr>
          <a:xfrm>
            <a:off x="1616274" y="3682473"/>
            <a:ext cx="2546287" cy="200211"/>
            <a:chOff x="1605497" y="3967690"/>
            <a:chExt cx="2546287" cy="200211"/>
          </a:xfrm>
        </p:grpSpPr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09C95E69-27E4-47F2-AADA-4EEEE446D7C3}"/>
                </a:ext>
              </a:extLst>
            </p:cNvPr>
            <p:cNvSpPr/>
            <p:nvPr/>
          </p:nvSpPr>
          <p:spPr>
            <a:xfrm>
              <a:off x="2284243" y="3967690"/>
              <a:ext cx="1867541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02-709-1234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EE62E63A-7EA8-47E7-99C4-9CFA1F035252}"/>
                </a:ext>
              </a:extLst>
            </p:cNvPr>
            <p:cNvSpPr txBox="1"/>
            <p:nvPr/>
          </p:nvSpPr>
          <p:spPr>
            <a:xfrm>
              <a:off x="1605497" y="3976280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팩스</a:t>
              </a:r>
            </a:p>
          </p:txBody>
        </p:sp>
      </p:grpSp>
      <p:grpSp>
        <p:nvGrpSpPr>
          <p:cNvPr id="76" name="그룹 75">
            <a:extLst>
              <a:ext uri="{FF2B5EF4-FFF2-40B4-BE49-F238E27FC236}">
                <a16:creationId xmlns:a16="http://schemas.microsoft.com/office/drawing/2014/main" id="{57861BA4-703D-4C38-AB2B-B446BDB4744E}"/>
              </a:ext>
            </a:extLst>
          </p:cNvPr>
          <p:cNvGrpSpPr/>
          <p:nvPr/>
        </p:nvGrpSpPr>
        <p:grpSpPr>
          <a:xfrm>
            <a:off x="5007171" y="2811069"/>
            <a:ext cx="3321077" cy="564668"/>
            <a:chOff x="4526531" y="3578037"/>
            <a:chExt cx="3321077" cy="564668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FCBA0434-8293-45BB-87F3-377B2FF2642B}"/>
                </a:ext>
              </a:extLst>
            </p:cNvPr>
            <p:cNvSpPr txBox="1"/>
            <p:nvPr/>
          </p:nvSpPr>
          <p:spPr>
            <a:xfrm>
              <a:off x="4526531" y="3578037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관심영역</a:t>
              </a:r>
              <a:r>
                <a:rPr kumimoji="0" lang="ko-KR" altLang="en-US" sz="800" b="0" i="0" u="none" strike="noStrike" kern="1200" cap="none" spc="-30" normalizeH="0" baseline="3000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*</a:t>
              </a:r>
              <a:endParaRPr kumimoji="0" lang="ko-KR" altLang="en-US" sz="800" b="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B98A266A-9BB0-448A-94BF-CDB5287E2E76}"/>
                </a:ext>
              </a:extLst>
            </p:cNvPr>
            <p:cNvSpPr txBox="1"/>
            <p:nvPr/>
          </p:nvSpPr>
          <p:spPr>
            <a:xfrm>
              <a:off x="5719321" y="3578037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략</a:t>
              </a: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·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계획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91DEE34D-85BA-41FC-AD3C-E43622693A0B}"/>
                </a:ext>
              </a:extLst>
            </p:cNvPr>
            <p:cNvSpPr txBox="1"/>
            <p:nvPr/>
          </p:nvSpPr>
          <p:spPr>
            <a:xfrm>
              <a:off x="6767608" y="3578037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·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평가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A7BC98-FCDD-45B2-B215-4E12F802DAA5}"/>
                </a:ext>
              </a:extLst>
            </p:cNvPr>
            <p:cNvSpPr txBox="1"/>
            <p:nvPr/>
          </p:nvSpPr>
          <p:spPr>
            <a:xfrm>
              <a:off x="5719321" y="3797329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인증</a:t>
              </a: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·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검증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5C21AD68-7E64-4D81-8C3D-36793C9A1C18}"/>
                </a:ext>
              </a:extLst>
            </p:cNvPr>
            <p:cNvSpPr txBox="1"/>
            <p:nvPr/>
          </p:nvSpPr>
          <p:spPr>
            <a:xfrm>
              <a:off x="6767608" y="3797329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AA90CE82-11C0-43FD-BFD1-68DE36A01CB3}"/>
                </a:ext>
              </a:extLst>
            </p:cNvPr>
            <p:cNvSpPr txBox="1"/>
            <p:nvPr/>
          </p:nvSpPr>
          <p:spPr>
            <a:xfrm>
              <a:off x="5719321" y="4016621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사회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13A8880-EFBF-4B65-A6E8-510C9057D83F}"/>
                </a:ext>
              </a:extLst>
            </p:cNvPr>
            <p:cNvSpPr txBox="1"/>
            <p:nvPr/>
          </p:nvSpPr>
          <p:spPr>
            <a:xfrm>
              <a:off x="6767608" y="4016621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 </a:t>
              </a:r>
              <a:r>
                <a:rPr kumimoji="0" lang="en-US" altLang="ko-KR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</a:t>
              </a:r>
              <a:r>
                <a:rPr kumimoji="0" lang="ko-KR" altLang="en-US" sz="800" b="0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거버넌스</a:t>
              </a:r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644FB0AB-35E7-4C08-92D7-DB16A9027C5F}"/>
                </a:ext>
              </a:extLst>
            </p:cNvPr>
            <p:cNvSpPr/>
            <p:nvPr/>
          </p:nvSpPr>
          <p:spPr>
            <a:xfrm>
              <a:off x="5554914" y="3599901"/>
              <a:ext cx="108000" cy="108000"/>
            </a:xfrm>
            <a:prstGeom prst="rect">
              <a:avLst/>
            </a:prstGeom>
            <a:solidFill>
              <a:srgbClr val="D9D9D9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v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3D7554B5-D611-4194-95CF-D17CABD8BCBE}"/>
                </a:ext>
              </a:extLst>
            </p:cNvPr>
            <p:cNvSpPr/>
            <p:nvPr/>
          </p:nvSpPr>
          <p:spPr>
            <a:xfrm>
              <a:off x="5554914" y="3817642"/>
              <a:ext cx="108000" cy="108000"/>
            </a:xfrm>
            <a:prstGeom prst="rect">
              <a:avLst/>
            </a:prstGeom>
            <a:solidFill>
              <a:srgbClr val="D9D9D9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83CADC64-F883-4FE8-B9B5-3DF056E19299}"/>
                </a:ext>
              </a:extLst>
            </p:cNvPr>
            <p:cNvSpPr/>
            <p:nvPr/>
          </p:nvSpPr>
          <p:spPr>
            <a:xfrm>
              <a:off x="5554914" y="4034705"/>
              <a:ext cx="108000" cy="108000"/>
            </a:xfrm>
            <a:prstGeom prst="rect">
              <a:avLst/>
            </a:prstGeom>
            <a:solidFill>
              <a:srgbClr val="D9D9D9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92" name="직사각형 91">
              <a:extLst>
                <a:ext uri="{FF2B5EF4-FFF2-40B4-BE49-F238E27FC236}">
                  <a16:creationId xmlns:a16="http://schemas.microsoft.com/office/drawing/2014/main" id="{EB40DD38-5175-4C41-A8F7-E039C81CB72D}"/>
                </a:ext>
              </a:extLst>
            </p:cNvPr>
            <p:cNvSpPr/>
            <p:nvPr/>
          </p:nvSpPr>
          <p:spPr>
            <a:xfrm>
              <a:off x="6611178" y="3599901"/>
              <a:ext cx="108000" cy="108000"/>
            </a:xfrm>
            <a:prstGeom prst="rect">
              <a:avLst/>
            </a:prstGeom>
            <a:solidFill>
              <a:srgbClr val="D9D9D9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en-US" altLang="ko-KR" sz="8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v</a:t>
              </a:r>
              <a:endParaRPr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9BFA7BA0-18C3-4848-B213-36BD4498A955}"/>
                </a:ext>
              </a:extLst>
            </p:cNvPr>
            <p:cNvSpPr/>
            <p:nvPr/>
          </p:nvSpPr>
          <p:spPr>
            <a:xfrm>
              <a:off x="6611178" y="3817642"/>
              <a:ext cx="108000" cy="108000"/>
            </a:xfrm>
            <a:prstGeom prst="rect">
              <a:avLst/>
            </a:prstGeom>
            <a:solidFill>
              <a:srgbClr val="D9D9D9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A0F78E77-CA8F-4C07-8BD0-F37055EBF4D7}"/>
                </a:ext>
              </a:extLst>
            </p:cNvPr>
            <p:cNvSpPr/>
            <p:nvPr/>
          </p:nvSpPr>
          <p:spPr>
            <a:xfrm>
              <a:off x="6611178" y="4034705"/>
              <a:ext cx="108000" cy="108000"/>
            </a:xfrm>
            <a:prstGeom prst="rect">
              <a:avLst/>
            </a:prstGeom>
            <a:solidFill>
              <a:srgbClr val="D9D9D9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30" name="TextBox 129">
            <a:extLst>
              <a:ext uri="{FF2B5EF4-FFF2-40B4-BE49-F238E27FC236}">
                <a16:creationId xmlns:a16="http://schemas.microsoft.com/office/drawing/2014/main" id="{39407A50-F056-48A8-BD65-8536AC20EA31}"/>
              </a:ext>
            </a:extLst>
          </p:cNvPr>
          <p:cNvSpPr txBox="1"/>
          <p:nvPr/>
        </p:nvSpPr>
        <p:spPr>
          <a:xfrm>
            <a:off x="1426203" y="4077072"/>
            <a:ext cx="8653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</a:t>
            </a:r>
            <a:r>
              <a:rPr kumimoji="0" lang="en-US" altLang="ko-KR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kumimoji="0" lang="ko-KR" altLang="en-US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활동 정보</a:t>
            </a:r>
          </a:p>
        </p:txBody>
      </p:sp>
      <p:sp>
        <p:nvSpPr>
          <p:cNvPr id="131" name="직사각형 130">
            <a:extLst>
              <a:ext uri="{FF2B5EF4-FFF2-40B4-BE49-F238E27FC236}">
                <a16:creationId xmlns:a16="http://schemas.microsoft.com/office/drawing/2014/main" id="{CC145DBE-BC3A-4E04-835B-4C621D6F5F28}"/>
              </a:ext>
            </a:extLst>
          </p:cNvPr>
          <p:cNvSpPr/>
          <p:nvPr/>
        </p:nvSpPr>
        <p:spPr>
          <a:xfrm>
            <a:off x="1408951" y="4242157"/>
            <a:ext cx="6884458" cy="22904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35" name="직사각형 134">
            <a:extLst>
              <a:ext uri="{FF2B5EF4-FFF2-40B4-BE49-F238E27FC236}">
                <a16:creationId xmlns:a16="http://schemas.microsoft.com/office/drawing/2014/main" id="{1F230A82-42DE-418F-98A1-6E8EEAFA3EC3}"/>
              </a:ext>
            </a:extLst>
          </p:cNvPr>
          <p:cNvSpPr/>
          <p:nvPr/>
        </p:nvSpPr>
        <p:spPr>
          <a:xfrm>
            <a:off x="6368503" y="4333025"/>
            <a:ext cx="1599705" cy="20021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가입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63393F04-DD69-4EE2-AAF4-9016F79109C3}"/>
              </a:ext>
            </a:extLst>
          </p:cNvPr>
          <p:cNvSpPr txBox="1"/>
          <p:nvPr/>
        </p:nvSpPr>
        <p:spPr>
          <a:xfrm>
            <a:off x="5835133" y="4341615"/>
            <a:ext cx="1080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80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입상태</a:t>
            </a:r>
            <a:endParaRPr kumimoji="0" lang="ko-KR" altLang="en-US" sz="800" i="0" u="none" strike="noStrike" kern="1200" cap="none" spc="-30" normalizeH="0" baseline="3000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E3DA809D-68AD-46BF-AF13-721E7401C575}"/>
              </a:ext>
            </a:extLst>
          </p:cNvPr>
          <p:cNvSpPr txBox="1"/>
          <p:nvPr/>
        </p:nvSpPr>
        <p:spPr>
          <a:xfrm>
            <a:off x="5835133" y="4671485"/>
            <a:ext cx="1080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80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입일</a:t>
            </a:r>
          </a:p>
        </p:txBody>
      </p: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0F38A1D9-29DE-4B5D-8B14-B33269EBFBF8}"/>
              </a:ext>
            </a:extLst>
          </p:cNvPr>
          <p:cNvSpPr/>
          <p:nvPr/>
        </p:nvSpPr>
        <p:spPr>
          <a:xfrm>
            <a:off x="6368503" y="4665605"/>
            <a:ext cx="1599705" cy="20021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2023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년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9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월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23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일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B458B44-5D89-400C-BFBE-2790B42617A6}"/>
              </a:ext>
            </a:extLst>
          </p:cNvPr>
          <p:cNvSpPr txBox="1"/>
          <p:nvPr/>
        </p:nvSpPr>
        <p:spPr>
          <a:xfrm>
            <a:off x="5835133" y="5001355"/>
            <a:ext cx="1080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80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일</a:t>
            </a:r>
            <a:endParaRPr kumimoji="0" lang="ko-KR" altLang="en-US" sz="800" i="0" u="none" strike="noStrike" kern="1200" cap="none" spc="-30" normalizeH="0" baseline="3000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AD93C778-C02D-4B27-A55E-A2B29856A292}"/>
              </a:ext>
            </a:extLst>
          </p:cNvPr>
          <p:cNvSpPr/>
          <p:nvPr/>
        </p:nvSpPr>
        <p:spPr>
          <a:xfrm>
            <a:off x="6368503" y="4998185"/>
            <a:ext cx="1599705" cy="20021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2023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년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9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월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25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일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3408D56D-85C5-4F44-98EB-563C9EDE1C6E}"/>
              </a:ext>
            </a:extLst>
          </p:cNvPr>
          <p:cNvSpPr txBox="1"/>
          <p:nvPr/>
        </p:nvSpPr>
        <p:spPr>
          <a:xfrm>
            <a:off x="5835133" y="5331225"/>
            <a:ext cx="1080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800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탈퇴일</a:t>
            </a:r>
          </a:p>
        </p:txBody>
      </p:sp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3F7DDD4D-3E46-478E-A76B-78C770445DF0}"/>
              </a:ext>
            </a:extLst>
          </p:cNvPr>
          <p:cNvSpPr/>
          <p:nvPr/>
        </p:nvSpPr>
        <p:spPr>
          <a:xfrm>
            <a:off x="6368503" y="5330765"/>
            <a:ext cx="1599705" cy="20021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-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0740484F-A657-43A2-A782-C875F68420A3}"/>
              </a:ext>
            </a:extLst>
          </p:cNvPr>
          <p:cNvSpPr txBox="1"/>
          <p:nvPr/>
        </p:nvSpPr>
        <p:spPr>
          <a:xfrm>
            <a:off x="1588675" y="4333025"/>
            <a:ext cx="6955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활동</a:t>
            </a:r>
            <a:b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 결과</a:t>
            </a:r>
            <a:endParaRPr kumimoji="0" lang="ko-KR" altLang="en-US" sz="800" b="1" i="0" u="none" strike="noStrike" kern="1200" cap="none" spc="-3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BC91333F-593C-4C04-A83F-D53DAF3A3BF4}"/>
              </a:ext>
            </a:extLst>
          </p:cNvPr>
          <p:cNvSpPr/>
          <p:nvPr/>
        </p:nvSpPr>
        <p:spPr>
          <a:xfrm>
            <a:off x="2274770" y="4333025"/>
            <a:ext cx="465416" cy="20021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진단일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CCD3CEBD-5FAD-4CFC-860B-BF75CD9C649E}"/>
              </a:ext>
            </a:extLst>
          </p:cNvPr>
          <p:cNvSpPr txBox="1"/>
          <p:nvPr/>
        </p:nvSpPr>
        <p:spPr>
          <a:xfrm>
            <a:off x="1588675" y="4955427"/>
            <a:ext cx="5691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SRD </a:t>
            </a:r>
            <a:r>
              <a:rPr kumimoji="0" lang="ko-KR" altLang="en-US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</a:t>
            </a:r>
            <a:br>
              <a:rPr kumimoji="0" lang="en-US" altLang="ko-KR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kumimoji="0" lang="ko-KR" altLang="en-US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 결과</a:t>
            </a:r>
            <a:endParaRPr kumimoji="0" lang="ko-KR" altLang="en-US" sz="800" b="1" i="0" u="none" strike="noStrike" kern="1200" cap="none" spc="-30" normalizeH="0" baseline="3000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A7013A46-4735-4054-9A86-7DA32793FDC0}"/>
              </a:ext>
            </a:extLst>
          </p:cNvPr>
          <p:cNvSpPr txBox="1"/>
          <p:nvPr/>
        </p:nvSpPr>
        <p:spPr>
          <a:xfrm>
            <a:off x="1588675" y="5246656"/>
            <a:ext cx="58010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현황</a:t>
            </a:r>
          </a:p>
        </p:txBody>
      </p: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73671998-F42F-421D-B30B-8B5CCBA301E2}"/>
              </a:ext>
            </a:extLst>
          </p:cNvPr>
          <p:cNvSpPr/>
          <p:nvPr/>
        </p:nvSpPr>
        <p:spPr>
          <a:xfrm>
            <a:off x="2274770" y="5245556"/>
            <a:ext cx="1055648" cy="20021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07/12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FE608A1D-013C-40B4-85F5-78D4794A7153}"/>
              </a:ext>
            </a:extLst>
          </p:cNvPr>
          <p:cNvSpPr txBox="1"/>
          <p:nvPr/>
        </p:nvSpPr>
        <p:spPr>
          <a:xfrm>
            <a:off x="1587951" y="5547764"/>
            <a:ext cx="1080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마케팅동의</a:t>
            </a:r>
          </a:p>
        </p:txBody>
      </p:sp>
      <p:sp>
        <p:nvSpPr>
          <p:cNvPr id="161" name="직사각형 160">
            <a:extLst>
              <a:ext uri="{FF2B5EF4-FFF2-40B4-BE49-F238E27FC236}">
                <a16:creationId xmlns:a16="http://schemas.microsoft.com/office/drawing/2014/main" id="{FC33BAAA-987C-4B7F-AC6D-6F05A29C7643}"/>
              </a:ext>
            </a:extLst>
          </p:cNvPr>
          <p:cNvSpPr/>
          <p:nvPr/>
        </p:nvSpPr>
        <p:spPr>
          <a:xfrm>
            <a:off x="2274046" y="5547304"/>
            <a:ext cx="513899" cy="20021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Y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534867B4-9AE5-4615-A2DE-9D8B330B5571}"/>
              </a:ext>
            </a:extLst>
          </p:cNvPr>
          <p:cNvGrpSpPr/>
          <p:nvPr/>
        </p:nvGrpSpPr>
        <p:grpSpPr>
          <a:xfrm>
            <a:off x="1587951" y="5835336"/>
            <a:ext cx="1199994" cy="200211"/>
            <a:chOff x="2794475" y="6109109"/>
            <a:chExt cx="1199994" cy="200211"/>
          </a:xfrm>
        </p:grpSpPr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DAAC9B06-E85F-4477-831E-F53C436EE411}"/>
                </a:ext>
              </a:extLst>
            </p:cNvPr>
            <p:cNvSpPr txBox="1"/>
            <p:nvPr/>
          </p:nvSpPr>
          <p:spPr>
            <a:xfrm>
              <a:off x="2794475" y="6109569"/>
              <a:ext cx="10800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뉴스레터 수신</a:t>
              </a:r>
            </a:p>
          </p:txBody>
        </p:sp>
        <p:sp>
          <p:nvSpPr>
            <p:cNvPr id="164" name="직사각형 163">
              <a:extLst>
                <a:ext uri="{FF2B5EF4-FFF2-40B4-BE49-F238E27FC236}">
                  <a16:creationId xmlns:a16="http://schemas.microsoft.com/office/drawing/2014/main" id="{7C3DC3BE-1354-44CF-8485-F0DF7A8286D6}"/>
                </a:ext>
              </a:extLst>
            </p:cNvPr>
            <p:cNvSpPr/>
            <p:nvPr/>
          </p:nvSpPr>
          <p:spPr>
            <a:xfrm>
              <a:off x="3480570" y="6109109"/>
              <a:ext cx="513899" cy="2002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Y</a:t>
              </a:r>
              <a:endPara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65" name="사각형: 둥근 모서리 164">
            <a:extLst>
              <a:ext uri="{FF2B5EF4-FFF2-40B4-BE49-F238E27FC236}">
                <a16:creationId xmlns:a16="http://schemas.microsoft.com/office/drawing/2014/main" id="{82D97FDC-8F2F-4EC6-9D9F-DF53A5795F08}"/>
              </a:ext>
            </a:extLst>
          </p:cNvPr>
          <p:cNvSpPr/>
          <p:nvPr/>
        </p:nvSpPr>
        <p:spPr>
          <a:xfrm>
            <a:off x="3575719" y="4333025"/>
            <a:ext cx="566591" cy="200211"/>
          </a:xfrm>
          <a:prstGeom prst="roundRect">
            <a:avLst/>
          </a:prstGeom>
          <a:solidFill>
            <a:srgbClr val="404040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결과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보기</a:t>
            </a:r>
          </a:p>
        </p:txBody>
      </p:sp>
      <p:sp>
        <p:nvSpPr>
          <p:cNvPr id="166" name="사각형: 둥근 모서리 165">
            <a:extLst>
              <a:ext uri="{FF2B5EF4-FFF2-40B4-BE49-F238E27FC236}">
                <a16:creationId xmlns:a16="http://schemas.microsoft.com/office/drawing/2014/main" id="{0550D090-CBB4-4BAC-8528-4DCC940FBE16}"/>
              </a:ext>
            </a:extLst>
          </p:cNvPr>
          <p:cNvSpPr/>
          <p:nvPr/>
        </p:nvSpPr>
        <p:spPr>
          <a:xfrm>
            <a:off x="3392484" y="5246656"/>
            <a:ext cx="744856" cy="200211"/>
          </a:xfrm>
          <a:prstGeom prst="roundRect">
            <a:avLst/>
          </a:prstGeom>
          <a:solidFill>
            <a:srgbClr val="404040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문의현황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보기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838277F4-256E-4997-8F3E-485153158D61}"/>
              </a:ext>
            </a:extLst>
          </p:cNvPr>
          <p:cNvSpPr txBox="1"/>
          <p:nvPr/>
        </p:nvSpPr>
        <p:spPr>
          <a:xfrm>
            <a:off x="5007171" y="5663345"/>
            <a:ext cx="1080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-3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모</a:t>
            </a:r>
          </a:p>
        </p:txBody>
      </p:sp>
      <p:sp>
        <p:nvSpPr>
          <p:cNvPr id="171" name="직사각형 170">
            <a:extLst>
              <a:ext uri="{FF2B5EF4-FFF2-40B4-BE49-F238E27FC236}">
                <a16:creationId xmlns:a16="http://schemas.microsoft.com/office/drawing/2014/main" id="{0431A85F-3DB8-4540-90DC-4B1ABC54C674}"/>
              </a:ext>
            </a:extLst>
          </p:cNvPr>
          <p:cNvSpPr/>
          <p:nvPr/>
        </p:nvSpPr>
        <p:spPr>
          <a:xfrm>
            <a:off x="5761989" y="5663345"/>
            <a:ext cx="2206219" cy="35569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운영관리자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cxnSp>
        <p:nvCxnSpPr>
          <p:cNvPr id="173" name="직선 연결선 172">
            <a:extLst>
              <a:ext uri="{FF2B5EF4-FFF2-40B4-BE49-F238E27FC236}">
                <a16:creationId xmlns:a16="http://schemas.microsoft.com/office/drawing/2014/main" id="{946B2F92-3072-4105-8FF7-D4200C728D20}"/>
              </a:ext>
            </a:extLst>
          </p:cNvPr>
          <p:cNvCxnSpPr>
            <a:cxnSpLocks/>
          </p:cNvCxnSpPr>
          <p:nvPr/>
        </p:nvCxnSpPr>
        <p:spPr>
          <a:xfrm>
            <a:off x="4866120" y="1780535"/>
            <a:ext cx="0" cy="20880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직선 연결선 174">
            <a:extLst>
              <a:ext uri="{FF2B5EF4-FFF2-40B4-BE49-F238E27FC236}">
                <a16:creationId xmlns:a16="http://schemas.microsoft.com/office/drawing/2014/main" id="{FD6C5445-D755-4FA6-9420-1CBDA3F78742}"/>
              </a:ext>
            </a:extLst>
          </p:cNvPr>
          <p:cNvCxnSpPr>
            <a:cxnSpLocks/>
          </p:cNvCxnSpPr>
          <p:nvPr/>
        </p:nvCxnSpPr>
        <p:spPr>
          <a:xfrm>
            <a:off x="4866120" y="4365104"/>
            <a:ext cx="0" cy="201988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03E83C7C-223A-4056-A6D4-265DADFDA38D}"/>
              </a:ext>
            </a:extLst>
          </p:cNvPr>
          <p:cNvGrpSpPr/>
          <p:nvPr/>
        </p:nvGrpSpPr>
        <p:grpSpPr>
          <a:xfrm>
            <a:off x="5013234" y="5821077"/>
            <a:ext cx="218669" cy="200211"/>
            <a:chOff x="5013234" y="6109109"/>
            <a:chExt cx="218669" cy="200211"/>
          </a:xfrm>
        </p:grpSpPr>
        <p:sp>
          <p:nvSpPr>
            <p:cNvPr id="172" name="사각형: 둥근 모서리 171">
              <a:extLst>
                <a:ext uri="{FF2B5EF4-FFF2-40B4-BE49-F238E27FC236}">
                  <a16:creationId xmlns:a16="http://schemas.microsoft.com/office/drawing/2014/main" id="{89A057CC-9726-41CA-92EE-8918F17E539C}"/>
                </a:ext>
              </a:extLst>
            </p:cNvPr>
            <p:cNvSpPr/>
            <p:nvPr/>
          </p:nvSpPr>
          <p:spPr>
            <a:xfrm>
              <a:off x="5013234" y="6109109"/>
              <a:ext cx="218669" cy="200211"/>
            </a:xfrm>
            <a:prstGeom prst="roundRect">
              <a:avLst/>
            </a:prstGeom>
            <a:solidFill>
              <a:srgbClr val="404040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pic>
          <p:nvPicPr>
            <p:cNvPr id="14" name="그래픽 13" descr="연필 단색으로 채워진">
              <a:extLst>
                <a:ext uri="{FF2B5EF4-FFF2-40B4-BE49-F238E27FC236}">
                  <a16:creationId xmlns:a16="http://schemas.microsoft.com/office/drawing/2014/main" id="{573D9366-09E9-4769-B0DE-5FE8859455D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flipH="1">
              <a:off x="5040045" y="6126691"/>
              <a:ext cx="165046" cy="165046"/>
            </a:xfrm>
            <a:prstGeom prst="rect">
              <a:avLst/>
            </a:prstGeom>
          </p:spPr>
        </p:pic>
      </p:grp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BE5D7376-4319-4157-BC0D-504787E6B61E}"/>
              </a:ext>
            </a:extLst>
          </p:cNvPr>
          <p:cNvGrpSpPr/>
          <p:nvPr/>
        </p:nvGrpSpPr>
        <p:grpSpPr>
          <a:xfrm>
            <a:off x="5262765" y="5821077"/>
            <a:ext cx="218669" cy="200211"/>
            <a:chOff x="5262765" y="6109109"/>
            <a:chExt cx="218669" cy="200211"/>
          </a:xfrm>
        </p:grpSpPr>
        <p:sp>
          <p:nvSpPr>
            <p:cNvPr id="176" name="사각형: 둥근 모서리 175">
              <a:extLst>
                <a:ext uri="{FF2B5EF4-FFF2-40B4-BE49-F238E27FC236}">
                  <a16:creationId xmlns:a16="http://schemas.microsoft.com/office/drawing/2014/main" id="{55FA4356-DD85-4AE4-BFF8-8F55CB83D6DB}"/>
                </a:ext>
              </a:extLst>
            </p:cNvPr>
            <p:cNvSpPr/>
            <p:nvPr/>
          </p:nvSpPr>
          <p:spPr>
            <a:xfrm>
              <a:off x="5262765" y="6109109"/>
              <a:ext cx="218669" cy="200211"/>
            </a:xfrm>
            <a:prstGeom prst="roundRect">
              <a:avLst/>
            </a:prstGeom>
            <a:solidFill>
              <a:srgbClr val="404040"/>
            </a:solidFill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  <p:pic>
          <p:nvPicPr>
            <p:cNvPr id="19" name="그래픽 18" descr="디스크 단색으로 채워진">
              <a:extLst>
                <a:ext uri="{FF2B5EF4-FFF2-40B4-BE49-F238E27FC236}">
                  <a16:creationId xmlns:a16="http://schemas.microsoft.com/office/drawing/2014/main" id="{DB4B9B22-DF51-419C-BCA7-70567447586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flipH="1">
              <a:off x="5289576" y="6126691"/>
              <a:ext cx="165046" cy="165046"/>
            </a:xfrm>
            <a:prstGeom prst="rect">
              <a:avLst/>
            </a:prstGeom>
          </p:spPr>
        </p:pic>
      </p:grpSp>
      <p:sp>
        <p:nvSpPr>
          <p:cNvPr id="202" name="사각형: 둥근 모서리 201">
            <a:extLst>
              <a:ext uri="{FF2B5EF4-FFF2-40B4-BE49-F238E27FC236}">
                <a16:creationId xmlns:a16="http://schemas.microsoft.com/office/drawing/2014/main" id="{A0655313-43F7-4EB3-87F9-5557728D5AAA}"/>
              </a:ext>
            </a:extLst>
          </p:cNvPr>
          <p:cNvSpPr/>
          <p:nvPr/>
        </p:nvSpPr>
        <p:spPr>
          <a:xfrm>
            <a:off x="1267612" y="15112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6" name="사각형: 둥근 모서리 205">
            <a:extLst>
              <a:ext uri="{FF2B5EF4-FFF2-40B4-BE49-F238E27FC236}">
                <a16:creationId xmlns:a16="http://schemas.microsoft.com/office/drawing/2014/main" id="{47F3C385-715A-4103-B2FD-81BF230265A9}"/>
              </a:ext>
            </a:extLst>
          </p:cNvPr>
          <p:cNvSpPr/>
          <p:nvPr/>
        </p:nvSpPr>
        <p:spPr>
          <a:xfrm>
            <a:off x="2213593" y="525105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7" name="사각형: 둥근 모서리 206">
            <a:extLst>
              <a:ext uri="{FF2B5EF4-FFF2-40B4-BE49-F238E27FC236}">
                <a16:creationId xmlns:a16="http://schemas.microsoft.com/office/drawing/2014/main" id="{26EE12DE-F50E-4550-9B40-C56007AA7C38}"/>
              </a:ext>
            </a:extLst>
          </p:cNvPr>
          <p:cNvSpPr/>
          <p:nvPr/>
        </p:nvSpPr>
        <p:spPr>
          <a:xfrm>
            <a:off x="2206531" y="49353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9" name="사각형: 둥근 모서리 208">
            <a:extLst>
              <a:ext uri="{FF2B5EF4-FFF2-40B4-BE49-F238E27FC236}">
                <a16:creationId xmlns:a16="http://schemas.microsoft.com/office/drawing/2014/main" id="{FA51FBF0-3A8A-4C33-A394-7D6E7D4F1A27}"/>
              </a:ext>
            </a:extLst>
          </p:cNvPr>
          <p:cNvSpPr/>
          <p:nvPr/>
        </p:nvSpPr>
        <p:spPr>
          <a:xfrm>
            <a:off x="3502766" y="433302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2" name="사각형: 둥근 모서리 211">
            <a:extLst>
              <a:ext uri="{FF2B5EF4-FFF2-40B4-BE49-F238E27FC236}">
                <a16:creationId xmlns:a16="http://schemas.microsoft.com/office/drawing/2014/main" id="{45992B1A-02A2-4C02-A121-D2E98ECDD05C}"/>
              </a:ext>
            </a:extLst>
          </p:cNvPr>
          <p:cNvSpPr/>
          <p:nvPr/>
        </p:nvSpPr>
        <p:spPr>
          <a:xfrm>
            <a:off x="3359696" y="52434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3" name="사각형: 둥근 모서리 212">
            <a:extLst>
              <a:ext uri="{FF2B5EF4-FFF2-40B4-BE49-F238E27FC236}">
                <a16:creationId xmlns:a16="http://schemas.microsoft.com/office/drawing/2014/main" id="{8A2C82D2-785E-4587-891D-38B9937E916A}"/>
              </a:ext>
            </a:extLst>
          </p:cNvPr>
          <p:cNvSpPr/>
          <p:nvPr/>
        </p:nvSpPr>
        <p:spPr>
          <a:xfrm>
            <a:off x="5691117" y="433302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4" name="사각형: 둥근 모서리 213">
            <a:extLst>
              <a:ext uri="{FF2B5EF4-FFF2-40B4-BE49-F238E27FC236}">
                <a16:creationId xmlns:a16="http://schemas.microsoft.com/office/drawing/2014/main" id="{2C784A7C-0B2D-4E04-B3BF-7438EBC2A27F}"/>
              </a:ext>
            </a:extLst>
          </p:cNvPr>
          <p:cNvSpPr/>
          <p:nvPr/>
        </p:nvSpPr>
        <p:spPr>
          <a:xfrm>
            <a:off x="5691117" y="466560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5" name="사각형: 둥근 모서리 214">
            <a:extLst>
              <a:ext uri="{FF2B5EF4-FFF2-40B4-BE49-F238E27FC236}">
                <a16:creationId xmlns:a16="http://schemas.microsoft.com/office/drawing/2014/main" id="{CACF20BF-3315-438D-9A2A-3B5AF56554E4}"/>
              </a:ext>
            </a:extLst>
          </p:cNvPr>
          <p:cNvSpPr/>
          <p:nvPr/>
        </p:nvSpPr>
        <p:spPr>
          <a:xfrm>
            <a:off x="5691117" y="499818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6" name="사각형: 둥근 모서리 215">
            <a:extLst>
              <a:ext uri="{FF2B5EF4-FFF2-40B4-BE49-F238E27FC236}">
                <a16:creationId xmlns:a16="http://schemas.microsoft.com/office/drawing/2014/main" id="{2991CBB4-3FD8-4A57-B8BD-7FEF0B8B41DD}"/>
              </a:ext>
            </a:extLst>
          </p:cNvPr>
          <p:cNvSpPr/>
          <p:nvPr/>
        </p:nvSpPr>
        <p:spPr>
          <a:xfrm>
            <a:off x="5691117" y="53307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7" name="사각형: 둥근 모서리 216">
            <a:extLst>
              <a:ext uri="{FF2B5EF4-FFF2-40B4-BE49-F238E27FC236}">
                <a16:creationId xmlns:a16="http://schemas.microsoft.com/office/drawing/2014/main" id="{C54D9282-4376-46B7-87AE-22DA29C43125}"/>
              </a:ext>
            </a:extLst>
          </p:cNvPr>
          <p:cNvSpPr/>
          <p:nvPr/>
        </p:nvSpPr>
        <p:spPr>
          <a:xfrm>
            <a:off x="5691117" y="565296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8" name="사각형: 둥근 모서리 217">
            <a:extLst>
              <a:ext uri="{FF2B5EF4-FFF2-40B4-BE49-F238E27FC236}">
                <a16:creationId xmlns:a16="http://schemas.microsoft.com/office/drawing/2014/main" id="{3B4C14DC-1977-4AD8-9B26-1B7824259AC5}"/>
              </a:ext>
            </a:extLst>
          </p:cNvPr>
          <p:cNvSpPr/>
          <p:nvPr/>
        </p:nvSpPr>
        <p:spPr>
          <a:xfrm>
            <a:off x="4925322" y="57906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9" name="사각형: 둥근 모서리 218">
            <a:extLst>
              <a:ext uri="{FF2B5EF4-FFF2-40B4-BE49-F238E27FC236}">
                <a16:creationId xmlns:a16="http://schemas.microsoft.com/office/drawing/2014/main" id="{AD90B922-B8B7-4169-9DF6-5A633E35D0EF}"/>
              </a:ext>
            </a:extLst>
          </p:cNvPr>
          <p:cNvSpPr/>
          <p:nvPr/>
        </p:nvSpPr>
        <p:spPr>
          <a:xfrm>
            <a:off x="5214459" y="57906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69BEBA67-B348-4E44-A63A-C502BFAA62BB}"/>
              </a:ext>
            </a:extLst>
          </p:cNvPr>
          <p:cNvSpPr/>
          <p:nvPr/>
        </p:nvSpPr>
        <p:spPr>
          <a:xfrm>
            <a:off x="2274770" y="4667395"/>
            <a:ext cx="465416" cy="20021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업종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6F6ACCA9-B6FA-495C-99F6-91EA90D05DCC}"/>
              </a:ext>
            </a:extLst>
          </p:cNvPr>
          <p:cNvSpPr/>
          <p:nvPr/>
        </p:nvSpPr>
        <p:spPr>
          <a:xfrm>
            <a:off x="2725985" y="4333025"/>
            <a:ext cx="608527" cy="24622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2023-11-04</a:t>
            </a:r>
            <a:b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</a:br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10:00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58" name="직사각형 157">
            <a:extLst>
              <a:ext uri="{FF2B5EF4-FFF2-40B4-BE49-F238E27FC236}">
                <a16:creationId xmlns:a16="http://schemas.microsoft.com/office/drawing/2014/main" id="{58F37C28-1EEB-4D17-9BE6-E75D22D7DD36}"/>
              </a:ext>
            </a:extLst>
          </p:cNvPr>
          <p:cNvSpPr/>
          <p:nvPr/>
        </p:nvSpPr>
        <p:spPr>
          <a:xfrm>
            <a:off x="2725986" y="4667395"/>
            <a:ext cx="1402315" cy="20021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Commercial Banks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BE11945D-DB0D-4175-A83F-8D0A5708A03E}"/>
              </a:ext>
            </a:extLst>
          </p:cNvPr>
          <p:cNvSpPr/>
          <p:nvPr/>
        </p:nvSpPr>
        <p:spPr>
          <a:xfrm>
            <a:off x="2265732" y="4955427"/>
            <a:ext cx="465416" cy="20021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진단일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67" name="직사각형 166">
            <a:extLst>
              <a:ext uri="{FF2B5EF4-FFF2-40B4-BE49-F238E27FC236}">
                <a16:creationId xmlns:a16="http://schemas.microsoft.com/office/drawing/2014/main" id="{58C1145F-4398-43DC-A130-C86432950583}"/>
              </a:ext>
            </a:extLst>
          </p:cNvPr>
          <p:cNvSpPr/>
          <p:nvPr/>
        </p:nvSpPr>
        <p:spPr>
          <a:xfrm>
            <a:off x="2725986" y="4955427"/>
            <a:ext cx="608526" cy="20021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23.11.04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68" name="사각형: 둥근 모서리 167">
            <a:extLst>
              <a:ext uri="{FF2B5EF4-FFF2-40B4-BE49-F238E27FC236}">
                <a16:creationId xmlns:a16="http://schemas.microsoft.com/office/drawing/2014/main" id="{1246CA25-5D6B-4507-904D-595CC19ECC6E}"/>
              </a:ext>
            </a:extLst>
          </p:cNvPr>
          <p:cNvSpPr/>
          <p:nvPr/>
        </p:nvSpPr>
        <p:spPr>
          <a:xfrm>
            <a:off x="2198232" y="427811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CAD5D8B0-26C7-4FBC-988A-C62E83E2133A}"/>
              </a:ext>
            </a:extLst>
          </p:cNvPr>
          <p:cNvSpPr txBox="1"/>
          <p:nvPr/>
        </p:nvSpPr>
        <p:spPr>
          <a:xfrm>
            <a:off x="5007171" y="4328050"/>
            <a:ext cx="6955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입 현황</a:t>
            </a:r>
            <a:endParaRPr kumimoji="0" lang="ko-KR" altLang="en-US" sz="800" b="1" i="0" u="none" strike="noStrike" kern="1200" cap="none" spc="-3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사각형: 둥근 모서리 173">
            <a:extLst>
              <a:ext uri="{FF2B5EF4-FFF2-40B4-BE49-F238E27FC236}">
                <a16:creationId xmlns:a16="http://schemas.microsoft.com/office/drawing/2014/main" id="{9593B34B-5078-45E1-8FC9-B5F27C611822}"/>
              </a:ext>
            </a:extLst>
          </p:cNvPr>
          <p:cNvSpPr/>
          <p:nvPr/>
        </p:nvSpPr>
        <p:spPr>
          <a:xfrm>
            <a:off x="2202289" y="46531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20E523E2-D3C8-4DB0-B78F-25906C99EA76}"/>
              </a:ext>
            </a:extLst>
          </p:cNvPr>
          <p:cNvSpPr/>
          <p:nvPr/>
        </p:nvSpPr>
        <p:spPr>
          <a:xfrm>
            <a:off x="3334512" y="4333025"/>
            <a:ext cx="143492" cy="24622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▼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72404810-8A01-4C21-94A9-3FF3DBAD97B0}"/>
              </a:ext>
            </a:extLst>
          </p:cNvPr>
          <p:cNvSpPr/>
          <p:nvPr/>
        </p:nvSpPr>
        <p:spPr>
          <a:xfrm>
            <a:off x="3334512" y="4955427"/>
            <a:ext cx="143492" cy="200211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▼</a:t>
            </a:r>
            <a:endParaRPr kumimoji="0" lang="ko-KR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Segoe UI" panose="020B0502040204020203" pitchFamily="34" charset="0"/>
            </a:endParaRPr>
          </a:p>
        </p:txBody>
      </p: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677D0D98-3AFF-43DA-912F-AC350B79BF7B}"/>
              </a:ext>
            </a:extLst>
          </p:cNvPr>
          <p:cNvSpPr/>
          <p:nvPr/>
        </p:nvSpPr>
        <p:spPr>
          <a:xfrm>
            <a:off x="3567705" y="4955427"/>
            <a:ext cx="566591" cy="200211"/>
          </a:xfrm>
          <a:prstGeom prst="roundRect">
            <a:avLst/>
          </a:prstGeom>
          <a:solidFill>
            <a:srgbClr val="404040"/>
          </a:solidFill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54864" rIns="36000" rtlCol="0" anchor="ctr" anchorCtr="0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결과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 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rPr>
              <a:t>보기</a:t>
            </a:r>
          </a:p>
        </p:txBody>
      </p:sp>
      <p:sp>
        <p:nvSpPr>
          <p:cNvPr id="140" name="사각형: 둥근 모서리 139">
            <a:extLst>
              <a:ext uri="{FF2B5EF4-FFF2-40B4-BE49-F238E27FC236}">
                <a16:creationId xmlns:a16="http://schemas.microsoft.com/office/drawing/2014/main" id="{F252A1E4-1472-4C22-BAA1-0FDFF59A8603}"/>
              </a:ext>
            </a:extLst>
          </p:cNvPr>
          <p:cNvSpPr/>
          <p:nvPr/>
        </p:nvSpPr>
        <p:spPr>
          <a:xfrm>
            <a:off x="3494752" y="49487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3" name="직사각형 142">
            <a:extLst>
              <a:ext uri="{FF2B5EF4-FFF2-40B4-BE49-F238E27FC236}">
                <a16:creationId xmlns:a16="http://schemas.microsoft.com/office/drawing/2014/main" id="{A7F62E5C-5E1A-4B2B-A110-CAF34FBCEB60}"/>
              </a:ext>
            </a:extLst>
          </p:cNvPr>
          <p:cNvSpPr/>
          <p:nvPr/>
        </p:nvSpPr>
        <p:spPr>
          <a:xfrm>
            <a:off x="9073581" y="0"/>
            <a:ext cx="3123223" cy="2056530"/>
          </a:xfrm>
          <a:prstGeom prst="rect">
            <a:avLst/>
          </a:prstGeom>
          <a:solidFill>
            <a:schemeClr val="accent2"/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7.12&gt; 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이전 진단 결과 확인 관련</a:t>
            </a: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&lt;23.09.06&gt;</a:t>
            </a:r>
          </a:p>
          <a:p>
            <a:pPr defTabSz="914400">
              <a:lnSpc>
                <a:spcPct val="11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[4] ESG 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경영활동 진단결과 보기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, [6] CSRD 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대상 진단결과 보기 버튼 클릭 시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, FO 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별도 로그인 없이 해당 화면 호출</a:t>
            </a: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기존 요건 명확하게 정의하였음</a:t>
            </a:r>
            <a:r>
              <a:rPr lang="en-US" altLang="ko-KR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)</a:t>
            </a:r>
            <a:r>
              <a:rPr lang="ko-KR" altLang="en-US" sz="800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endParaRPr lang="en-US" altLang="ko-KR" sz="800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 10. 20&gt;</a:t>
            </a: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팩스 번호 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마케팅 동의 → 개인정보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.10.20&gt;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자 제공 동의로 변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C89EF8A9-D6D1-E58F-8FCD-CA5E9B4C211D}"/>
              </a:ext>
            </a:extLst>
          </p:cNvPr>
          <p:cNvSpPr/>
          <p:nvPr/>
        </p:nvSpPr>
        <p:spPr>
          <a:xfrm>
            <a:off x="1378178" y="5536323"/>
            <a:ext cx="925199" cy="22501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개인정보 제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3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자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/>
              </a:rPr>
              <a:t>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 동의</a:t>
            </a:r>
          </a:p>
        </p:txBody>
      </p:sp>
      <p:sp>
        <p:nvSpPr>
          <p:cNvPr id="208" name="사각형: 둥근 모서리 207">
            <a:extLst>
              <a:ext uri="{FF2B5EF4-FFF2-40B4-BE49-F238E27FC236}">
                <a16:creationId xmlns:a16="http://schemas.microsoft.com/office/drawing/2014/main" id="{2C771CD8-275B-485A-B26B-0C98556A44E3}"/>
              </a:ext>
            </a:extLst>
          </p:cNvPr>
          <p:cNvSpPr/>
          <p:nvPr/>
        </p:nvSpPr>
        <p:spPr>
          <a:xfrm>
            <a:off x="1422383" y="565286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CB2205B-14D3-A29F-568F-9B9889CE21A5}"/>
              </a:ext>
            </a:extLst>
          </p:cNvPr>
          <p:cNvSpPr/>
          <p:nvPr/>
        </p:nvSpPr>
        <p:spPr>
          <a:xfrm>
            <a:off x="1443023" y="3668526"/>
            <a:ext cx="2726066" cy="22501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팩스 번호 삭제</a:t>
            </a:r>
          </a:p>
        </p:txBody>
      </p:sp>
    </p:spTree>
    <p:extLst>
      <p:ext uri="{BB962C8B-B14F-4D97-AF65-F5344CB8AC3E}">
        <p14:creationId xmlns:p14="http://schemas.microsoft.com/office/powerpoint/2010/main" val="317468885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그림 34">
            <a:extLst>
              <a:ext uri="{FF2B5EF4-FFF2-40B4-BE49-F238E27FC236}">
                <a16:creationId xmlns:a16="http://schemas.microsoft.com/office/drawing/2014/main" id="{367EF665-31BB-48AB-A6FE-4811C09325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pic>
        <p:nvPicPr>
          <p:cNvPr id="36" name="그림 35">
            <a:extLst>
              <a:ext uri="{FF2B5EF4-FFF2-40B4-BE49-F238E27FC236}">
                <a16:creationId xmlns:a16="http://schemas.microsoft.com/office/drawing/2014/main" id="{CBE0AEF5-2409-4800-A811-D56179447C5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-25000"/>
                    </a14:imgEffect>
                  </a14:imgLayer>
                </a14:imgProps>
              </a:ext>
            </a:extLst>
          </a:blip>
          <a:srcRect l="1065"/>
          <a:stretch/>
        </p:blipFill>
        <p:spPr>
          <a:xfrm>
            <a:off x="332993" y="1134965"/>
            <a:ext cx="8794120" cy="5560034"/>
          </a:xfrm>
          <a:prstGeom prst="rect">
            <a:avLst/>
          </a:prstGeom>
        </p:spPr>
      </p:pic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-15631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조회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6798161"/>
              </p:ext>
            </p:extLst>
          </p:nvPr>
        </p:nvGraphicFramePr>
        <p:xfrm>
          <a:off x="9267391" y="759198"/>
          <a:ext cx="2922885" cy="42572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딩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 영역을 공란으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검색을 위한 검색어를 입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글자 이상 입력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1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현재 팝업이 회원가입 단계</a:t>
                      </a:r>
                      <a:r>
                        <a:rPr lang="en-US" altLang="ko-KR" sz="800" b="1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[H003 - </a:t>
                      </a:r>
                      <a:r>
                        <a:rPr lang="ko-KR" altLang="en-US" sz="800" b="1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가입 등록</a:t>
                      </a:r>
                      <a:r>
                        <a:rPr lang="en-US" altLang="ko-KR" sz="800" b="1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1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변경</a:t>
                      </a:r>
                      <a:r>
                        <a:rPr lang="en-US" altLang="ko-KR" sz="800" b="1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1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800" b="1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1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서 생성되는 경우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가 없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접 입력 가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예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검색결과가 없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된 소속의 정보가 없습니까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?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명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업자등록번호      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입력 후 조회 버튼 클릭 시 하단 그리드에 조회 내역 출력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내역 초기화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172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선택 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한 기관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M014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관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 조건으로 추가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</a:tbl>
          </a:graphicData>
        </a:graphic>
      </p:graphicFrame>
      <p:grpSp>
        <p:nvGrpSpPr>
          <p:cNvPr id="2" name="그룹 1">
            <a:extLst>
              <a:ext uri="{FF2B5EF4-FFF2-40B4-BE49-F238E27FC236}">
                <a16:creationId xmlns:a16="http://schemas.microsoft.com/office/drawing/2014/main" id="{818FD882-EA28-4C10-811C-80CC7EBF4DBF}"/>
              </a:ext>
            </a:extLst>
          </p:cNvPr>
          <p:cNvGrpSpPr/>
          <p:nvPr/>
        </p:nvGrpSpPr>
        <p:grpSpPr>
          <a:xfrm>
            <a:off x="2639616" y="948354"/>
            <a:ext cx="6142116" cy="3848798"/>
            <a:chOff x="8489427" y="1269948"/>
            <a:chExt cx="6142116" cy="3712436"/>
          </a:xfrm>
        </p:grpSpPr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87C7B09F-DDAD-4BFD-AE3A-A6424CF5156F}"/>
                </a:ext>
              </a:extLst>
            </p:cNvPr>
            <p:cNvGrpSpPr/>
            <p:nvPr/>
          </p:nvGrpSpPr>
          <p:grpSpPr>
            <a:xfrm>
              <a:off x="8489427" y="1269948"/>
              <a:ext cx="6142116" cy="3712436"/>
              <a:chOff x="4445612" y="864499"/>
              <a:chExt cx="6142116" cy="3712436"/>
            </a:xfrm>
          </p:grpSpPr>
          <p:sp>
            <p:nvSpPr>
              <p:cNvPr id="177" name="직사각형 176">
                <a:extLst>
                  <a:ext uri="{FF2B5EF4-FFF2-40B4-BE49-F238E27FC236}">
                    <a16:creationId xmlns:a16="http://schemas.microsoft.com/office/drawing/2014/main" id="{C8404311-C131-4218-8390-EE5548700B64}"/>
                  </a:ext>
                </a:extLst>
              </p:cNvPr>
              <p:cNvSpPr/>
              <p:nvPr/>
            </p:nvSpPr>
            <p:spPr>
              <a:xfrm>
                <a:off x="4445612" y="1097604"/>
                <a:ext cx="6142116" cy="3479331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76C52221-18C0-4E6E-A248-9F81C924CFB0}"/>
                  </a:ext>
                </a:extLst>
              </p:cNvPr>
              <p:cNvGrpSpPr/>
              <p:nvPr/>
            </p:nvGrpSpPr>
            <p:grpSpPr>
              <a:xfrm>
                <a:off x="4446686" y="864499"/>
                <a:ext cx="6141042" cy="283115"/>
                <a:chOff x="4446686" y="864499"/>
                <a:chExt cx="6141042" cy="283115"/>
              </a:xfrm>
            </p:grpSpPr>
            <p:sp>
              <p:nvSpPr>
                <p:cNvPr id="178" name="직사각형 177">
                  <a:extLst>
                    <a:ext uri="{FF2B5EF4-FFF2-40B4-BE49-F238E27FC236}">
                      <a16:creationId xmlns:a16="http://schemas.microsoft.com/office/drawing/2014/main" id="{05701DBD-A54A-450E-9E59-5A7B6BD99456}"/>
                    </a:ext>
                  </a:extLst>
                </p:cNvPr>
                <p:cNvSpPr/>
                <p:nvPr/>
              </p:nvSpPr>
              <p:spPr>
                <a:xfrm>
                  <a:off x="4446686" y="864499"/>
                  <a:ext cx="6141042" cy="283115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ctr" anchorCtr="0"/>
                <a:lstStyle/>
                <a:p>
                  <a:r>
                    <a:rPr lang="ko-KR" altLang="en-US" sz="1000" b="1" dirty="0">
                      <a:solidFill>
                        <a:schemeClr val="bg1"/>
                      </a:solidFill>
                      <a:latin typeface="+mn-ea"/>
                      <a:cs typeface="Segoe UI" panose="020B0502040204020203" pitchFamily="34" charset="0"/>
                    </a:rPr>
                    <a:t>소속 조회</a:t>
                  </a:r>
                </a:p>
              </p:txBody>
            </p:sp>
            <p:sp>
              <p:nvSpPr>
                <p:cNvPr id="179" name="TextBox 178">
                  <a:extLst>
                    <a:ext uri="{FF2B5EF4-FFF2-40B4-BE49-F238E27FC236}">
                      <a16:creationId xmlns:a16="http://schemas.microsoft.com/office/drawing/2014/main" id="{D3B15EE4-98A8-4EA4-A17E-57E38EFC64C9}"/>
                    </a:ext>
                  </a:extLst>
                </p:cNvPr>
                <p:cNvSpPr txBox="1"/>
                <p:nvPr/>
              </p:nvSpPr>
              <p:spPr>
                <a:xfrm>
                  <a:off x="10316155" y="877058"/>
                  <a:ext cx="216000" cy="25472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X</a:t>
                  </a:r>
                  <a:endParaRPr kumimoji="0" lang="ko-KR" alt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</p:grpSp>
        </p:grp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CE7CD262-1D12-4305-BB26-55944E73B260}"/>
                </a:ext>
              </a:extLst>
            </p:cNvPr>
            <p:cNvSpPr txBox="1"/>
            <p:nvPr/>
          </p:nvSpPr>
          <p:spPr>
            <a:xfrm>
              <a:off x="8681134" y="1662130"/>
              <a:ext cx="86538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소속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DF82711-DA1A-4887-BE22-977CA3FB9654}"/>
                </a:ext>
              </a:extLst>
            </p:cNvPr>
            <p:cNvSpPr txBox="1"/>
            <p:nvPr/>
          </p:nvSpPr>
          <p:spPr>
            <a:xfrm>
              <a:off x="8681134" y="1950394"/>
              <a:ext cx="86538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조회 결과</a:t>
              </a:r>
            </a:p>
          </p:txBody>
        </p:sp>
      </p:grp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3572BE66-3355-41EF-AF69-206F9B6AFDA7}"/>
              </a:ext>
            </a:extLst>
          </p:cNvPr>
          <p:cNvSpPr/>
          <p:nvPr/>
        </p:nvSpPr>
        <p:spPr>
          <a:xfrm>
            <a:off x="2662989" y="133564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5F00492-2179-4056-A970-AABBAA471A88}"/>
              </a:ext>
            </a:extLst>
          </p:cNvPr>
          <p:cNvSpPr/>
          <p:nvPr/>
        </p:nvSpPr>
        <p:spPr>
          <a:xfrm>
            <a:off x="3353848" y="1311984"/>
            <a:ext cx="1964091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 검색</a:t>
            </a:r>
          </a:p>
        </p:txBody>
      </p:sp>
      <p:graphicFrame>
        <p:nvGraphicFramePr>
          <p:cNvPr id="41" name="표 40">
            <a:extLst>
              <a:ext uri="{FF2B5EF4-FFF2-40B4-BE49-F238E27FC236}">
                <a16:creationId xmlns:a16="http://schemas.microsoft.com/office/drawing/2014/main" id="{C73104ED-AF3B-4CD2-865B-0C64E835599C}"/>
              </a:ext>
            </a:extLst>
          </p:cNvPr>
          <p:cNvGraphicFramePr>
            <a:graphicFrameLocks noGrp="1"/>
          </p:cNvGraphicFramePr>
          <p:nvPr/>
        </p:nvGraphicFramePr>
        <p:xfrm>
          <a:off x="2829523" y="2081768"/>
          <a:ext cx="5615340" cy="2499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9248">
                  <a:extLst>
                    <a:ext uri="{9D8B030D-6E8A-4147-A177-3AD203B41FA5}">
                      <a16:colId xmlns:a16="http://schemas.microsoft.com/office/drawing/2014/main" val="4210229955"/>
                    </a:ext>
                  </a:extLst>
                </a:gridCol>
                <a:gridCol w="2613046">
                  <a:extLst>
                    <a:ext uri="{9D8B030D-6E8A-4147-A177-3AD203B41FA5}">
                      <a16:colId xmlns:a16="http://schemas.microsoft.com/office/drawing/2014/main" val="1716352177"/>
                    </a:ext>
                  </a:extLst>
                </a:gridCol>
                <a:gridCol w="2613046">
                  <a:extLst>
                    <a:ext uri="{9D8B030D-6E8A-4147-A177-3AD203B41FA5}">
                      <a16:colId xmlns:a16="http://schemas.microsoft.com/office/drawing/2014/main" val="3146456068"/>
                    </a:ext>
                  </a:extLst>
                </a:gridCol>
              </a:tblGrid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ko-KR" altLang="en-US" sz="8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업자등록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6839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</a:t>
                      </a:r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이크로컨텍솔루션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1417980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</a:t>
                      </a:r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포스코엠텍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2293495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J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네트웍스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0599159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K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홀딩스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018251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GF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테일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8476272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GF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3572010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NK</a:t>
                      </a:r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지주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1495215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YC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370149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J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2356059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J</a:t>
                      </a:r>
                      <a:r>
                        <a:rPr kumimoji="0" lang="ko-KR" altLang="en-US" sz="900" b="0" i="0" u="none" strike="noStrike" kern="1200" cap="none" spc="0" normalizeH="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씨푸드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###-##-####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741566"/>
                  </a:ext>
                </a:extLst>
              </a:tr>
            </a:tbl>
          </a:graphicData>
        </a:graphic>
      </p:graphicFrame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C485AE61-2FE0-40D9-8F6D-ADB0C5F283A4}"/>
              </a:ext>
            </a:extLst>
          </p:cNvPr>
          <p:cNvSpPr/>
          <p:nvPr/>
        </p:nvSpPr>
        <p:spPr>
          <a:xfrm>
            <a:off x="7792327" y="180889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입력</a:t>
            </a: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30FA16D2-48EF-4D86-B343-718DD27DE403}"/>
              </a:ext>
            </a:extLst>
          </p:cNvPr>
          <p:cNvSpPr/>
          <p:nvPr/>
        </p:nvSpPr>
        <p:spPr>
          <a:xfrm>
            <a:off x="7098601" y="180889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14844FF5-B185-4AF1-920C-76738BA08A86}"/>
              </a:ext>
            </a:extLst>
          </p:cNvPr>
          <p:cNvGrpSpPr/>
          <p:nvPr/>
        </p:nvGrpSpPr>
        <p:grpSpPr>
          <a:xfrm>
            <a:off x="2831323" y="1808894"/>
            <a:ext cx="696669" cy="172800"/>
            <a:chOff x="1260033" y="1778319"/>
            <a:chExt cx="696669" cy="172800"/>
          </a:xfrm>
        </p:grpSpPr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39E1A034-9237-4DA2-BAEA-5660775DE849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40B93B2A-BA86-4B68-8C7E-D877D704DC61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FF1D8942-7CF3-4FA7-8FD0-D1B29184DF17}"/>
              </a:ext>
            </a:extLst>
          </p:cNvPr>
          <p:cNvGrpSpPr/>
          <p:nvPr/>
        </p:nvGrpSpPr>
        <p:grpSpPr>
          <a:xfrm>
            <a:off x="3654291" y="1808894"/>
            <a:ext cx="696669" cy="172800"/>
            <a:chOff x="1260033" y="1778319"/>
            <a:chExt cx="696669" cy="172800"/>
          </a:xfrm>
        </p:grpSpPr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333E294B-B4B9-4466-87B5-E5A4BB787B59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50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8B9E435D-0DD3-410F-AE78-3ECFB50DE0B0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AB27B56C-B83C-4343-BA98-0443DCFD27BA}"/>
              </a:ext>
            </a:extLst>
          </p:cNvPr>
          <p:cNvSpPr/>
          <p:nvPr/>
        </p:nvSpPr>
        <p:spPr>
          <a:xfrm>
            <a:off x="6404875" y="180889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3305A21D-0FBB-48AE-8AAE-4FE877F0FB30}"/>
              </a:ext>
            </a:extLst>
          </p:cNvPr>
          <p:cNvSpPr/>
          <p:nvPr/>
        </p:nvSpPr>
        <p:spPr>
          <a:xfrm>
            <a:off x="7022856" y="17572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355E4D3B-B8E6-4CB0-B0BC-98AC19FC3F5A}"/>
              </a:ext>
            </a:extLst>
          </p:cNvPr>
          <p:cNvSpPr/>
          <p:nvPr/>
        </p:nvSpPr>
        <p:spPr>
          <a:xfrm>
            <a:off x="7736567" y="174949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031EE088-395E-440B-BCAC-15E7BC148AB5}"/>
              </a:ext>
            </a:extLst>
          </p:cNvPr>
          <p:cNvSpPr/>
          <p:nvPr/>
        </p:nvSpPr>
        <p:spPr>
          <a:xfrm>
            <a:off x="6329130" y="175726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7F549E9C-011C-444A-8E38-08CEF2F6892A}"/>
              </a:ext>
            </a:extLst>
          </p:cNvPr>
          <p:cNvSpPr/>
          <p:nvPr/>
        </p:nvSpPr>
        <p:spPr>
          <a:xfrm>
            <a:off x="10757043" y="2118998"/>
            <a:ext cx="1099995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직접입력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E771DF90-4CA1-4ACE-9E02-65DBD1FA2307}"/>
              </a:ext>
            </a:extLst>
          </p:cNvPr>
          <p:cNvSpPr/>
          <p:nvPr/>
        </p:nvSpPr>
        <p:spPr>
          <a:xfrm>
            <a:off x="10757043" y="2367125"/>
            <a:ext cx="1099995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직접입력</a:t>
            </a:r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AFAEBD3E-4DD4-4554-B574-12A69D899363}"/>
              </a:ext>
            </a:extLst>
          </p:cNvPr>
          <p:cNvSpPr/>
          <p:nvPr/>
        </p:nvSpPr>
        <p:spPr>
          <a:xfrm>
            <a:off x="11454124" y="2611456"/>
            <a:ext cx="576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E3BB1F04-7EA5-4D20-8924-7DC81283EE0E}"/>
              </a:ext>
            </a:extLst>
          </p:cNvPr>
          <p:cNvSpPr/>
          <p:nvPr/>
        </p:nvSpPr>
        <p:spPr>
          <a:xfrm>
            <a:off x="9032329" y="4431951"/>
            <a:ext cx="3098119" cy="23814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팝업 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+ 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팝업은 데이터 </a:t>
            </a:r>
            <a:r>
              <a:rPr lang="ko-KR" altLang="en-US" sz="1000" dirty="0" err="1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증복쓰기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UX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등의 이유로 가능한 사용제한이라 회원상세조회를 팝업이 아닌 화면으로 구현</a:t>
            </a:r>
          </a:p>
          <a:p>
            <a:pPr>
              <a:lnSpc>
                <a:spcPct val="100000"/>
              </a:lnSpc>
            </a:pP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검토 필요</a:t>
            </a:r>
            <a:endParaRPr lang="en-US" altLang="ko-KR" sz="10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endParaRPr lang="en-US" altLang="ko-KR" sz="10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회원상세조회 중에 백그라운드에 있을 회원조회 화면의 소속조회를 클릭할 수 있는지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.</a:t>
            </a:r>
          </a:p>
          <a:p>
            <a:pPr>
              <a:lnSpc>
                <a:spcPct val="100000"/>
              </a:lnSpc>
            </a:pPr>
            <a:endParaRPr lang="en-US" altLang="ko-KR" sz="10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[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답변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]</a:t>
            </a:r>
          </a:p>
          <a:p>
            <a:pPr>
              <a:lnSpc>
                <a:spcPct val="100000"/>
              </a:lnSpc>
            </a:pP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현재 팝업화면은 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M014-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회원조회 화면에서 연결되는 팝업으로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상기 이슈 존재하지 않음 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(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현재 팝업화면의 </a:t>
            </a:r>
            <a:r>
              <a:rPr lang="ko-KR" altLang="en-US" sz="1000" dirty="0" err="1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뒷배경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수정함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)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A8746A25-0B56-6CD4-9F97-F900E6BB171E}"/>
              </a:ext>
            </a:extLst>
          </p:cNvPr>
          <p:cNvSpPr/>
          <p:nvPr/>
        </p:nvSpPr>
        <p:spPr>
          <a:xfrm>
            <a:off x="126448" y="613068"/>
            <a:ext cx="11939104" cy="6151002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400" dirty="0">
                <a:solidFill>
                  <a:srgbClr val="FF0000"/>
                </a:solidFill>
              </a:rPr>
              <a:t>소속 검색</a:t>
            </a:r>
            <a:r>
              <a:rPr lang="en-US" altLang="ko-KR" sz="1400" dirty="0">
                <a:solidFill>
                  <a:srgbClr val="FF0000"/>
                </a:solidFill>
              </a:rPr>
              <a:t>/</a:t>
            </a:r>
            <a:r>
              <a:rPr lang="ko-KR" altLang="en-US" sz="1400" dirty="0">
                <a:solidFill>
                  <a:srgbClr val="FF0000"/>
                </a:solidFill>
              </a:rPr>
              <a:t>조회 기능 삭제</a:t>
            </a:r>
            <a:endParaRPr lang="en-US" altLang="ko-KR" sz="1400" dirty="0">
              <a:solidFill>
                <a:srgbClr val="FF0000"/>
              </a:solidFill>
            </a:endParaRPr>
          </a:p>
          <a:p>
            <a:pPr algn="ctr">
              <a:lnSpc>
                <a:spcPct val="100000"/>
              </a:lnSpc>
            </a:pPr>
            <a:r>
              <a:rPr lang="en-US" altLang="ko-KR" sz="1400" dirty="0">
                <a:solidFill>
                  <a:srgbClr val="FF0000"/>
                </a:solidFill>
              </a:rPr>
              <a:t>(23.10.20 / </a:t>
            </a:r>
            <a:r>
              <a:rPr lang="en-US" altLang="ko-KR" sz="1400" dirty="0" err="1">
                <a:solidFill>
                  <a:srgbClr val="FF0000"/>
                </a:solidFill>
              </a:rPr>
              <a:t>ver</a:t>
            </a:r>
            <a:r>
              <a:rPr lang="en-US" altLang="ko-KR" sz="1400" dirty="0">
                <a:solidFill>
                  <a:srgbClr val="FF0000"/>
                </a:solidFill>
              </a:rPr>
              <a:t> 1.7)</a:t>
            </a:r>
            <a:endParaRPr lang="ko-KR" alt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78514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/>
        </p:nvGraphicFramePr>
        <p:xfrm>
          <a:off x="345126" y="1459939"/>
          <a:ext cx="8630652" cy="10859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331496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 일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 상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T)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iz)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부서전달 ○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완료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유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서비스 제공 문의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스템 기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류 문의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가입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지 문의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게시 자료 문의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가 자료 요청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제휴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28944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4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청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운영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 운영관리자가 등록된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질의사항을 확인하여 처리할 수 있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5" cy="4205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값 기준으로 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02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 기준으로 기간설정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늘 날짜 기준으로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91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 중 택일하여 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T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iz),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부서전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답변완료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 중 복수 선택하여 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값을 선택하여 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제공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스템 기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오류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가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지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게시자료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가자료 요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서비스 제휴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를 입력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로 문의사항을 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기준 선택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기준 선택 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사항 목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된 문의사항과 관련 상태정보를 가져와서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 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00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 수 선택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00, 50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첫 페이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페이지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선택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 ~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페이지 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질의 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문의사항 상세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0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회원정보 상세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2585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78030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143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54686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사항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사항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grpSp>
        <p:nvGrpSpPr>
          <p:cNvPr id="34" name="그룹 33">
            <a:extLst>
              <a:ext uri="{FF2B5EF4-FFF2-40B4-BE49-F238E27FC236}">
                <a16:creationId xmlns:a16="http://schemas.microsoft.com/office/drawing/2014/main" id="{73D7B8F0-497D-4292-9F8C-E0111B9E5BF1}"/>
              </a:ext>
            </a:extLst>
          </p:cNvPr>
          <p:cNvGrpSpPr/>
          <p:nvPr/>
        </p:nvGrpSpPr>
        <p:grpSpPr>
          <a:xfrm>
            <a:off x="1382263" y="1490439"/>
            <a:ext cx="1697790" cy="180527"/>
            <a:chOff x="1260033" y="1514945"/>
            <a:chExt cx="1697790" cy="180527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2CB77E35-E495-48AC-933C-78143479AE3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4105991-6501-4168-8BA9-5D85EFD54B0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2F827555-4081-4261-9A9A-2148AC4049B3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01070033-EF9A-4A47-9A9E-D68F061C2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FE848C4E-6177-4ED8-8E14-42C73B29F256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26FC3911-9203-4AAB-9BBC-4B1B8159950D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0DD98797-A83A-434A-AD2E-BE76B395A606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>
                <a:extLst>
                  <a:ext uri="{FF2B5EF4-FFF2-40B4-BE49-F238E27FC236}">
                    <a16:creationId xmlns:a16="http://schemas.microsoft.com/office/drawing/2014/main" id="{CE0F8CC6-8026-4DAE-B6B9-8F986ED1D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0864696-D459-493D-8276-58432E01067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6BC7ADE-7CA8-4D08-BC41-B046D960B4B0}"/>
                </a:ext>
              </a:extLst>
            </p:cNvPr>
            <p:cNvSpPr/>
            <p:nvPr/>
          </p:nvSpPr>
          <p:spPr>
            <a:xfrm>
              <a:off x="1260033" y="1522517"/>
              <a:ext cx="671379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6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7E22A3D3-8F70-4E7D-995D-32C1C218FF75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6-14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5702557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4315166"/>
              </p:ext>
            </p:extLst>
          </p:nvPr>
        </p:nvGraphicFramePr>
        <p:xfrm>
          <a:off x="336268" y="2537473"/>
          <a:ext cx="8644038" cy="37143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4718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150608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864612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811487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1194228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1320445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</a:tblGrid>
              <a:tr h="260851">
                <a:tc gridSpan="6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51776">
                <a:tc gridSpan="6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21813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유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질의 제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상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삼일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서비스 제공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경영전략 및 중장기 계획 수립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홍길동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화학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미확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24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회원 가입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해지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회원 가입 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임꺽정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전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미확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2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삼일 서비스 제공 문의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평가 대응 관련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이순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증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담당부서 전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15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시스템 기능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웹뷰어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기능 중 주석 보기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장보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산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처리 중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(IT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678932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1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게시 자료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GRI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원문 및 사례에 대한 질의사항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황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유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답변 완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7636723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1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추가 자료 요청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기후리스크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측정 및 관리에 대한 추가 자료 요청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김유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전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답변 완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4098066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023.07.05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기타 문의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질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사내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인식 개선 활동 추진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강감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케미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담당부서 전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3432845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삼일 서비스 제공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경영전략 및 중장기 계획 수립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홍길동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화학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미확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9167152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24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회원 가입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해지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회원 가입 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임꺽정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전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미확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3314753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2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삼일 서비스 제공 문의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평가 대응 관련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이순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증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담당부서 전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9326273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15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시스템 기능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웹뷰어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기능 중 주석 보기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장보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산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처리 중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(IT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9603217"/>
                  </a:ext>
                </a:extLst>
              </a:tr>
              <a:tr h="2096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1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게시 자료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GRI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원문 및 사례에 대한 질의사항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황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유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답변 완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139922"/>
                  </a:ext>
                </a:extLst>
              </a:tr>
              <a:tr h="2337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265754"/>
                  </a:ext>
                </a:extLst>
              </a:tr>
              <a:tr h="2337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7251981"/>
                  </a:ext>
                </a:extLst>
              </a:tr>
            </a:tbl>
          </a:graphicData>
        </a:graphic>
      </p:graphicFrame>
      <p:sp>
        <p:nvSpPr>
          <p:cNvPr id="226" name="직사각형 225">
            <a:extLst>
              <a:ext uri="{FF2B5EF4-FFF2-40B4-BE49-F238E27FC236}">
                <a16:creationId xmlns:a16="http://schemas.microsoft.com/office/drawing/2014/main" id="{29405672-7434-45AF-BF2E-91D670F7E03E}"/>
              </a:ext>
            </a:extLst>
          </p:cNvPr>
          <p:cNvSpPr/>
          <p:nvPr/>
        </p:nvSpPr>
        <p:spPr>
          <a:xfrm>
            <a:off x="2554167" y="2014007"/>
            <a:ext cx="230091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내용입력</a:t>
            </a:r>
          </a:p>
        </p:txBody>
      </p:sp>
      <p:sp>
        <p:nvSpPr>
          <p:cNvPr id="246" name="직사각형 245">
            <a:extLst>
              <a:ext uri="{FF2B5EF4-FFF2-40B4-BE49-F238E27FC236}">
                <a16:creationId xmlns:a16="http://schemas.microsoft.com/office/drawing/2014/main" id="{CC0E8819-51CF-4A2D-84BA-B0B18935332F}"/>
              </a:ext>
            </a:extLst>
          </p:cNvPr>
          <p:cNvSpPr/>
          <p:nvPr/>
        </p:nvSpPr>
        <p:spPr>
          <a:xfrm>
            <a:off x="237999" y="254401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사항 목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3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68D49959-06F3-4903-A134-26F09648A310}"/>
              </a:ext>
            </a:extLst>
          </p:cNvPr>
          <p:cNvGrpSpPr/>
          <p:nvPr/>
        </p:nvGrpSpPr>
        <p:grpSpPr>
          <a:xfrm>
            <a:off x="426250" y="2827516"/>
            <a:ext cx="696669" cy="172800"/>
            <a:chOff x="1260033" y="1778319"/>
            <a:chExt cx="696669" cy="172800"/>
          </a:xfrm>
        </p:grpSpPr>
        <p:sp>
          <p:nvSpPr>
            <p:cNvPr id="248" name="직사각형 247">
              <a:extLst>
                <a:ext uri="{FF2B5EF4-FFF2-40B4-BE49-F238E27FC236}">
                  <a16:creationId xmlns:a16="http://schemas.microsoft.com/office/drawing/2014/main" id="{D313FC14-8E41-4A34-A380-BDEC8C41610F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35188099-E2F2-4722-9BB8-746C2C5E8E65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50" name="그룹 249">
            <a:extLst>
              <a:ext uri="{FF2B5EF4-FFF2-40B4-BE49-F238E27FC236}">
                <a16:creationId xmlns:a16="http://schemas.microsoft.com/office/drawing/2014/main" id="{6C26400A-F52F-4F37-888E-B201DF7F9311}"/>
              </a:ext>
            </a:extLst>
          </p:cNvPr>
          <p:cNvGrpSpPr/>
          <p:nvPr/>
        </p:nvGrpSpPr>
        <p:grpSpPr>
          <a:xfrm>
            <a:off x="1249218" y="2832746"/>
            <a:ext cx="696669" cy="172800"/>
            <a:chOff x="1260033" y="1778319"/>
            <a:chExt cx="696669" cy="172800"/>
          </a:xfrm>
        </p:grpSpPr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F0BB53B2-EE2B-4CAD-9A50-6FBA62D22083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5320BAA8-A8D9-4E08-9976-75471A982F2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23043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23043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106" name="그룹 105">
            <a:extLst>
              <a:ext uri="{FF2B5EF4-FFF2-40B4-BE49-F238E27FC236}">
                <a16:creationId xmlns:a16="http://schemas.microsoft.com/office/drawing/2014/main" id="{ABFE480A-41DD-44BA-94C5-F32330A68A6A}"/>
              </a:ext>
            </a:extLst>
          </p:cNvPr>
          <p:cNvGrpSpPr/>
          <p:nvPr/>
        </p:nvGrpSpPr>
        <p:grpSpPr>
          <a:xfrm>
            <a:off x="1393222" y="2014007"/>
            <a:ext cx="1065951" cy="172800"/>
            <a:chOff x="1418526" y="1508908"/>
            <a:chExt cx="1065951" cy="172800"/>
          </a:xfrm>
        </p:grpSpPr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3D049768-F3B9-4A4F-8E19-21639E22D30E}"/>
                </a:ext>
              </a:extLst>
            </p:cNvPr>
            <p:cNvSpPr/>
            <p:nvPr/>
          </p:nvSpPr>
          <p:spPr>
            <a:xfrm>
              <a:off x="1418526" y="1508908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제목</a:t>
              </a:r>
            </a:p>
          </p:txBody>
        </p:sp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D15CC15B-443F-4B6A-B73C-C53C59E50130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4EBF175F-42CC-442E-AA14-A21E217C82D5}"/>
              </a:ext>
            </a:extLst>
          </p:cNvPr>
          <p:cNvSpPr/>
          <p:nvPr/>
        </p:nvSpPr>
        <p:spPr>
          <a:xfrm>
            <a:off x="3182448" y="1497975"/>
            <a:ext cx="540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</a:t>
            </a:r>
          </a:p>
        </p:txBody>
      </p:sp>
      <p:sp>
        <p:nvSpPr>
          <p:cNvPr id="67" name="사각형: 둥근 모서리 66">
            <a:extLst>
              <a:ext uri="{FF2B5EF4-FFF2-40B4-BE49-F238E27FC236}">
                <a16:creationId xmlns:a16="http://schemas.microsoft.com/office/drawing/2014/main" id="{1E78D2B4-067D-44A5-9454-96DD8AC2F95D}"/>
              </a:ext>
            </a:extLst>
          </p:cNvPr>
          <p:cNvSpPr/>
          <p:nvPr/>
        </p:nvSpPr>
        <p:spPr>
          <a:xfrm>
            <a:off x="3812950" y="1497975"/>
            <a:ext cx="540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</a:t>
            </a:r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1A699F65-4A6E-4E3D-877E-42A7E41EB813}"/>
              </a:ext>
            </a:extLst>
          </p:cNvPr>
          <p:cNvSpPr/>
          <p:nvPr/>
        </p:nvSpPr>
        <p:spPr>
          <a:xfrm>
            <a:off x="1135870" y="153266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9F8842B8-189D-44B7-920F-4A1A1EE09D04}"/>
              </a:ext>
            </a:extLst>
          </p:cNvPr>
          <p:cNvSpPr/>
          <p:nvPr/>
        </p:nvSpPr>
        <p:spPr>
          <a:xfrm>
            <a:off x="5570875" y="153266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126D3172-4B7D-43FB-B252-DF93CB85D10B}"/>
              </a:ext>
            </a:extLst>
          </p:cNvPr>
          <p:cNvSpPr/>
          <p:nvPr/>
        </p:nvSpPr>
        <p:spPr>
          <a:xfrm>
            <a:off x="1135870" y="18006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E541DE2E-3E9C-43A8-80D4-74DB4BCE96B3}"/>
              </a:ext>
            </a:extLst>
          </p:cNvPr>
          <p:cNvSpPr/>
          <p:nvPr/>
        </p:nvSpPr>
        <p:spPr>
          <a:xfrm>
            <a:off x="1135870" y="205101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CEA21AEA-F6C3-4AB5-95AE-569730790007}"/>
              </a:ext>
            </a:extLst>
          </p:cNvPr>
          <p:cNvSpPr/>
          <p:nvPr/>
        </p:nvSpPr>
        <p:spPr>
          <a:xfrm>
            <a:off x="318208" y="269527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47830D6B-308B-422F-AD97-302223425A7A}"/>
              </a:ext>
            </a:extLst>
          </p:cNvPr>
          <p:cNvSpPr/>
          <p:nvPr/>
        </p:nvSpPr>
        <p:spPr>
          <a:xfrm>
            <a:off x="2711624" y="33077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4" name="사각형: 둥근 모서리 43">
            <a:extLst>
              <a:ext uri="{FF2B5EF4-FFF2-40B4-BE49-F238E27FC236}">
                <a16:creationId xmlns:a16="http://schemas.microsoft.com/office/drawing/2014/main" id="{5FB35F32-CADE-476D-9101-1D03B174AA87}"/>
              </a:ext>
            </a:extLst>
          </p:cNvPr>
          <p:cNvSpPr/>
          <p:nvPr/>
        </p:nvSpPr>
        <p:spPr>
          <a:xfrm>
            <a:off x="5570875" y="330779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3210754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/>
        </p:nvGraphicFramePr>
        <p:xfrm>
          <a:off x="345126" y="1459939"/>
          <a:ext cx="8630652" cy="10859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331496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 일자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 상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 중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T)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처리 중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iz)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담당부서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달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유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비스 제공문의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스템 기능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류 문의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원 가입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지 문의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게시 자료 문의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가 자료 요청    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 문의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질의 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28944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4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0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청 상세 조회 및 답변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 운영관리자가 등록된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질의사항을 확인하여 처리할 수 있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5472421"/>
              </p:ext>
            </p:extLst>
          </p:nvPr>
        </p:nvGraphicFramePr>
        <p:xfrm>
          <a:off x="9267391" y="759199"/>
          <a:ext cx="2922885" cy="41712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된 문의사항과 관련된 내용으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사항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존 답변이나 메모가 있는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함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02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답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답변 내용을 텍스트 형태로 입력하여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91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담당자 메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담당자가 업무 확인을 위해 필요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내용을 텍스트 형태로 기술하여 등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란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16224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 값을 선택하여 변경 등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음 상태 값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으로 제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&gt;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T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또는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iz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T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또는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iz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또는 부서전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완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태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T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Biz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담당부서전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완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처리상태 완료로 변경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고객 이메일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E0301E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문의 답변 완료 메시지 자동 발송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E0301E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lt;23.07.31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E0301E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E0301E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0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2585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78030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143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54686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사항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사항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·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청 조회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66" name="표 66">
            <a:extLst>
              <a:ext uri="{FF2B5EF4-FFF2-40B4-BE49-F238E27FC236}">
                <a16:creationId xmlns:a16="http://schemas.microsoft.com/office/drawing/2014/main" id="{E165D382-A473-42A5-96CC-E5DEF930B93B}"/>
              </a:ext>
            </a:extLst>
          </p:cNvPr>
          <p:cNvGraphicFramePr>
            <a:graphicFrameLocks noGrp="1"/>
          </p:cNvGraphicFramePr>
          <p:nvPr/>
        </p:nvGraphicFramePr>
        <p:xfrm>
          <a:off x="336268" y="2537472"/>
          <a:ext cx="8644038" cy="414640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47186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150608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864612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811487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1194228">
                  <a:extLst>
                    <a:ext uri="{9D8B030D-6E8A-4147-A177-3AD203B41FA5}">
                      <a16:colId xmlns:a16="http://schemas.microsoft.com/office/drawing/2014/main" val="3449083174"/>
                    </a:ext>
                  </a:extLst>
                </a:gridCol>
                <a:gridCol w="1320445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</a:tblGrid>
              <a:tr h="295988">
                <a:tc gridSpan="6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5689">
                <a:tc gridSpan="6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23380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유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질의 제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상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서비스 제공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경영전략 및 중장기 계획 수립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홍길동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화학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미확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24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회원 가입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해지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회원 가입 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임꺽정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전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미확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2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서비스 제공 문의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평가 대응 관련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이순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증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담당부서 전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15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시스템 기능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웹뷰어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기능 중 주석 보기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장보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산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처리 중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(IT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678932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1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게시 자료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GRI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원문 및 사례에 대한 질의사항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황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유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답변 완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7636723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1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추가 자료 요청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기후리스크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측정 및 관리에 대한 추가 자료 요청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김유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전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답변 완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4098066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023.07.05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기타 문의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질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사내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인식 개선 활동 추진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강감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케미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담당부서 전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3432845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서비스 제공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경영전략 및 중장기 계획 수립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홍길동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화학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미확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9167152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24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회원 가입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해지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회원 가입 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임꺽정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전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미확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3314753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2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서비스 제공 문의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평가 대응 관련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이순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증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담당부서 전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9326273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15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시스템 기능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웹뷰어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기능 중 주석 보기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장보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산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처리 중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(IT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9603217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1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게시 자료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GRI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원문 및 사례에 대한 질의사항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황희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유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답변 완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139922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265754"/>
                  </a:ext>
                </a:extLst>
              </a:tr>
              <a:tr h="237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7251981"/>
                  </a:ext>
                </a:extLst>
              </a:tr>
            </a:tbl>
          </a:graphicData>
        </a:graphic>
      </p:graphicFrame>
      <p:grpSp>
        <p:nvGrpSpPr>
          <p:cNvPr id="2" name="그룹 1">
            <a:extLst>
              <a:ext uri="{FF2B5EF4-FFF2-40B4-BE49-F238E27FC236}">
                <a16:creationId xmlns:a16="http://schemas.microsoft.com/office/drawing/2014/main" id="{F5A80B60-B1BF-449F-B775-7F7DB4BAB4B2}"/>
              </a:ext>
            </a:extLst>
          </p:cNvPr>
          <p:cNvGrpSpPr/>
          <p:nvPr/>
        </p:nvGrpSpPr>
        <p:grpSpPr>
          <a:xfrm>
            <a:off x="237999" y="1490439"/>
            <a:ext cx="5209929" cy="1576070"/>
            <a:chOff x="237999" y="1490439"/>
            <a:chExt cx="5209929" cy="1576070"/>
          </a:xfrm>
        </p:grpSpPr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73D7B8F0-497D-4292-9F8C-E0111B9E5BF1}"/>
                </a:ext>
              </a:extLst>
            </p:cNvPr>
            <p:cNvGrpSpPr/>
            <p:nvPr/>
          </p:nvGrpSpPr>
          <p:grpSpPr>
            <a:xfrm>
              <a:off x="1382263" y="1490439"/>
              <a:ext cx="1697790" cy="180527"/>
              <a:chOff x="1260033" y="1514945"/>
              <a:chExt cx="1697790" cy="180527"/>
            </a:xfrm>
          </p:grpSpPr>
          <p:grpSp>
            <p:nvGrpSpPr>
              <p:cNvPr id="26" name="그룹 25">
                <a:extLst>
                  <a:ext uri="{FF2B5EF4-FFF2-40B4-BE49-F238E27FC236}">
                    <a16:creationId xmlns:a16="http://schemas.microsoft.com/office/drawing/2014/main" id="{2CB77E35-E495-48AC-933C-78143479AE3B}"/>
                  </a:ext>
                </a:extLst>
              </p:cNvPr>
              <p:cNvGrpSpPr/>
              <p:nvPr/>
            </p:nvGrpSpPr>
            <p:grpSpPr>
              <a:xfrm>
                <a:off x="1260034" y="1522883"/>
                <a:ext cx="767981" cy="172589"/>
                <a:chOff x="1260034" y="1522884"/>
                <a:chExt cx="767981" cy="144000"/>
              </a:xfrm>
            </p:grpSpPr>
            <p:sp>
              <p:nvSpPr>
                <p:cNvPr id="16" name="직사각형 15">
                  <a:extLst>
                    <a:ext uri="{FF2B5EF4-FFF2-40B4-BE49-F238E27FC236}">
                      <a16:creationId xmlns:a16="http://schemas.microsoft.com/office/drawing/2014/main" id="{54105991-6501-4168-8BA9-5D85EFD54B01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24" name="직사각형 23">
                  <a:extLst>
                    <a:ext uri="{FF2B5EF4-FFF2-40B4-BE49-F238E27FC236}">
                      <a16:creationId xmlns:a16="http://schemas.microsoft.com/office/drawing/2014/main" id="{2F827555-4081-4261-9A9A-2148AC4049B3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23" name="그림 22">
                  <a:extLst>
                    <a:ext uri="{FF2B5EF4-FFF2-40B4-BE49-F238E27FC236}">
                      <a16:creationId xmlns:a16="http://schemas.microsoft.com/office/drawing/2014/main" id="{01070033-EF9A-4A47-9A9E-D68F061C23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grpSp>
            <p:nvGrpSpPr>
              <p:cNvPr id="70" name="그룹 69">
                <a:extLst>
                  <a:ext uri="{FF2B5EF4-FFF2-40B4-BE49-F238E27FC236}">
                    <a16:creationId xmlns:a16="http://schemas.microsoft.com/office/drawing/2014/main" id="{FE848C4E-6177-4ED8-8E14-42C73B29F256}"/>
                  </a:ext>
                </a:extLst>
              </p:cNvPr>
              <p:cNvGrpSpPr/>
              <p:nvPr/>
            </p:nvGrpSpPr>
            <p:grpSpPr>
              <a:xfrm>
                <a:off x="2177088" y="1522883"/>
                <a:ext cx="780735" cy="172589"/>
                <a:chOff x="1260034" y="1522884"/>
                <a:chExt cx="780735" cy="144000"/>
              </a:xfrm>
            </p:grpSpPr>
            <p:sp>
              <p:nvSpPr>
                <p:cNvPr id="72" name="직사각형 71">
                  <a:extLst>
                    <a:ext uri="{FF2B5EF4-FFF2-40B4-BE49-F238E27FC236}">
                      <a16:creationId xmlns:a16="http://schemas.microsoft.com/office/drawing/2014/main" id="{26FC3911-9203-4AAB-9BBC-4B1B8159950D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25672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78" name="직사각형 77">
                  <a:extLst>
                    <a:ext uri="{FF2B5EF4-FFF2-40B4-BE49-F238E27FC236}">
                      <a16:creationId xmlns:a16="http://schemas.microsoft.com/office/drawing/2014/main" id="{0DD98797-A83A-434A-AD2E-BE76B395A606}"/>
                    </a:ext>
                  </a:extLst>
                </p:cNvPr>
                <p:cNvSpPr/>
                <p:nvPr/>
              </p:nvSpPr>
              <p:spPr>
                <a:xfrm>
                  <a:off x="1891851" y="1526539"/>
                  <a:ext cx="148918" cy="13769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81" name="그림 80">
                  <a:extLst>
                    <a:ext uri="{FF2B5EF4-FFF2-40B4-BE49-F238E27FC236}">
                      <a16:creationId xmlns:a16="http://schemas.microsoft.com/office/drawing/2014/main" id="{CE0F8CC6-8026-4DAE-B6B9-8F986ED1D3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8983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50864696-D459-493D-8276-58432E010678}"/>
                  </a:ext>
                </a:extLst>
              </p:cNvPr>
              <p:cNvSpPr/>
              <p:nvPr/>
            </p:nvSpPr>
            <p:spPr>
              <a:xfrm>
                <a:off x="2037897" y="1514945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16BC7ADE-7CA8-4D08-BC41-B046D960B4B0}"/>
                  </a:ext>
                </a:extLst>
              </p:cNvPr>
              <p:cNvSpPr/>
              <p:nvPr/>
            </p:nvSpPr>
            <p:spPr>
              <a:xfrm>
                <a:off x="1260033" y="1522517"/>
                <a:ext cx="671379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7E22A3D3-8F70-4E7D-995D-32C1C218FF75}"/>
                  </a:ext>
                </a:extLst>
              </p:cNvPr>
              <p:cNvSpPr/>
              <p:nvPr/>
            </p:nvSpPr>
            <p:spPr>
              <a:xfrm>
                <a:off x="2129446" y="1522883"/>
                <a:ext cx="720080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3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29405672-7434-45AF-BF2E-91D670F7E03E}"/>
                </a:ext>
              </a:extLst>
            </p:cNvPr>
            <p:cNvSpPr/>
            <p:nvPr/>
          </p:nvSpPr>
          <p:spPr>
            <a:xfrm>
              <a:off x="2554167" y="2014007"/>
              <a:ext cx="2300919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검색내용입력</a:t>
              </a:r>
            </a:p>
          </p:txBody>
        </p:sp>
        <p:sp>
          <p:nvSpPr>
            <p:cNvPr id="246" name="직사각형 245">
              <a:extLst>
                <a:ext uri="{FF2B5EF4-FFF2-40B4-BE49-F238E27FC236}">
                  <a16:creationId xmlns:a16="http://schemas.microsoft.com/office/drawing/2014/main" id="{CC0E8819-51CF-4A2D-84BA-B0B18935332F}"/>
                </a:ext>
              </a:extLst>
            </p:cNvPr>
            <p:cNvSpPr/>
            <p:nvPr/>
          </p:nvSpPr>
          <p:spPr>
            <a:xfrm>
              <a:off x="237999" y="2544016"/>
              <a:ext cx="1665236" cy="2872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문의사항 목록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- 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총 </a:t>
              </a:r>
              <a:r>
                <a:rPr lang="en-US" altLang="ko-KR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23</a:t>
              </a:r>
              <a:r>
                <a:rPr lang="ko-KR" altLang="en-US" sz="9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건</a:t>
              </a:r>
            </a:p>
          </p:txBody>
        </p:sp>
        <p:grpSp>
          <p:nvGrpSpPr>
            <p:cNvPr id="247" name="그룹 246">
              <a:extLst>
                <a:ext uri="{FF2B5EF4-FFF2-40B4-BE49-F238E27FC236}">
                  <a16:creationId xmlns:a16="http://schemas.microsoft.com/office/drawing/2014/main" id="{68D49959-06F3-4903-A134-26F09648A310}"/>
                </a:ext>
              </a:extLst>
            </p:cNvPr>
            <p:cNvGrpSpPr/>
            <p:nvPr/>
          </p:nvGrpSpPr>
          <p:grpSpPr>
            <a:xfrm>
              <a:off x="426250" y="2888479"/>
              <a:ext cx="696669" cy="172800"/>
              <a:chOff x="1260033" y="1778319"/>
              <a:chExt cx="696669" cy="172800"/>
            </a:xfrm>
          </p:grpSpPr>
          <p:sp>
            <p:nvSpPr>
              <p:cNvPr id="248" name="직사각형 247">
                <a:extLst>
                  <a:ext uri="{FF2B5EF4-FFF2-40B4-BE49-F238E27FC236}">
                    <a16:creationId xmlns:a16="http://schemas.microsoft.com/office/drawing/2014/main" id="{D313FC14-8E41-4A34-A380-BDEC8C41610F}"/>
                  </a:ext>
                </a:extLst>
              </p:cNvPr>
              <p:cNvSpPr/>
              <p:nvPr/>
            </p:nvSpPr>
            <p:spPr>
              <a:xfrm>
                <a:off x="1260033" y="1778319"/>
                <a:ext cx="480645" cy="1728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00</a:t>
                </a:r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개</a:t>
                </a:r>
              </a:p>
            </p:txBody>
          </p:sp>
          <p:sp>
            <p:nvSpPr>
              <p:cNvPr id="249" name="직사각형 248">
                <a:extLst>
                  <a:ext uri="{FF2B5EF4-FFF2-40B4-BE49-F238E27FC236}">
                    <a16:creationId xmlns:a16="http://schemas.microsoft.com/office/drawing/2014/main" id="{35188099-E2F2-4722-9BB8-746C2C5E8E65}"/>
                  </a:ext>
                </a:extLst>
              </p:cNvPr>
              <p:cNvSpPr/>
              <p:nvPr/>
            </p:nvSpPr>
            <p:spPr>
              <a:xfrm>
                <a:off x="1740678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grpSp>
          <p:nvGrpSpPr>
            <p:cNvPr id="250" name="그룹 249">
              <a:extLst>
                <a:ext uri="{FF2B5EF4-FFF2-40B4-BE49-F238E27FC236}">
                  <a16:creationId xmlns:a16="http://schemas.microsoft.com/office/drawing/2014/main" id="{6C26400A-F52F-4F37-888E-B201DF7F9311}"/>
                </a:ext>
              </a:extLst>
            </p:cNvPr>
            <p:cNvGrpSpPr/>
            <p:nvPr/>
          </p:nvGrpSpPr>
          <p:grpSpPr>
            <a:xfrm>
              <a:off x="1249218" y="2893709"/>
              <a:ext cx="696669" cy="172800"/>
              <a:chOff x="1260033" y="1778319"/>
              <a:chExt cx="696669" cy="172800"/>
            </a:xfrm>
          </p:grpSpPr>
          <p:sp>
            <p:nvSpPr>
              <p:cNvPr id="251" name="직사각형 250">
                <a:extLst>
                  <a:ext uri="{FF2B5EF4-FFF2-40B4-BE49-F238E27FC236}">
                    <a16:creationId xmlns:a16="http://schemas.microsoft.com/office/drawing/2014/main" id="{F0BB53B2-EE2B-4CAD-9A50-6FBA62D22083}"/>
                  </a:ext>
                </a:extLst>
              </p:cNvPr>
              <p:cNvSpPr/>
              <p:nvPr/>
            </p:nvSpPr>
            <p:spPr>
              <a:xfrm>
                <a:off x="1260033" y="1778319"/>
                <a:ext cx="480645" cy="1728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/2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52" name="직사각형 251">
                <a:extLst>
                  <a:ext uri="{FF2B5EF4-FFF2-40B4-BE49-F238E27FC236}">
                    <a16:creationId xmlns:a16="http://schemas.microsoft.com/office/drawing/2014/main" id="{5320BAA8-A8D9-4E08-9976-75471A982F2F}"/>
                  </a:ext>
                </a:extLst>
              </p:cNvPr>
              <p:cNvSpPr/>
              <p:nvPr/>
            </p:nvSpPr>
            <p:spPr>
              <a:xfrm>
                <a:off x="1740678" y="1778638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254" name="사각형: 둥근 모서리 253">
              <a:extLst>
                <a:ext uri="{FF2B5EF4-FFF2-40B4-BE49-F238E27FC236}">
                  <a16:creationId xmlns:a16="http://schemas.microsoft.com/office/drawing/2014/main" id="{8EC27BE3-484C-45BA-8FC0-E42A83E9C7F1}"/>
                </a:ext>
              </a:extLst>
            </p:cNvPr>
            <p:cNvSpPr/>
            <p:nvPr/>
          </p:nvSpPr>
          <p:spPr>
            <a:xfrm>
              <a:off x="4085841" y="2304304"/>
              <a:ext cx="652535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조회</a:t>
              </a:r>
            </a:p>
          </p:txBody>
        </p:sp>
        <p:sp>
          <p:nvSpPr>
            <p:cNvPr id="255" name="사각형: 둥근 모서리 254">
              <a:extLst>
                <a:ext uri="{FF2B5EF4-FFF2-40B4-BE49-F238E27FC236}">
                  <a16:creationId xmlns:a16="http://schemas.microsoft.com/office/drawing/2014/main" id="{FD2ED7F2-F775-4EF3-9F91-4405BE241A32}"/>
                </a:ext>
              </a:extLst>
            </p:cNvPr>
            <p:cNvSpPr/>
            <p:nvPr/>
          </p:nvSpPr>
          <p:spPr>
            <a:xfrm>
              <a:off x="4795393" y="2304304"/>
              <a:ext cx="652535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초기화</a:t>
              </a:r>
            </a:p>
          </p:txBody>
        </p: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ABFE480A-41DD-44BA-94C5-F32330A68A6A}"/>
                </a:ext>
              </a:extLst>
            </p:cNvPr>
            <p:cNvGrpSpPr/>
            <p:nvPr/>
          </p:nvGrpSpPr>
          <p:grpSpPr>
            <a:xfrm>
              <a:off x="1393222" y="2014007"/>
              <a:ext cx="1065951" cy="172800"/>
              <a:chOff x="1418526" y="1508908"/>
              <a:chExt cx="1065951" cy="172800"/>
            </a:xfrm>
          </p:grpSpPr>
          <p:sp>
            <p:nvSpPr>
              <p:cNvPr id="107" name="직사각형 106">
                <a:extLst>
                  <a:ext uri="{FF2B5EF4-FFF2-40B4-BE49-F238E27FC236}">
                    <a16:creationId xmlns:a16="http://schemas.microsoft.com/office/drawing/2014/main" id="{3D049768-F3B9-4A4F-8E19-21639E22D30E}"/>
                  </a:ext>
                </a:extLst>
              </p:cNvPr>
              <p:cNvSpPr/>
              <p:nvPr/>
            </p:nvSpPr>
            <p:spPr>
              <a:xfrm>
                <a:off x="1418526" y="1508908"/>
                <a:ext cx="851394" cy="1728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72000" rtlCol="0" anchor="ctr"/>
              <a:lstStyle/>
              <a:p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제목</a:t>
                </a:r>
              </a:p>
            </p:txBody>
          </p:sp>
          <p:sp>
            <p:nvSpPr>
              <p:cNvPr id="108" name="직사각형 107">
                <a:extLst>
                  <a:ext uri="{FF2B5EF4-FFF2-40B4-BE49-F238E27FC236}">
                    <a16:creationId xmlns:a16="http://schemas.microsoft.com/office/drawing/2014/main" id="{D15CC15B-443F-4B6A-B73C-C53C59E50130}"/>
                  </a:ext>
                </a:extLst>
              </p:cNvPr>
              <p:cNvSpPr/>
              <p:nvPr/>
            </p:nvSpPr>
            <p:spPr>
              <a:xfrm>
                <a:off x="2268453" y="1509227"/>
                <a:ext cx="216024" cy="172481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▼</a:t>
                </a:r>
              </a:p>
            </p:txBody>
          </p:sp>
        </p:grpSp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4EBF175F-42CC-442E-AA14-A21E217C82D5}"/>
                </a:ext>
              </a:extLst>
            </p:cNvPr>
            <p:cNvSpPr/>
            <p:nvPr/>
          </p:nvSpPr>
          <p:spPr>
            <a:xfrm>
              <a:off x="3182448" y="1497975"/>
              <a:ext cx="540000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월</a:t>
              </a:r>
            </a:p>
          </p:txBody>
        </p:sp>
        <p:sp>
          <p:nvSpPr>
            <p:cNvPr id="67" name="사각형: 둥근 모서리 66">
              <a:extLst>
                <a:ext uri="{FF2B5EF4-FFF2-40B4-BE49-F238E27FC236}">
                  <a16:creationId xmlns:a16="http://schemas.microsoft.com/office/drawing/2014/main" id="{1E78D2B4-067D-44A5-9454-96DD8AC2F95D}"/>
                </a:ext>
              </a:extLst>
            </p:cNvPr>
            <p:cNvSpPr/>
            <p:nvPr/>
          </p:nvSpPr>
          <p:spPr>
            <a:xfrm>
              <a:off x="3812950" y="1497975"/>
              <a:ext cx="540000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월</a:t>
              </a:r>
            </a:p>
          </p:txBody>
        </p:sp>
      </p:grpSp>
      <p:sp>
        <p:nvSpPr>
          <p:cNvPr id="3" name="직사각형 2">
            <a:extLst>
              <a:ext uri="{FF2B5EF4-FFF2-40B4-BE49-F238E27FC236}">
                <a16:creationId xmlns:a16="http://schemas.microsoft.com/office/drawing/2014/main" id="{246F8A36-5D8A-4815-93E0-F894FEA3A822}"/>
              </a:ext>
            </a:extLst>
          </p:cNvPr>
          <p:cNvSpPr/>
          <p:nvPr/>
        </p:nvSpPr>
        <p:spPr>
          <a:xfrm>
            <a:off x="336268" y="613068"/>
            <a:ext cx="8630652" cy="606391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E00C6DEA-30DB-41DA-82B6-137986233EB3}"/>
              </a:ext>
            </a:extLst>
          </p:cNvPr>
          <p:cNvGrpSpPr/>
          <p:nvPr/>
        </p:nvGrpSpPr>
        <p:grpSpPr>
          <a:xfrm>
            <a:off x="1055440" y="908720"/>
            <a:ext cx="7291679" cy="5308223"/>
            <a:chOff x="1274139" y="1023155"/>
            <a:chExt cx="6833233" cy="6570201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96B0392D-951A-4E77-9D17-3C962527C61C}"/>
                </a:ext>
              </a:extLst>
            </p:cNvPr>
            <p:cNvSpPr/>
            <p:nvPr/>
          </p:nvSpPr>
          <p:spPr>
            <a:xfrm>
              <a:off x="1274139" y="1362967"/>
              <a:ext cx="6833233" cy="623038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16E0D8C8-D842-4E0C-B629-9D8AA26FA3ED}"/>
                </a:ext>
              </a:extLst>
            </p:cNvPr>
            <p:cNvSpPr/>
            <p:nvPr/>
          </p:nvSpPr>
          <p:spPr>
            <a:xfrm>
              <a:off x="1274141" y="1023155"/>
              <a:ext cx="6833231" cy="3898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문의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·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요청 상세 조회 및 답변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3B4CBB3-3319-4376-B964-E3D710DA66B3}"/>
                </a:ext>
              </a:extLst>
            </p:cNvPr>
            <p:cNvSpPr txBox="1"/>
            <p:nvPr/>
          </p:nvSpPr>
          <p:spPr>
            <a:xfrm>
              <a:off x="7734233" y="1066760"/>
              <a:ext cx="215999" cy="3593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X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FC568966-ECFE-4367-9BD2-EBF2D5B1271B}"/>
              </a:ext>
            </a:extLst>
          </p:cNvPr>
          <p:cNvSpPr/>
          <p:nvPr/>
        </p:nvSpPr>
        <p:spPr>
          <a:xfrm>
            <a:off x="1079179" y="1264320"/>
            <a:ext cx="3432643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cs typeface="Arial"/>
              </a:rPr>
              <a:t>문의사항 답변 등록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+mn-ea"/>
              <a:cs typeface="Arial"/>
            </a:endParaRP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06D9F33F-2CC8-4E76-B1F6-43DEBF0900C2}"/>
              </a:ext>
            </a:extLst>
          </p:cNvPr>
          <p:cNvSpPr/>
          <p:nvPr/>
        </p:nvSpPr>
        <p:spPr>
          <a:xfrm>
            <a:off x="7104111" y="5841663"/>
            <a:ext cx="1021579" cy="22806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록</a:t>
            </a: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009E8FD-5FB8-4A54-8BBB-EE5140506CE6}"/>
              </a:ext>
            </a:extLst>
          </p:cNvPr>
          <p:cNvSpPr/>
          <p:nvPr/>
        </p:nvSpPr>
        <p:spPr>
          <a:xfrm>
            <a:off x="1199527" y="1549249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일자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74C30D30-B2FC-43BC-94B4-DEB0F2D4C07D}"/>
              </a:ext>
            </a:extLst>
          </p:cNvPr>
          <p:cNvSpPr/>
          <p:nvPr/>
        </p:nvSpPr>
        <p:spPr>
          <a:xfrm>
            <a:off x="2956737" y="1549249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록자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6B935448-ADBC-4A16-BA61-28413546D71E}"/>
              </a:ext>
            </a:extLst>
          </p:cNvPr>
          <p:cNvSpPr/>
          <p:nvPr/>
        </p:nvSpPr>
        <p:spPr>
          <a:xfrm>
            <a:off x="1785993" y="1549248"/>
            <a:ext cx="900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23.07.25</a:t>
            </a:r>
            <a:endParaRPr lang="ko-KR" alt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7888BCC5-E83B-455E-9611-FDC064C879DA}"/>
              </a:ext>
            </a:extLst>
          </p:cNvPr>
          <p:cNvSpPr/>
          <p:nvPr/>
        </p:nvSpPr>
        <p:spPr>
          <a:xfrm>
            <a:off x="3497871" y="1549248"/>
            <a:ext cx="900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홍길동</a:t>
            </a: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498DA020-7294-4CC5-AE31-2896A1538A6D}"/>
              </a:ext>
            </a:extLst>
          </p:cNvPr>
          <p:cNvSpPr/>
          <p:nvPr/>
        </p:nvSpPr>
        <p:spPr>
          <a:xfrm>
            <a:off x="4598239" y="1549249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소속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5E73C4EC-6B52-4921-B5A4-63E86CB8799A}"/>
              </a:ext>
            </a:extLst>
          </p:cNvPr>
          <p:cNvSpPr/>
          <p:nvPr/>
        </p:nvSpPr>
        <p:spPr>
          <a:xfrm>
            <a:off x="5054332" y="1549248"/>
            <a:ext cx="900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O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화학</a:t>
            </a: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B844191-D86A-4986-80DD-31A2CF580D38}"/>
              </a:ext>
            </a:extLst>
          </p:cNvPr>
          <p:cNvSpPr/>
          <p:nvPr/>
        </p:nvSpPr>
        <p:spPr>
          <a:xfrm>
            <a:off x="7585421" y="1286948"/>
            <a:ext cx="540000" cy="216000"/>
          </a:xfrm>
          <a:prstGeom prst="rect">
            <a:avLst/>
          </a:prstGeom>
          <a:solidFill>
            <a:srgbClr val="C046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solidFill>
                  <a:schemeClr val="bg1"/>
                </a:solidFill>
              </a:rPr>
              <a:t>미확인</a:t>
            </a: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77C84C76-6B23-4E3A-AEAE-FA66D2038114}"/>
              </a:ext>
            </a:extLst>
          </p:cNvPr>
          <p:cNvSpPr/>
          <p:nvPr/>
        </p:nvSpPr>
        <p:spPr>
          <a:xfrm>
            <a:off x="1199527" y="1910548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목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57336777-330C-419C-B7BD-EB46E029633A}"/>
              </a:ext>
            </a:extLst>
          </p:cNvPr>
          <p:cNvSpPr/>
          <p:nvPr/>
        </p:nvSpPr>
        <p:spPr>
          <a:xfrm>
            <a:off x="1785992" y="1910547"/>
            <a:ext cx="6339429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경영전략 및 중장기 계획 수립 문의</a:t>
            </a: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2A41E412-334D-4D1F-9C2D-BC1B21620E82}"/>
              </a:ext>
            </a:extLst>
          </p:cNvPr>
          <p:cNvSpPr/>
          <p:nvPr/>
        </p:nvSpPr>
        <p:spPr>
          <a:xfrm>
            <a:off x="1199527" y="2254201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사항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B12F6040-D339-401E-A560-CC94963C9FE2}"/>
              </a:ext>
            </a:extLst>
          </p:cNvPr>
          <p:cNvSpPr/>
          <p:nvPr/>
        </p:nvSpPr>
        <p:spPr>
          <a:xfrm>
            <a:off x="1785992" y="2254199"/>
            <a:ext cx="6339429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안녕하십니까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G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경영전략과 중장기 계획을 수립하기 위해 아래와 같은 사항을 문의 드리고자 합니다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</a:p>
          <a:p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…. </a:t>
            </a:r>
            <a:r>
              <a:rPr lang="ko-KR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이하 생략 </a:t>
            </a: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….</a:t>
            </a:r>
          </a:p>
        </p:txBody>
      </p: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C0304272-C708-4A5E-A4D7-412ACFA80DD4}"/>
              </a:ext>
            </a:extLst>
          </p:cNvPr>
          <p:cNvGrpSpPr/>
          <p:nvPr/>
        </p:nvGrpSpPr>
        <p:grpSpPr>
          <a:xfrm>
            <a:off x="7973330" y="2254201"/>
            <a:ext cx="152360" cy="1440000"/>
            <a:chOff x="9201470" y="1601344"/>
            <a:chExt cx="188139" cy="4198758"/>
          </a:xfrm>
        </p:grpSpPr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8B70E44F-569A-4D94-A383-FD9512228E58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62" name="그룹 61">
              <a:extLst>
                <a:ext uri="{FF2B5EF4-FFF2-40B4-BE49-F238E27FC236}">
                  <a16:creationId xmlns:a16="http://schemas.microsoft.com/office/drawing/2014/main" id="{F8FD083E-7B9B-48E2-86F5-83ACBF897654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63" name="직사각형 62">
                <a:extLst>
                  <a:ext uri="{FF2B5EF4-FFF2-40B4-BE49-F238E27FC236}">
                    <a16:creationId xmlns:a16="http://schemas.microsoft.com/office/drawing/2014/main" id="{9E04B844-2A3D-442C-BAEC-5A116E238D09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64" name="직사각형 63">
                <a:extLst>
                  <a:ext uri="{FF2B5EF4-FFF2-40B4-BE49-F238E27FC236}">
                    <a16:creationId xmlns:a16="http://schemas.microsoft.com/office/drawing/2014/main" id="{107F6746-2C7D-48AB-8599-192963CAA883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E5858796-A6A2-428C-ADB3-69AF9C3A9121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F6A03630-FDEE-4C08-8057-A39884F9A72D}"/>
              </a:ext>
            </a:extLst>
          </p:cNvPr>
          <p:cNvSpPr/>
          <p:nvPr/>
        </p:nvSpPr>
        <p:spPr>
          <a:xfrm>
            <a:off x="1199527" y="3811900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답변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62078E33-7291-49B4-9F9A-CF7E0FD61D60}"/>
              </a:ext>
            </a:extLst>
          </p:cNvPr>
          <p:cNvSpPr/>
          <p:nvPr/>
        </p:nvSpPr>
        <p:spPr>
          <a:xfrm>
            <a:off x="1785992" y="3819520"/>
            <a:ext cx="6339429" cy="144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_ 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BCD57701-186B-4FDA-B991-36B1524946A6}"/>
              </a:ext>
            </a:extLst>
          </p:cNvPr>
          <p:cNvGrpSpPr/>
          <p:nvPr/>
        </p:nvGrpSpPr>
        <p:grpSpPr>
          <a:xfrm>
            <a:off x="7973330" y="3819522"/>
            <a:ext cx="152360" cy="1440000"/>
            <a:chOff x="9201470" y="1601344"/>
            <a:chExt cx="188139" cy="4198758"/>
          </a:xfrm>
        </p:grpSpPr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BCEB4D19-A50E-4790-B503-AAF6358835FA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091595A2-8062-4DE4-896A-9F03B73D0BD3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77" name="직사각형 76">
                <a:extLst>
                  <a:ext uri="{FF2B5EF4-FFF2-40B4-BE49-F238E27FC236}">
                    <a16:creationId xmlns:a16="http://schemas.microsoft.com/office/drawing/2014/main" id="{A6554608-ED39-4986-BC06-B82816E843AA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79" name="직사각형 78">
                <a:extLst>
                  <a:ext uri="{FF2B5EF4-FFF2-40B4-BE49-F238E27FC236}">
                    <a16:creationId xmlns:a16="http://schemas.microsoft.com/office/drawing/2014/main" id="{42589463-4F23-4CBA-A6C9-DDC4EBE827C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0" name="직사각형 79">
                <a:extLst>
                  <a:ext uri="{FF2B5EF4-FFF2-40B4-BE49-F238E27FC236}">
                    <a16:creationId xmlns:a16="http://schemas.microsoft.com/office/drawing/2014/main" id="{41A0C2C4-F577-4432-A58D-3393DA9F4D90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F922574C-C019-430D-A0A3-934F89D5B16D}"/>
              </a:ext>
            </a:extLst>
          </p:cNvPr>
          <p:cNvSpPr/>
          <p:nvPr/>
        </p:nvSpPr>
        <p:spPr>
          <a:xfrm>
            <a:off x="1199527" y="539760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담당자</a:t>
            </a:r>
            <a:b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모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4FBA5422-7767-4B64-A7CD-2F6044FC055E}"/>
              </a:ext>
            </a:extLst>
          </p:cNvPr>
          <p:cNvSpPr/>
          <p:nvPr/>
        </p:nvSpPr>
        <p:spPr>
          <a:xfrm>
            <a:off x="1785992" y="5343676"/>
            <a:ext cx="6339429" cy="326769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_ 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BD1BA851-16BD-4AFD-B32A-51D37FBD0D87}"/>
              </a:ext>
            </a:extLst>
          </p:cNvPr>
          <p:cNvSpPr/>
          <p:nvPr/>
        </p:nvSpPr>
        <p:spPr>
          <a:xfrm>
            <a:off x="5085169" y="5862032"/>
            <a:ext cx="864000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처리상태 변경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A7CCA192-2FA6-4D46-9CD6-8E11A952772C}"/>
              </a:ext>
            </a:extLst>
          </p:cNvPr>
          <p:cNvGrpSpPr/>
          <p:nvPr/>
        </p:nvGrpSpPr>
        <p:grpSpPr>
          <a:xfrm>
            <a:off x="5894145" y="5876506"/>
            <a:ext cx="1065951" cy="172800"/>
            <a:chOff x="1418526" y="1508908"/>
            <a:chExt cx="1065951" cy="172800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3FBF2938-31AC-408A-961E-E8C9931C0BD8}"/>
                </a:ext>
              </a:extLst>
            </p:cNvPr>
            <p:cNvSpPr/>
            <p:nvPr/>
          </p:nvSpPr>
          <p:spPr>
            <a:xfrm>
              <a:off x="1418526" y="1508908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처리중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(Biz)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4D5AEC27-AB96-4286-B2E9-B197D8A1D7C0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2607CBD9-78EF-4B0A-B070-D8B27D79C3A6}"/>
              </a:ext>
            </a:extLst>
          </p:cNvPr>
          <p:cNvSpPr/>
          <p:nvPr/>
        </p:nvSpPr>
        <p:spPr>
          <a:xfrm>
            <a:off x="6152057" y="1549249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23CF0030-F4C2-488D-9D9F-A34452AE5DB5}"/>
              </a:ext>
            </a:extLst>
          </p:cNvPr>
          <p:cNvSpPr/>
          <p:nvPr/>
        </p:nvSpPr>
        <p:spPr>
          <a:xfrm>
            <a:off x="6650095" y="1549248"/>
            <a:ext cx="1475326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ng123@chem.com</a:t>
            </a:r>
            <a:endParaRPr lang="ko-KR" alt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3" name="사각형: 둥근 모서리 92">
            <a:extLst>
              <a:ext uri="{FF2B5EF4-FFF2-40B4-BE49-F238E27FC236}">
                <a16:creationId xmlns:a16="http://schemas.microsoft.com/office/drawing/2014/main" id="{965A0A8E-FF89-446F-921D-742C96521C4D}"/>
              </a:ext>
            </a:extLst>
          </p:cNvPr>
          <p:cNvSpPr/>
          <p:nvPr/>
        </p:nvSpPr>
        <p:spPr>
          <a:xfrm>
            <a:off x="1584901" y="376533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4" name="사각형: 둥근 모서리 93">
            <a:extLst>
              <a:ext uri="{FF2B5EF4-FFF2-40B4-BE49-F238E27FC236}">
                <a16:creationId xmlns:a16="http://schemas.microsoft.com/office/drawing/2014/main" id="{B75648AA-3132-410C-9B02-DC3B2042E686}"/>
              </a:ext>
            </a:extLst>
          </p:cNvPr>
          <p:cNvSpPr/>
          <p:nvPr/>
        </p:nvSpPr>
        <p:spPr>
          <a:xfrm>
            <a:off x="1584901" y="526350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5" name="사각형: 둥근 모서리 94">
            <a:extLst>
              <a:ext uri="{FF2B5EF4-FFF2-40B4-BE49-F238E27FC236}">
                <a16:creationId xmlns:a16="http://schemas.microsoft.com/office/drawing/2014/main" id="{9A4DFD0F-FF12-46F2-9B05-FCE0773D56E9}"/>
              </a:ext>
            </a:extLst>
          </p:cNvPr>
          <p:cNvSpPr/>
          <p:nvPr/>
        </p:nvSpPr>
        <p:spPr>
          <a:xfrm>
            <a:off x="5725534" y="57653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8DB33B89-41E5-408A-9827-4BCB4613049A}"/>
              </a:ext>
            </a:extLst>
          </p:cNvPr>
          <p:cNvSpPr/>
          <p:nvPr/>
        </p:nvSpPr>
        <p:spPr>
          <a:xfrm>
            <a:off x="8966920" y="256686"/>
            <a:ext cx="3218221" cy="68726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08.03&gt;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1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3] :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처리상태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“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완료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”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변경 시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해당 고객 이메일로 문의 답변 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1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     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완료 메시지 자동 발송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947230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1157111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일 발송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*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답변 완료된 문의 요청 사항에 대한 자동 메일 발송 내용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7472421"/>
              </p:ext>
            </p:extLst>
          </p:nvPr>
        </p:nvGraphicFramePr>
        <p:xfrm>
          <a:off x="9267391" y="759199"/>
          <a:ext cx="2922885" cy="130164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명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02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sng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라인문의 등록일자</a:t>
                      </a:r>
                      <a:endParaRPr lang="en-US" altLang="ko-KR" sz="800" b="0" i="0" u="sng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91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온라인 문의 기본 내용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내용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3897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F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청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Q002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</a:tbl>
          </a:graphicData>
        </a:graphic>
      </p:graphicFrame>
      <p:sp>
        <p:nvSpPr>
          <p:cNvPr id="8" name="직사각형 7">
            <a:extLst>
              <a:ext uri="{FF2B5EF4-FFF2-40B4-BE49-F238E27FC236}">
                <a16:creationId xmlns:a16="http://schemas.microsoft.com/office/drawing/2014/main" id="{EBDCA449-B407-4CE4-B50E-183D460E173E}"/>
              </a:ext>
            </a:extLst>
          </p:cNvPr>
          <p:cNvSpPr/>
          <p:nvPr/>
        </p:nvSpPr>
        <p:spPr>
          <a:xfrm>
            <a:off x="653991" y="836712"/>
            <a:ext cx="7825174" cy="5544616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2528A90B-8611-49D3-A1FE-BE4ABDDF18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544" y="867317"/>
            <a:ext cx="1080119" cy="340401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38E12D62-F875-40CB-AA4F-72C3A6E5797B}"/>
              </a:ext>
            </a:extLst>
          </p:cNvPr>
          <p:cNvSpPr/>
          <p:nvPr/>
        </p:nvSpPr>
        <p:spPr>
          <a:xfrm>
            <a:off x="660519" y="1335212"/>
            <a:ext cx="7825174" cy="340401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4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라인 문의 ∙ 요청 답변 안내</a:t>
            </a: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74175483-F744-46CB-A5CB-DD55ABDE21F0}"/>
              </a:ext>
            </a:extLst>
          </p:cNvPr>
          <p:cNvSpPr/>
          <p:nvPr/>
        </p:nvSpPr>
        <p:spPr>
          <a:xfrm>
            <a:off x="1114402" y="1750557"/>
            <a:ext cx="6624736" cy="72792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김삼일님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!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님께서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 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에 </a:t>
            </a:r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∙요청하신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내용에 대한 답변이 등록되었습니다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>
              <a:lnSpc>
                <a:spcPct val="12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답변은 온라인 </a:t>
            </a:r>
            <a:r>
              <a:rPr lang="ko-KR" altLang="en-US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∙요청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내역에서 확인하실 수 있습니다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 algn="ctr">
              <a:lnSpc>
                <a:spcPct val="120000"/>
              </a:lnSpc>
            </a:pP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보다 나은 </a:t>
            </a:r>
            <a:r>
              <a:rPr lang="en-US" altLang="ko-KR" sz="10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amil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ESG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 될 수 있도록 꾸준히 노력하겠습니다</a:t>
            </a: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29CFF52F-3DAA-4DD3-B5E5-6560293D98AD}"/>
              </a:ext>
            </a:extLst>
          </p:cNvPr>
          <p:cNvSpPr/>
          <p:nvPr/>
        </p:nvSpPr>
        <p:spPr>
          <a:xfrm>
            <a:off x="779072" y="5784367"/>
            <a:ext cx="7588067" cy="43540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v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본 메일은 발신전용 메일이며 회신 처리되지 않습니다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V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만약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답변내용이 불충분하시다면 다시 한번 온라인 문의를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남겨주시면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대한 빠르고 정확한 답변을 드릴 수 있도록 하겠습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 algn="ctr">
              <a:lnSpc>
                <a:spcPct val="100000"/>
              </a:lnSpc>
            </a:pPr>
            <a:endParaRPr lang="en-US" altLang="ko-KR" sz="9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80CAD31-1381-494C-9088-B64338130686}"/>
              </a:ext>
            </a:extLst>
          </p:cNvPr>
          <p:cNvSpPr/>
          <p:nvPr/>
        </p:nvSpPr>
        <p:spPr>
          <a:xfrm>
            <a:off x="774705" y="2605490"/>
            <a:ext cx="7631550" cy="2047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AA0132A8-D2F7-403C-86F4-01E4EEF3FA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343" y="4030156"/>
            <a:ext cx="78251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ko-KR" altLang="ko-K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ko-KR" altLang="ko-K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DAF65A94-4FE3-4957-96E6-570AF7A15226}"/>
              </a:ext>
            </a:extLst>
          </p:cNvPr>
          <p:cNvSpPr/>
          <p:nvPr/>
        </p:nvSpPr>
        <p:spPr>
          <a:xfrm>
            <a:off x="818906" y="2712790"/>
            <a:ext cx="1052320" cy="340401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내역</a:t>
            </a:r>
          </a:p>
        </p:txBody>
      </p: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428F06E3-DB3A-4619-A425-7A89826F9295}"/>
              </a:ext>
            </a:extLst>
          </p:cNvPr>
          <p:cNvCxnSpPr/>
          <p:nvPr/>
        </p:nvCxnSpPr>
        <p:spPr>
          <a:xfrm>
            <a:off x="911424" y="3077239"/>
            <a:ext cx="7360422" cy="0"/>
          </a:xfrm>
          <a:prstGeom prst="line">
            <a:avLst/>
          </a:prstGeom>
          <a:ln w="1905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2" name="사각형: 둥근 모서리 101">
            <a:extLst>
              <a:ext uri="{FF2B5EF4-FFF2-40B4-BE49-F238E27FC236}">
                <a16:creationId xmlns:a16="http://schemas.microsoft.com/office/drawing/2014/main" id="{6A35F085-1B41-40F1-9364-17F045D6B459}"/>
              </a:ext>
            </a:extLst>
          </p:cNvPr>
          <p:cNvSpPr/>
          <p:nvPr/>
        </p:nvSpPr>
        <p:spPr>
          <a:xfrm>
            <a:off x="872603" y="3152414"/>
            <a:ext cx="1334966" cy="21672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게시 자료에 대한 문의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037A124-EEF4-479B-AEED-0847BDF80431}"/>
              </a:ext>
            </a:extLst>
          </p:cNvPr>
          <p:cNvSpPr txBox="1"/>
          <p:nvPr/>
        </p:nvSpPr>
        <p:spPr>
          <a:xfrm>
            <a:off x="2216884" y="3136900"/>
            <a:ext cx="484300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전략 및 중장기 계획 수립 문의 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| 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작성일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10-20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ADE0AC5F-6A20-4236-9884-0C0E28C0CDBA}"/>
              </a:ext>
            </a:extLst>
          </p:cNvPr>
          <p:cNvSpPr txBox="1"/>
          <p:nvPr/>
        </p:nvSpPr>
        <p:spPr>
          <a:xfrm>
            <a:off x="859702" y="3493415"/>
            <a:ext cx="4210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Q.</a:t>
            </a:r>
            <a:endParaRPr lang="ko-KR" altLang="en-US" sz="16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1A7F5124-F6D2-4C64-AAB6-24FB5AD9F6D0}"/>
              </a:ext>
            </a:extLst>
          </p:cNvPr>
          <p:cNvSpPr txBox="1"/>
          <p:nvPr/>
        </p:nvSpPr>
        <p:spPr>
          <a:xfrm>
            <a:off x="1257110" y="3535056"/>
            <a:ext cx="7307052" cy="575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안녕하십니까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</a:p>
          <a:p>
            <a:pPr>
              <a:lnSpc>
                <a:spcPct val="120000"/>
              </a:lnSpc>
            </a:pP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전략과 중장기 계획을 수립하기 위해 아래와 같은 사항을 문의 드리고자 합니다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ko-KR" altLang="en-US" sz="9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나다라마바사</a:t>
            </a:r>
            <a:r>
              <a:rPr lang="en-US" altLang="ko-KR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…</a:t>
            </a: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35A7648E-0369-4953-AF3D-D52F107C53AB}"/>
              </a:ext>
            </a:extLst>
          </p:cNvPr>
          <p:cNvGrpSpPr/>
          <p:nvPr/>
        </p:nvGrpSpPr>
        <p:grpSpPr>
          <a:xfrm>
            <a:off x="3102304" y="4797152"/>
            <a:ext cx="2777672" cy="451365"/>
            <a:chOff x="3034503" y="5006952"/>
            <a:chExt cx="2777672" cy="451365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DE500C75-29F1-41CC-A01A-96E4E0AE801F}"/>
                </a:ext>
              </a:extLst>
            </p:cNvPr>
            <p:cNvSpPr/>
            <p:nvPr/>
          </p:nvSpPr>
          <p:spPr>
            <a:xfrm>
              <a:off x="3034503" y="5006952"/>
              <a:ext cx="2777672" cy="45136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1400" dirty="0"/>
            </a:p>
          </p:txBody>
        </p:sp>
        <p:sp>
          <p:nvSpPr>
            <p:cNvPr id="23" name="직사각형 22">
              <a:extLst>
                <a:ext uri="{FF2B5EF4-FFF2-40B4-BE49-F238E27FC236}">
                  <a16:creationId xmlns:a16="http://schemas.microsoft.com/office/drawing/2014/main" id="{45CCBE8D-B59E-466B-979E-313D668066FA}"/>
                </a:ext>
              </a:extLst>
            </p:cNvPr>
            <p:cNvSpPr/>
            <p:nvPr/>
          </p:nvSpPr>
          <p:spPr>
            <a:xfrm>
              <a:off x="3034503" y="5074270"/>
              <a:ext cx="2585488" cy="340401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ko-KR" altLang="en-US" sz="12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 문의 ∙ 요청 답변 확인</a:t>
              </a:r>
            </a:p>
          </p:txBody>
        </p:sp>
      </p:grp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97AC1E67-A905-4DE7-A9D7-8FCC67CC2C7C}"/>
              </a:ext>
            </a:extLst>
          </p:cNvPr>
          <p:cNvSpPr/>
          <p:nvPr/>
        </p:nvSpPr>
        <p:spPr>
          <a:xfrm>
            <a:off x="8977043" y="252000"/>
            <a:ext cx="3218221" cy="68726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08.03&gt;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 추가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10000"/>
              </a:lnSpc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문의답변 완료 처리 시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메일 자동 발송 양식 화면 추가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B320EB81-93B8-4FD1-9C9A-28F85F4808B9}"/>
              </a:ext>
            </a:extLst>
          </p:cNvPr>
          <p:cNvSpPr/>
          <p:nvPr/>
        </p:nvSpPr>
        <p:spPr>
          <a:xfrm>
            <a:off x="1540086" y="177602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CFE2E0BC-1278-4DCE-90D9-BF5665775EC3}"/>
              </a:ext>
            </a:extLst>
          </p:cNvPr>
          <p:cNvSpPr/>
          <p:nvPr/>
        </p:nvSpPr>
        <p:spPr>
          <a:xfrm>
            <a:off x="2957342" y="17352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DE4CDC9D-0E5C-4726-9E9E-6B1E77F7B4E7}"/>
              </a:ext>
            </a:extLst>
          </p:cNvPr>
          <p:cNvSpPr/>
          <p:nvPr/>
        </p:nvSpPr>
        <p:spPr>
          <a:xfrm>
            <a:off x="859702" y="3131896"/>
            <a:ext cx="7412144" cy="1381490"/>
          </a:xfrm>
          <a:prstGeom prst="rect">
            <a:avLst/>
          </a:prstGeom>
          <a:noFill/>
          <a:ln w="12700">
            <a:solidFill>
              <a:srgbClr val="AA2417"/>
            </a:solidFill>
            <a:prstDash val="sysDot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DF7E9544-3067-4591-B101-5611D1BDA65C}"/>
              </a:ext>
            </a:extLst>
          </p:cNvPr>
          <p:cNvSpPr/>
          <p:nvPr/>
        </p:nvSpPr>
        <p:spPr>
          <a:xfrm>
            <a:off x="764480" y="311175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930B3B5F-F7AA-4A10-8CD0-E81FB6F2D4D5}"/>
              </a:ext>
            </a:extLst>
          </p:cNvPr>
          <p:cNvSpPr/>
          <p:nvPr/>
        </p:nvSpPr>
        <p:spPr>
          <a:xfrm>
            <a:off x="3040882" y="47560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944245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6" name="표 66">
            <a:extLst>
              <a:ext uri="{FF2B5EF4-FFF2-40B4-BE49-F238E27FC236}">
                <a16:creationId xmlns:a16="http://schemas.microsoft.com/office/drawing/2014/main" id="{86A1014B-FE54-4662-ABD4-28914B935998}"/>
              </a:ext>
            </a:extLst>
          </p:cNvPr>
          <p:cNvGraphicFramePr>
            <a:graphicFrameLocks noGrp="1"/>
          </p:cNvGraphicFramePr>
          <p:nvPr/>
        </p:nvGraphicFramePr>
        <p:xfrm>
          <a:off x="341092" y="1484784"/>
          <a:ext cx="4288108" cy="168372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2347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567639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647262">
                  <a:extLst>
                    <a:ext uri="{9D8B030D-6E8A-4147-A177-3AD203B41FA5}">
                      <a16:colId xmlns:a16="http://schemas.microsoft.com/office/drawing/2014/main" val="3882861418"/>
                    </a:ext>
                  </a:extLst>
                </a:gridCol>
                <a:gridCol w="1631106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687706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</a:tblGrid>
              <a:tr h="298415">
                <a:tc gridSpan="6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88032">
                <a:tc gridSpan="6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코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001</a:t>
                      </a: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A</a:t>
                      </a:r>
                      <a:endParaRPr 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운영관리자</a:t>
                      </a:r>
                      <a:endParaRPr 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4</a:t>
                      </a: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23.09.28</a:t>
                      </a:r>
                      <a:endParaRPr lang="ko-KR" alt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002</a:t>
                      </a: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 B</a:t>
                      </a: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삼일 </a:t>
                      </a: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플랫폼</a:t>
                      </a:r>
                      <a:endParaRPr 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10</a:t>
                      </a:r>
                      <a:endParaRPr lang="ko-KR" alt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23.09.28</a:t>
                      </a:r>
                      <a:endParaRPr lang="ko-KR" alt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003</a:t>
                      </a: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C</a:t>
                      </a: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PwC</a:t>
                      </a:r>
                      <a:r>
                        <a:rPr lang="ko-KR" alt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 사용자</a:t>
                      </a:r>
                      <a:endParaRPr 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80</a:t>
                      </a:r>
                      <a:endParaRPr lang="ko-KR" alt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23.09.28</a:t>
                      </a:r>
                      <a:endParaRPr lang="ko-KR" alt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004</a:t>
                      </a: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그룹 </a:t>
                      </a: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D</a:t>
                      </a:r>
                      <a:endParaRPr 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외부 가입자</a:t>
                      </a:r>
                      <a:endParaRPr 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10000</a:t>
                      </a:r>
                      <a:endParaRPr lang="ko-KR" alt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6800" marR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en-US" altLang="ko-KR" sz="8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23.09.28</a:t>
                      </a:r>
                      <a:endParaRPr lang="ko-KR" altLang="en-US" sz="85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6738807"/>
                  </a:ext>
                </a:extLst>
              </a:tr>
            </a:tbl>
          </a:graphicData>
        </a:graphic>
      </p:graphicFrame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권한그룹관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45710" y="1371075"/>
            <a:ext cx="8694049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권한그룹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권한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권한그룹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C02AD205-DDAE-4D0F-B25E-681D71DA2ACA}"/>
              </a:ext>
            </a:extLst>
          </p:cNvPr>
          <p:cNvSpPr/>
          <p:nvPr/>
        </p:nvSpPr>
        <p:spPr>
          <a:xfrm>
            <a:off x="351702" y="1484784"/>
            <a:ext cx="1711849" cy="3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권한 그룹 선택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7" name="사각형: 둥근 모서리 486">
            <a:extLst>
              <a:ext uri="{FF2B5EF4-FFF2-40B4-BE49-F238E27FC236}">
                <a16:creationId xmlns:a16="http://schemas.microsoft.com/office/drawing/2014/main" id="{66BFDD90-B64F-488C-8633-CBA4F65DE039}"/>
              </a:ext>
            </a:extLst>
          </p:cNvPr>
          <p:cNvSpPr/>
          <p:nvPr/>
        </p:nvSpPr>
        <p:spPr>
          <a:xfrm>
            <a:off x="3914386" y="1841820"/>
            <a:ext cx="620723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00D26A9D-366E-4979-9193-ADBAEE5E15BE}"/>
              </a:ext>
            </a:extLst>
          </p:cNvPr>
          <p:cNvSpPr/>
          <p:nvPr/>
        </p:nvSpPr>
        <p:spPr>
          <a:xfrm>
            <a:off x="3878070" y="181182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0F624099-430C-48BD-B760-3EB65D8BBFB9}"/>
              </a:ext>
            </a:extLst>
          </p:cNvPr>
          <p:cNvSpPr/>
          <p:nvPr/>
        </p:nvSpPr>
        <p:spPr>
          <a:xfrm>
            <a:off x="263786" y="2082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E17704B0-3B3B-4533-8960-19A7103DBDB2}"/>
              </a:ext>
            </a:extLst>
          </p:cNvPr>
          <p:cNvSpPr/>
          <p:nvPr/>
        </p:nvSpPr>
        <p:spPr>
          <a:xfrm>
            <a:off x="3502766" y="2082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364F70DF-2A1F-4592-9B15-71F6EA795959}"/>
              </a:ext>
            </a:extLst>
          </p:cNvPr>
          <p:cNvSpPr/>
          <p:nvPr/>
        </p:nvSpPr>
        <p:spPr>
          <a:xfrm>
            <a:off x="3955899" y="208217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7" name="표 10">
            <a:extLst>
              <a:ext uri="{FF2B5EF4-FFF2-40B4-BE49-F238E27FC236}">
                <a16:creationId xmlns:a16="http://schemas.microsoft.com/office/drawing/2014/main" id="{4217557B-D77F-4E3E-AAC5-79471F428B3B}"/>
              </a:ext>
            </a:extLst>
          </p:cNvPr>
          <p:cNvGraphicFramePr>
            <a:graphicFrameLocks noGrp="1"/>
          </p:cNvGraphicFramePr>
          <p:nvPr/>
        </p:nvGraphicFramePr>
        <p:xfrm>
          <a:off x="9267391" y="759199"/>
          <a:ext cx="2922885" cy="567626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별 회원 리스트 및 그룹별 권한 부여 현황을 조회하고자 하는 그룹을 선택하여 해당 버튼 클릭 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별 회원 리스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및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별 권한 부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의 그리드에 해당 그룹의 조회 결과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복수선택 불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 시 해당 열 음영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에 포함된 회원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변경 내역 실시간 반영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 생성 일자 또는 가장 최근 수정일 출력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라디오버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B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선택이 디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 시 하단 그리드에 전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O/BO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리스트 및 해당 화면에 대한 해당 그룹의 권한 유형이 조회됨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드롭다운 리스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‘lv1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및 전체 메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스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목록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lv1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 디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되는 메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 해당하는 화면 목록이 하단 그리드에 바로 조회됨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7509301"/>
                  </a:ext>
                </a:extLst>
              </a:tr>
              <a:tr h="55206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드롭다운 리스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– ‘lv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및 전체 메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스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*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목록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lv2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 디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 선택에 따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의 하위 메뉴만 드롭다운 리스트에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여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되는 화면 목록이 하단 그리드에 바로 조회됨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431648"/>
                  </a:ext>
                </a:extLst>
              </a:tr>
              <a:tr h="2640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또는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키 인 후 돋보기 버튼 클릭하면 하단 그리드에 해당 검색어가 포함된 내용이 조회됨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430973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초기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조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정값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디폴트로 되돌림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66271"/>
                  </a:ext>
                </a:extLst>
              </a:tr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른 그룹으로 이동시킬 회원을 선택 후 해당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할 대상 그룹을 선택하는 팝업 생성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[M037 –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권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완료 시 원래의 그룹에서 정보 삭제되고 하단 그리드에도 정보 삭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660421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에서 삭제할 회원을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복수선택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6174622"/>
                  </a:ext>
                </a:extLst>
              </a:tr>
              <a:tr h="6480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ID], 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부서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그룹에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가되어있는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회원에 대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회원정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B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 있는 정보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줄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디폴트는 회원번호 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번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컬럼 클릭 시 역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재클릭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회원번호 순 정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부서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컬럼 클릭 시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나다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재클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시 역순 정렬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0804157"/>
                  </a:ext>
                </a:extLst>
              </a:tr>
              <a:tr h="2640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등록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그룹에 해당 회원이 추가된 일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컬럼 클릭 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재클릭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시 역순 정렬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178420"/>
                  </a:ext>
                </a:extLst>
              </a:tr>
            </a:tbl>
          </a:graphicData>
        </a:graphic>
      </p:graphicFrame>
      <p:graphicFrame>
        <p:nvGraphicFramePr>
          <p:cNvPr id="67" name="표 66">
            <a:extLst>
              <a:ext uri="{FF2B5EF4-FFF2-40B4-BE49-F238E27FC236}">
                <a16:creationId xmlns:a16="http://schemas.microsoft.com/office/drawing/2014/main" id="{7BC988F4-3448-43D8-B0EA-27FCE872240F}"/>
              </a:ext>
            </a:extLst>
          </p:cNvPr>
          <p:cNvGraphicFramePr>
            <a:graphicFrameLocks noGrp="1"/>
          </p:cNvGraphicFramePr>
          <p:nvPr/>
        </p:nvGraphicFramePr>
        <p:xfrm>
          <a:off x="345710" y="3164909"/>
          <a:ext cx="4283490" cy="31460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601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630111">
                  <a:extLst>
                    <a:ext uri="{9D8B030D-6E8A-4147-A177-3AD203B41FA5}">
                      <a16:colId xmlns:a16="http://schemas.microsoft.com/office/drawing/2014/main" val="3059411584"/>
                    </a:ext>
                  </a:extLst>
                </a:gridCol>
                <a:gridCol w="508150">
                  <a:extLst>
                    <a:ext uri="{9D8B030D-6E8A-4147-A177-3AD203B41FA5}">
                      <a16:colId xmlns:a16="http://schemas.microsoft.com/office/drawing/2014/main" val="3882861418"/>
                    </a:ext>
                  </a:extLst>
                </a:gridCol>
                <a:gridCol w="894598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363005">
                  <a:extLst>
                    <a:ext uri="{9D8B030D-6E8A-4147-A177-3AD203B41FA5}">
                      <a16:colId xmlns:a16="http://schemas.microsoft.com/office/drawing/2014/main" val="1718414819"/>
                    </a:ext>
                  </a:extLst>
                </a:gridCol>
                <a:gridCol w="290404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290404">
                  <a:extLst>
                    <a:ext uri="{9D8B030D-6E8A-4147-A177-3AD203B41FA5}">
                      <a16:colId xmlns:a16="http://schemas.microsoft.com/office/drawing/2014/main" val="2033913042"/>
                    </a:ext>
                  </a:extLst>
                </a:gridCol>
                <a:gridCol w="290404">
                  <a:extLst>
                    <a:ext uri="{9D8B030D-6E8A-4147-A177-3AD203B41FA5}">
                      <a16:colId xmlns:a16="http://schemas.microsoft.com/office/drawing/2014/main" val="1285165364"/>
                    </a:ext>
                  </a:extLst>
                </a:gridCol>
                <a:gridCol w="290404">
                  <a:extLst>
                    <a:ext uri="{9D8B030D-6E8A-4147-A177-3AD203B41FA5}">
                      <a16:colId xmlns:a16="http://schemas.microsoft.com/office/drawing/2014/main" val="1738627066"/>
                    </a:ext>
                  </a:extLst>
                </a:gridCol>
              </a:tblGrid>
              <a:tr h="229343">
                <a:tc gridSpan="9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3990840"/>
                  </a:ext>
                </a:extLst>
              </a:tr>
              <a:tr h="229343">
                <a:tc gridSpan="9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29343">
                <a:tc gridSpan="9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19171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lv1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번호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유형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권한 유형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655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R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U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0691170"/>
                  </a:ext>
                </a:extLst>
              </a:tr>
              <a:tr h="2855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메뉴 관리</a:t>
                      </a:r>
                      <a:endParaRPr kumimoji="0" lang="en-US" altLang="ko-KR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홈화면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 관리</a:t>
                      </a:r>
                      <a:endParaRPr lang="en-US" altLang="ko-KR" sz="7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M0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홈화면</a:t>
                      </a: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메뉴 관리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5967414"/>
                  </a:ext>
                </a:extLst>
              </a:tr>
              <a:tr h="2855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메뉴 관리</a:t>
                      </a:r>
                      <a:endParaRPr kumimoji="0" lang="en-US" altLang="ko-KR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영상</a:t>
                      </a: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컨텐츠 관리</a:t>
                      </a:r>
                      <a:endParaRPr lang="en-US" altLang="ko-KR" sz="7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M0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주요 화면 관리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5304486"/>
                  </a:ext>
                </a:extLst>
              </a:tr>
              <a:tr h="2855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메뉴 관리</a:t>
                      </a:r>
                      <a:endParaRPr kumimoji="0" lang="en-US" altLang="ko-KR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영상 컨텐츠 관리</a:t>
                      </a:r>
                      <a:endParaRPr lang="en-US" altLang="ko-KR" sz="7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M0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추천 컨텐츠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4572296"/>
                  </a:ext>
                </a:extLst>
              </a:tr>
              <a:tr h="2855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메뉴 관리</a:t>
                      </a:r>
                      <a:endParaRPr lang="en-US" altLang="ko-KR" sz="7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영상</a:t>
                      </a: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컨텐츠 관리</a:t>
                      </a:r>
                      <a:endParaRPr lang="en-US" altLang="ko-KR" sz="7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M0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핵심 개념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5734283"/>
                  </a:ext>
                </a:extLst>
              </a:tr>
              <a:tr h="2855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메뉴 관리</a:t>
                      </a:r>
                      <a:endParaRPr kumimoji="0" lang="en-US" altLang="ko-KR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영상</a:t>
                      </a: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컨텐츠 관리</a:t>
                      </a:r>
                      <a:endParaRPr lang="en-US" altLang="ko-KR" sz="7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M0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삼일 제공 서비스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698116"/>
                  </a:ext>
                </a:extLst>
              </a:tr>
              <a:tr h="2855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메뉴 관리</a:t>
                      </a:r>
                      <a:endParaRPr kumimoji="0" lang="en-US" altLang="ko-KR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영상 컨텐츠 관리</a:t>
                      </a:r>
                      <a:endParaRPr lang="en-US" altLang="ko-KR" sz="7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M0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프레임워크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브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○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7932589"/>
                  </a:ext>
                </a:extLst>
              </a:tr>
              <a:tr h="2855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웹사이트 관리</a:t>
                      </a:r>
                      <a:endParaRPr kumimoji="0" lang="en-US" altLang="ko-KR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운영관리</a:t>
                      </a:r>
                      <a:endParaRPr lang="en-US" altLang="ko-KR" sz="7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M01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활동로그 관리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7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Arial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7941882"/>
                  </a:ext>
                </a:extLst>
              </a:tr>
            </a:tbl>
          </a:graphicData>
        </a:graphic>
      </p:graphicFrame>
      <p:sp>
        <p:nvSpPr>
          <p:cNvPr id="69" name="직사각형 68">
            <a:extLst>
              <a:ext uri="{FF2B5EF4-FFF2-40B4-BE49-F238E27FC236}">
                <a16:creationId xmlns:a16="http://schemas.microsoft.com/office/drawing/2014/main" id="{0C8C2333-2CD8-47F2-8D3A-3D894895D667}"/>
              </a:ext>
            </a:extLst>
          </p:cNvPr>
          <p:cNvSpPr/>
          <p:nvPr/>
        </p:nvSpPr>
        <p:spPr>
          <a:xfrm>
            <a:off x="351702" y="3356992"/>
            <a:ext cx="1711849" cy="3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룹별 권한 조회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0" name="사각형: 둥근 모서리 69">
            <a:extLst>
              <a:ext uri="{FF2B5EF4-FFF2-40B4-BE49-F238E27FC236}">
                <a16:creationId xmlns:a16="http://schemas.microsoft.com/office/drawing/2014/main" id="{434221F8-4598-478E-9E18-3B4004E9C24D}"/>
              </a:ext>
            </a:extLst>
          </p:cNvPr>
          <p:cNvSpPr/>
          <p:nvPr/>
        </p:nvSpPr>
        <p:spPr>
          <a:xfrm>
            <a:off x="4564606" y="4319770"/>
            <a:ext cx="75865" cy="199116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AC5C4C16-21E9-437D-98B8-B41541AC1795}"/>
              </a:ext>
            </a:extLst>
          </p:cNvPr>
          <p:cNvGrpSpPr/>
          <p:nvPr/>
        </p:nvGrpSpPr>
        <p:grpSpPr>
          <a:xfrm>
            <a:off x="433922" y="3669638"/>
            <a:ext cx="696669" cy="172800"/>
            <a:chOff x="6098309" y="1839064"/>
            <a:chExt cx="696669" cy="172800"/>
          </a:xfrm>
        </p:grpSpPr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CECAE1B6-5344-4CA3-97F7-9CE09735F0C6}"/>
                </a:ext>
              </a:extLst>
            </p:cNvPr>
            <p:cNvSpPr/>
            <p:nvPr/>
          </p:nvSpPr>
          <p:spPr>
            <a:xfrm>
              <a:off x="6098309" y="1839064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1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84CC057A-A3AE-414F-9897-D16BBB868ABF}"/>
                </a:ext>
              </a:extLst>
            </p:cNvPr>
            <p:cNvSpPr/>
            <p:nvPr/>
          </p:nvSpPr>
          <p:spPr>
            <a:xfrm>
              <a:off x="6578954" y="1839064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77" name="그룹 76">
            <a:extLst>
              <a:ext uri="{FF2B5EF4-FFF2-40B4-BE49-F238E27FC236}">
                <a16:creationId xmlns:a16="http://schemas.microsoft.com/office/drawing/2014/main" id="{3B155411-5A3F-4B60-945F-95F439B941D2}"/>
              </a:ext>
            </a:extLst>
          </p:cNvPr>
          <p:cNvGrpSpPr/>
          <p:nvPr/>
        </p:nvGrpSpPr>
        <p:grpSpPr>
          <a:xfrm>
            <a:off x="1166152" y="3669638"/>
            <a:ext cx="696669" cy="172800"/>
            <a:chOff x="6098309" y="1839064"/>
            <a:chExt cx="696669" cy="172800"/>
          </a:xfrm>
        </p:grpSpPr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DDDD3D0D-8290-472B-BCBC-2A522E639399}"/>
                </a:ext>
              </a:extLst>
            </p:cNvPr>
            <p:cNvSpPr/>
            <p:nvPr/>
          </p:nvSpPr>
          <p:spPr>
            <a:xfrm>
              <a:off x="6098309" y="1839064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2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8910D765-19B3-49F9-B60E-BA0139DF36BB}"/>
                </a:ext>
              </a:extLst>
            </p:cNvPr>
            <p:cNvSpPr/>
            <p:nvPr/>
          </p:nvSpPr>
          <p:spPr>
            <a:xfrm>
              <a:off x="6578954" y="1839064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D477306C-08A3-410C-848D-8BEA551D66C6}"/>
              </a:ext>
            </a:extLst>
          </p:cNvPr>
          <p:cNvSpPr/>
          <p:nvPr/>
        </p:nvSpPr>
        <p:spPr>
          <a:xfrm>
            <a:off x="3226944" y="3429000"/>
            <a:ext cx="1377755" cy="184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latinLnBrk="1"/>
            <a:r>
              <a:rPr lang="ko-KR" altLang="en-US" sz="8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○ </a:t>
            </a:r>
            <a:r>
              <a:rPr lang="en-US" altLang="ko-KR" sz="8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FO</a:t>
            </a:r>
            <a:r>
              <a:rPr lang="ko-KR" altLang="en-US" sz="8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화면      ● </a:t>
            </a:r>
            <a:r>
              <a:rPr lang="en-US" altLang="ko-KR" sz="8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BO</a:t>
            </a:r>
            <a:r>
              <a:rPr lang="ko-KR" altLang="en-US" sz="800" kern="12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/>
              </a:rPr>
              <a:t>화면</a:t>
            </a:r>
            <a:endParaRPr lang="ko-KR" altLang="en-US" sz="800" kern="12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74C9C763-5A7C-4841-8087-C4FB5FB94590}"/>
              </a:ext>
            </a:extLst>
          </p:cNvPr>
          <p:cNvGrpSpPr/>
          <p:nvPr/>
        </p:nvGrpSpPr>
        <p:grpSpPr>
          <a:xfrm>
            <a:off x="1898382" y="3669638"/>
            <a:ext cx="1063045" cy="172800"/>
            <a:chOff x="6045136" y="1837758"/>
            <a:chExt cx="1063045" cy="172800"/>
          </a:xfrm>
        </p:grpSpPr>
        <p:sp>
          <p:nvSpPr>
            <p:cNvPr id="82" name="사각형: 둥근 모서리 81">
              <a:extLst>
                <a:ext uri="{FF2B5EF4-FFF2-40B4-BE49-F238E27FC236}">
                  <a16:creationId xmlns:a16="http://schemas.microsoft.com/office/drawing/2014/main" id="{B3724EA0-30CC-412D-8ECE-539AD77826F6}"/>
                </a:ext>
              </a:extLst>
            </p:cNvPr>
            <p:cNvSpPr/>
            <p:nvPr/>
          </p:nvSpPr>
          <p:spPr>
            <a:xfrm>
              <a:off x="6938709" y="1839422"/>
              <a:ext cx="169472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83" name="그림 82">
              <a:extLst>
                <a:ext uri="{FF2B5EF4-FFF2-40B4-BE49-F238E27FC236}">
                  <a16:creationId xmlns:a16="http://schemas.microsoft.com/office/drawing/2014/main" id="{802410C4-6610-495B-80B7-2C7C5906B8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54563" y="1848032"/>
              <a:ext cx="144016" cy="144016"/>
            </a:xfrm>
            <a:prstGeom prst="rect">
              <a:avLst/>
            </a:prstGeom>
          </p:spPr>
        </p:pic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7CE1CCEE-AC0B-4996-A49D-5C865C88213E}"/>
                </a:ext>
              </a:extLst>
            </p:cNvPr>
            <p:cNvSpPr/>
            <p:nvPr/>
          </p:nvSpPr>
          <p:spPr>
            <a:xfrm>
              <a:off x="6045136" y="1837758"/>
              <a:ext cx="883971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화면번호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/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명 검색</a:t>
              </a:r>
            </a:p>
          </p:txBody>
        </p:sp>
      </p:grpSp>
      <p:sp>
        <p:nvSpPr>
          <p:cNvPr id="86" name="사각형: 둥근 모서리 85">
            <a:extLst>
              <a:ext uri="{FF2B5EF4-FFF2-40B4-BE49-F238E27FC236}">
                <a16:creationId xmlns:a16="http://schemas.microsoft.com/office/drawing/2014/main" id="{879B73A7-CC0C-458E-B9AB-CB689E702D8E}"/>
              </a:ext>
            </a:extLst>
          </p:cNvPr>
          <p:cNvSpPr/>
          <p:nvPr/>
        </p:nvSpPr>
        <p:spPr>
          <a:xfrm>
            <a:off x="368124" y="36511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8" name="사각형: 둥근 모서리 87">
            <a:extLst>
              <a:ext uri="{FF2B5EF4-FFF2-40B4-BE49-F238E27FC236}">
                <a16:creationId xmlns:a16="http://schemas.microsoft.com/office/drawing/2014/main" id="{7ED5B9E6-6B6E-46B3-877E-E75B90636CF9}"/>
              </a:ext>
            </a:extLst>
          </p:cNvPr>
          <p:cNvSpPr/>
          <p:nvPr/>
        </p:nvSpPr>
        <p:spPr>
          <a:xfrm>
            <a:off x="1167005" y="36511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사각형: 둥근 모서리 88">
            <a:extLst>
              <a:ext uri="{FF2B5EF4-FFF2-40B4-BE49-F238E27FC236}">
                <a16:creationId xmlns:a16="http://schemas.microsoft.com/office/drawing/2014/main" id="{7B6F230B-0DDA-4494-91EB-DDE0EDC2E5B7}"/>
              </a:ext>
            </a:extLst>
          </p:cNvPr>
          <p:cNvSpPr/>
          <p:nvPr/>
        </p:nvSpPr>
        <p:spPr>
          <a:xfrm>
            <a:off x="1906141" y="365794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4" name="사각형: 둥근 모서리 93">
            <a:extLst>
              <a:ext uri="{FF2B5EF4-FFF2-40B4-BE49-F238E27FC236}">
                <a16:creationId xmlns:a16="http://schemas.microsoft.com/office/drawing/2014/main" id="{648D2F07-E162-4B3E-A41F-A84875094A87}"/>
              </a:ext>
            </a:extLst>
          </p:cNvPr>
          <p:cNvSpPr/>
          <p:nvPr/>
        </p:nvSpPr>
        <p:spPr>
          <a:xfrm>
            <a:off x="3132924" y="34496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0ADC339C-A85C-4B6F-9499-2073C7ADA5AC}"/>
              </a:ext>
            </a:extLst>
          </p:cNvPr>
          <p:cNvSpPr/>
          <p:nvPr/>
        </p:nvSpPr>
        <p:spPr>
          <a:xfrm>
            <a:off x="3025409" y="3674532"/>
            <a:ext cx="480645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D48F3CF7-CC0C-4905-AB93-7802ADF0B8D8}"/>
              </a:ext>
            </a:extLst>
          </p:cNvPr>
          <p:cNvSpPr/>
          <p:nvPr/>
        </p:nvSpPr>
        <p:spPr>
          <a:xfrm>
            <a:off x="3002905" y="364502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61" name="표 66">
            <a:extLst>
              <a:ext uri="{FF2B5EF4-FFF2-40B4-BE49-F238E27FC236}">
                <a16:creationId xmlns:a16="http://schemas.microsoft.com/office/drawing/2014/main" id="{C74AF08F-F18B-4E27-B4C3-08DDC0A47B80}"/>
              </a:ext>
            </a:extLst>
          </p:cNvPr>
          <p:cNvGraphicFramePr>
            <a:graphicFrameLocks noGrp="1"/>
          </p:cNvGraphicFramePr>
          <p:nvPr/>
        </p:nvGraphicFramePr>
        <p:xfrm>
          <a:off x="4683387" y="1484784"/>
          <a:ext cx="4292933" cy="48261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4438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269479197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384650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430023">
                  <a:extLst>
                    <a:ext uri="{9D8B030D-6E8A-4147-A177-3AD203B41FA5}">
                      <a16:colId xmlns:a16="http://schemas.microsoft.com/office/drawing/2014/main" val="3635839835"/>
                    </a:ext>
                  </a:extLst>
                </a:gridCol>
                <a:gridCol w="526461">
                  <a:extLst>
                    <a:ext uri="{9D8B030D-6E8A-4147-A177-3AD203B41FA5}">
                      <a16:colId xmlns:a16="http://schemas.microsoft.com/office/drawing/2014/main" val="1761654621"/>
                    </a:ext>
                  </a:extLst>
                </a:gridCol>
                <a:gridCol w="627889">
                  <a:extLst>
                    <a:ext uri="{9D8B030D-6E8A-4147-A177-3AD203B41FA5}">
                      <a16:colId xmlns:a16="http://schemas.microsoft.com/office/drawing/2014/main" val="2428170272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  <a:gridCol w="693440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</a:tblGrid>
              <a:tr h="308073">
                <a:tc gridSpan="9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77920"/>
                  </a:ext>
                </a:extLst>
              </a:tr>
              <a:tr h="297354">
                <a:tc gridSpan="9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882339"/>
                  </a:ext>
                </a:extLst>
              </a:tr>
              <a:tr h="22249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r>
                        <a:rPr lang="ko-KR" altLang="en-US" sz="8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▼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번호 </a:t>
                      </a:r>
                      <a:r>
                        <a:rPr lang="ko-KR" altLang="en-US" sz="8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▼</a:t>
                      </a: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</a:t>
                      </a:r>
                      <a:r>
                        <a:rPr lang="ko-KR" altLang="en-US" sz="8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부서명</a:t>
                      </a:r>
                      <a:r>
                        <a:rPr lang="ko-KR" altLang="en-US" sz="8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</a:t>
                      </a: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등록일</a:t>
                      </a:r>
                      <a:r>
                        <a:rPr lang="ko-KR" altLang="en-US" sz="8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▼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□</a:t>
                      </a: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A00000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esg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김삼일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</a:t>
                      </a: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28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□</a:t>
                      </a: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A000002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esg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박삼이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플랫폼</a:t>
                      </a: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A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28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348361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□</a:t>
                      </a: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B000001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nfo1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김삼오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포마인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T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28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348361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  <a:cs typeface="Arial"/>
                        </a:rPr>
                        <a:t>□</a:t>
                      </a: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u="none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B000002</a:t>
                      </a:r>
                      <a:endParaRPr lang="ko-KR" altLang="en-US" sz="800" b="0" u="none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nfo2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삼육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포마인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T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.09.28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5257471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6462998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0555231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059375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2577559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9468879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904337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6844419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8771464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5741996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005647"/>
                  </a:ext>
                </a:extLst>
              </a:tr>
              <a:tr h="253962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00000"/>
                        </a:lnSpc>
                      </a:pPr>
                      <a:endParaRPr lang="ko-KR" altLang="en-US" sz="10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ea"/>
                        <a:ea typeface="+mn-ea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36000" marR="36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9958647"/>
                  </a:ext>
                </a:extLst>
              </a:tr>
            </a:tbl>
          </a:graphicData>
        </a:graphic>
      </p:graphicFrame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CBC2C7FB-D07C-4584-AF63-BAE1CDA59BE0}"/>
              </a:ext>
            </a:extLst>
          </p:cNvPr>
          <p:cNvSpPr/>
          <p:nvPr/>
        </p:nvSpPr>
        <p:spPr>
          <a:xfrm>
            <a:off x="4683387" y="1484784"/>
            <a:ext cx="1950704" cy="308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그룹별 회원 리스트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3" name="사각형: 둥근 모서리 162">
            <a:extLst>
              <a:ext uri="{FF2B5EF4-FFF2-40B4-BE49-F238E27FC236}">
                <a16:creationId xmlns:a16="http://schemas.microsoft.com/office/drawing/2014/main" id="{286243C2-2513-4336-A877-45F9D7A3422A}"/>
              </a:ext>
            </a:extLst>
          </p:cNvPr>
          <p:cNvSpPr/>
          <p:nvPr/>
        </p:nvSpPr>
        <p:spPr>
          <a:xfrm>
            <a:off x="8253194" y="1834442"/>
            <a:ext cx="620723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동</a:t>
            </a:r>
          </a:p>
        </p:txBody>
      </p:sp>
      <p:sp>
        <p:nvSpPr>
          <p:cNvPr id="165" name="사각형: 둥근 모서리 164">
            <a:extLst>
              <a:ext uri="{FF2B5EF4-FFF2-40B4-BE49-F238E27FC236}">
                <a16:creationId xmlns:a16="http://schemas.microsoft.com/office/drawing/2014/main" id="{4C6A1BEF-DEEE-42F5-8DFF-D6D297D96185}"/>
              </a:ext>
            </a:extLst>
          </p:cNvPr>
          <p:cNvSpPr/>
          <p:nvPr/>
        </p:nvSpPr>
        <p:spPr>
          <a:xfrm>
            <a:off x="8906732" y="2321553"/>
            <a:ext cx="69588" cy="2199383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7" name="사각형: 둥근 모서리 166">
            <a:extLst>
              <a:ext uri="{FF2B5EF4-FFF2-40B4-BE49-F238E27FC236}">
                <a16:creationId xmlns:a16="http://schemas.microsoft.com/office/drawing/2014/main" id="{CB5FE4D2-3000-4D57-A7E9-0E3AC696D616}"/>
              </a:ext>
            </a:extLst>
          </p:cNvPr>
          <p:cNvSpPr/>
          <p:nvPr/>
        </p:nvSpPr>
        <p:spPr>
          <a:xfrm>
            <a:off x="8216878" y="18104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8" name="사각형: 둥근 모서리 167">
            <a:extLst>
              <a:ext uri="{FF2B5EF4-FFF2-40B4-BE49-F238E27FC236}">
                <a16:creationId xmlns:a16="http://schemas.microsoft.com/office/drawing/2014/main" id="{6DA75FF5-F1B9-4C19-AB6C-CB92CB49A900}"/>
              </a:ext>
            </a:extLst>
          </p:cNvPr>
          <p:cNvSpPr/>
          <p:nvPr/>
        </p:nvSpPr>
        <p:spPr>
          <a:xfrm>
            <a:off x="4626185" y="20964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9" name="사각형: 둥근 모서리 168">
            <a:extLst>
              <a:ext uri="{FF2B5EF4-FFF2-40B4-BE49-F238E27FC236}">
                <a16:creationId xmlns:a16="http://schemas.microsoft.com/office/drawing/2014/main" id="{48D08AAD-E456-4D08-95FE-125704CB457B}"/>
              </a:ext>
            </a:extLst>
          </p:cNvPr>
          <p:cNvSpPr/>
          <p:nvPr/>
        </p:nvSpPr>
        <p:spPr>
          <a:xfrm>
            <a:off x="8345630" y="20732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0" name="직사각형 169">
            <a:extLst>
              <a:ext uri="{FF2B5EF4-FFF2-40B4-BE49-F238E27FC236}">
                <a16:creationId xmlns:a16="http://schemas.microsoft.com/office/drawing/2014/main" id="{D617FEA4-B296-4BC9-9047-98D838A5B511}"/>
              </a:ext>
            </a:extLst>
          </p:cNvPr>
          <p:cNvSpPr/>
          <p:nvPr/>
        </p:nvSpPr>
        <p:spPr>
          <a:xfrm>
            <a:off x="5400219" y="2106391"/>
            <a:ext cx="2879785" cy="17048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altLang="ko-KR" sz="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endParaRPr lang="en-US" altLang="ko-KR" sz="1200" dirty="0"/>
          </a:p>
          <a:p>
            <a:pPr algn="ctr"/>
            <a:r>
              <a:rPr lang="en-US" altLang="ko-KR" dirty="0"/>
              <a:t> </a:t>
            </a:r>
          </a:p>
        </p:txBody>
      </p:sp>
      <p:sp>
        <p:nvSpPr>
          <p:cNvPr id="171" name="사각형: 둥근 모서리 170">
            <a:extLst>
              <a:ext uri="{FF2B5EF4-FFF2-40B4-BE49-F238E27FC236}">
                <a16:creationId xmlns:a16="http://schemas.microsoft.com/office/drawing/2014/main" id="{3C70BB0D-7E84-49A7-931D-C9742E0679DD}"/>
              </a:ext>
            </a:extLst>
          </p:cNvPr>
          <p:cNvSpPr/>
          <p:nvPr/>
        </p:nvSpPr>
        <p:spPr>
          <a:xfrm>
            <a:off x="5337946" y="206530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2" name="직사각형 171">
            <a:extLst>
              <a:ext uri="{FF2B5EF4-FFF2-40B4-BE49-F238E27FC236}">
                <a16:creationId xmlns:a16="http://schemas.microsoft.com/office/drawing/2014/main" id="{0E93FF94-8D2B-4C2B-A206-B4CBAC25107B}"/>
              </a:ext>
            </a:extLst>
          </p:cNvPr>
          <p:cNvSpPr/>
          <p:nvPr/>
        </p:nvSpPr>
        <p:spPr>
          <a:xfrm>
            <a:off x="6533166" y="4654732"/>
            <a:ext cx="2274234" cy="151278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4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altLang="ko-KR" sz="800" b="0" i="0" u="none" strike="noStrike" kern="1200" cap="none" spc="-30" baseline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altLang="ko-KR" sz="800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171450" marR="0" lvl="0" indent="-17145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서브화면이 </a:t>
            </a:r>
            <a:r>
              <a:rPr lang="ko-KR" altLang="en-US" sz="800" dirty="0" err="1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메인화면의</a:t>
            </a:r>
            <a:r>
              <a: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 권한에 종속되는</a:t>
            </a:r>
            <a: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 </a:t>
            </a:r>
            <a:r>
              <a: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경우</a:t>
            </a:r>
            <a: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, [</a:t>
            </a:r>
            <a:r>
              <a: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저장</a:t>
            </a:r>
            <a: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] </a:t>
            </a:r>
            <a:r>
              <a: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버튼 클릭하여 저장 시 에러메시지 생성 </a:t>
            </a:r>
            <a:b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</a:br>
            <a: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case 1: </a:t>
            </a:r>
            <a:r>
              <a:rPr lang="ko-KR" altLang="en-US" sz="800" dirty="0" err="1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메인화면</a:t>
            </a:r>
            <a:r>
              <a: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 </a:t>
            </a:r>
            <a: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R (X) </a:t>
            </a:r>
            <a: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  <a:sym typeface="Wingdings" panose="05000000000000000000" pitchFamily="2" charset="2"/>
              </a:rPr>
              <a:t> </a:t>
            </a:r>
            <a:r>
              <a: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  <a:sym typeface="Wingdings" panose="05000000000000000000" pitchFamily="2" charset="2"/>
              </a:rPr>
              <a:t>서브화면 </a:t>
            </a:r>
            <a:r>
              <a:rPr lang="en-US" altLang="ko-KR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  <a:sym typeface="Wingdings" panose="05000000000000000000" pitchFamily="2" charset="2"/>
              </a:rPr>
              <a:t>R </a:t>
            </a:r>
            <a:r>
              <a: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  <a:sym typeface="Wingdings" panose="05000000000000000000" pitchFamily="2" charset="2"/>
              </a:rPr>
              <a:t>선택 불가능</a:t>
            </a:r>
            <a:endParaRPr lang="en-US" altLang="ko-KR" sz="800" dirty="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73" name="직사각형 172">
            <a:extLst>
              <a:ext uri="{FF2B5EF4-FFF2-40B4-BE49-F238E27FC236}">
                <a16:creationId xmlns:a16="http://schemas.microsoft.com/office/drawing/2014/main" id="{247996C6-FBCB-4AD5-B805-331807401D2E}"/>
              </a:ext>
            </a:extLst>
          </p:cNvPr>
          <p:cNvSpPr/>
          <p:nvPr/>
        </p:nvSpPr>
        <p:spPr>
          <a:xfrm>
            <a:off x="6591374" y="4711634"/>
            <a:ext cx="1625504" cy="1760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 권한 부여 시 고려사항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직사각형 173">
            <a:extLst>
              <a:ext uri="{FF2B5EF4-FFF2-40B4-BE49-F238E27FC236}">
                <a16:creationId xmlns:a16="http://schemas.microsoft.com/office/drawing/2014/main" id="{F3028C3B-AF0A-4D39-BFD4-2D1A23A81234}"/>
              </a:ext>
            </a:extLst>
          </p:cNvPr>
          <p:cNvSpPr/>
          <p:nvPr/>
        </p:nvSpPr>
        <p:spPr>
          <a:xfrm>
            <a:off x="4138758" y="4646064"/>
            <a:ext cx="2274234" cy="151278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4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altLang="ko-KR" sz="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endParaRPr lang="en-US" altLang="ko-KR" sz="1200" dirty="0"/>
          </a:p>
          <a:p>
            <a:pPr algn="ctr"/>
            <a:r>
              <a:rPr lang="en-US" altLang="ko-KR" dirty="0"/>
              <a:t> </a:t>
            </a:r>
          </a:p>
        </p:txBody>
      </p: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0D55800E-6D95-481F-BA07-38AE81FA90B2}"/>
              </a:ext>
            </a:extLst>
          </p:cNvPr>
          <p:cNvSpPr/>
          <p:nvPr/>
        </p:nvSpPr>
        <p:spPr>
          <a:xfrm>
            <a:off x="4196966" y="4702966"/>
            <a:ext cx="1899034" cy="1760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가입 시 그룹 자동 배정 규칙</a:t>
            </a:r>
            <a:endParaRPr lang="en-US" altLang="ko-KR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76" name="표 175">
            <a:extLst>
              <a:ext uri="{FF2B5EF4-FFF2-40B4-BE49-F238E27FC236}">
                <a16:creationId xmlns:a16="http://schemas.microsoft.com/office/drawing/2014/main" id="{6D5B58CA-D609-47C6-B822-B873A8B092F5}"/>
              </a:ext>
            </a:extLst>
          </p:cNvPr>
          <p:cNvGraphicFramePr>
            <a:graphicFrameLocks noGrp="1"/>
          </p:cNvGraphicFramePr>
          <p:nvPr/>
        </p:nvGraphicFramePr>
        <p:xfrm>
          <a:off x="4196966" y="4929462"/>
          <a:ext cx="2132049" cy="762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93973">
                  <a:extLst>
                    <a:ext uri="{9D8B030D-6E8A-4147-A177-3AD203B41FA5}">
                      <a16:colId xmlns:a16="http://schemas.microsoft.com/office/drawing/2014/main" val="1784923415"/>
                    </a:ext>
                  </a:extLst>
                </a:gridCol>
                <a:gridCol w="1238076">
                  <a:extLst>
                    <a:ext uri="{9D8B030D-6E8A-4147-A177-3AD203B41FA5}">
                      <a16:colId xmlns:a16="http://schemas.microsoft.com/office/drawing/2014/main" val="39136590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 메일 계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5804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wc.com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C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6857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 외 </a:t>
                      </a:r>
                      <a:b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samil.com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포함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3278608"/>
                  </a:ext>
                </a:extLst>
              </a:tr>
            </a:tbl>
          </a:graphicData>
        </a:graphic>
      </p:graphicFrame>
      <p:sp>
        <p:nvSpPr>
          <p:cNvPr id="50" name="직사각형 49">
            <a:extLst>
              <a:ext uri="{FF2B5EF4-FFF2-40B4-BE49-F238E27FC236}">
                <a16:creationId xmlns:a16="http://schemas.microsoft.com/office/drawing/2014/main" id="{A9C8D2EE-96AA-46A0-8422-CB8803528CA8}"/>
              </a:ext>
            </a:extLst>
          </p:cNvPr>
          <p:cNvSpPr/>
          <p:nvPr/>
        </p:nvSpPr>
        <p:spPr>
          <a:xfrm>
            <a:off x="9087486" y="3260330"/>
            <a:ext cx="3098119" cy="18807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1) 11. 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삭제 버튼은 어디에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?</a:t>
            </a:r>
          </a:p>
          <a:p>
            <a:pPr>
              <a:lnSpc>
                <a:spcPct val="100000"/>
              </a:lnSpc>
            </a:pPr>
            <a:endParaRPr lang="en-US" altLang="ko-KR" sz="10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2) 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화면 권한 부여시 종속권한 오류체크를 위해 종속관계가 있는 화면 지정 필요</a:t>
            </a:r>
            <a:endParaRPr lang="en-US" altLang="ko-KR" sz="10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endParaRPr lang="en-US" altLang="ko-KR" sz="10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[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답변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]</a:t>
            </a:r>
          </a:p>
          <a:p>
            <a:pPr marL="228600" indent="-228600">
              <a:lnSpc>
                <a:spcPct val="100000"/>
              </a:lnSpc>
              <a:buAutoNum type="arabicParenR"/>
            </a:pP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리스트에서 삭제하는 기능이 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10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번 이동 버튼에 해당함</a:t>
            </a:r>
            <a:endParaRPr lang="en-US" altLang="ko-KR" sz="1000" dirty="0">
              <a:solidFill>
                <a:srgbClr val="0060D7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 marL="228600" indent="-228600">
              <a:lnSpc>
                <a:spcPct val="100000"/>
              </a:lnSpc>
              <a:buAutoNum type="arabicParenR"/>
            </a:pP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화면간 종속관계 지정해서 별도 파일로 전달 예정</a:t>
            </a:r>
            <a:endParaRPr lang="en-US" altLang="ko-KR" sz="1000" dirty="0">
              <a:solidFill>
                <a:srgbClr val="0060D7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2AB457E7-1527-49AC-84D6-4D18853E77EF}"/>
              </a:ext>
            </a:extLst>
          </p:cNvPr>
          <p:cNvSpPr/>
          <p:nvPr/>
        </p:nvSpPr>
        <p:spPr>
          <a:xfrm>
            <a:off x="9105853" y="5268663"/>
            <a:ext cx="3098119" cy="158933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2. 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일반적으로 회원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(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외부가입자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)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는 권한 설정을 따로 하지 않음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. ESG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진단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dirty="0" err="1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문의등의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입력가능한 항목만 있으면 되므로</a:t>
            </a:r>
            <a:b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</a:b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그룹 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D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는 별도로 그룹권한을 관리하지 않기를 희망</a:t>
            </a:r>
            <a:endParaRPr lang="en-US" altLang="ko-KR" sz="10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endParaRPr lang="en-US" altLang="ko-KR" sz="10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[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답변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]</a:t>
            </a:r>
          </a:p>
          <a:p>
            <a:pPr>
              <a:lnSpc>
                <a:spcPct val="100000"/>
              </a:lnSpc>
            </a:pP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FO 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화면 중에도 회원 그룹별 조회 가능한 화면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/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컨텐츠가 구분될 수 있기 때문에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그룹</a:t>
            </a:r>
            <a:r>
              <a:rPr lang="en-US" altLang="ko-KR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D</a:t>
            </a:r>
            <a:r>
              <a:rPr lang="ko-KR" altLang="en-US" sz="1000" dirty="0">
                <a:solidFill>
                  <a:srgbClr val="0060D7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에 대한 권한 관리가 필요함</a:t>
            </a:r>
            <a:endParaRPr lang="en-US" altLang="ko-KR" sz="1000" dirty="0">
              <a:solidFill>
                <a:srgbClr val="0060D7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D987B325-83FE-2379-135E-44BB904AEEB1}"/>
              </a:ext>
            </a:extLst>
          </p:cNvPr>
          <p:cNvSpPr/>
          <p:nvPr/>
        </p:nvSpPr>
        <p:spPr>
          <a:xfrm>
            <a:off x="1231820" y="2325738"/>
            <a:ext cx="2274234" cy="792719"/>
          </a:xfrm>
          <a:prstGeom prst="rect">
            <a:avLst/>
          </a:prstGeom>
          <a:solidFill>
            <a:srgbClr val="FFFF00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>
              <a:lnSpc>
                <a:spcPct val="100000"/>
              </a:lnSpc>
            </a:pP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그룹</a:t>
            </a: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: </a:t>
            </a: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운영관리자 </a:t>
            </a:r>
            <a:endParaRPr lang="en-US" altLang="ko-KR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    (</a:t>
            </a: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인정보처리 可 </a:t>
            </a: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– </a:t>
            </a: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회원정보 조회 等</a:t>
            </a: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그룹 </a:t>
            </a: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: </a:t>
            </a: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컨텐츠 및 일반 운영관리</a:t>
            </a: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  <a:p>
            <a:pPr>
              <a:lnSpc>
                <a:spcPct val="100000"/>
              </a:lnSpc>
            </a:pP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     (</a:t>
            </a: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개인정보처리 불가</a:t>
            </a: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그룹 </a:t>
            </a: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: PwC </a:t>
            </a: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용자</a:t>
            </a:r>
            <a:endParaRPr lang="en-US" altLang="ko-KR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00000"/>
              </a:lnSpc>
            </a:pP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그룹 </a:t>
            </a: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: </a:t>
            </a: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외부</a:t>
            </a: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ko-KR" alt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가입자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F490571D-AF7C-2044-D5C9-610DE9894353}"/>
              </a:ext>
            </a:extLst>
          </p:cNvPr>
          <p:cNvSpPr/>
          <p:nvPr/>
        </p:nvSpPr>
        <p:spPr>
          <a:xfrm>
            <a:off x="9073581" y="0"/>
            <a:ext cx="3123223" cy="908720"/>
          </a:xfrm>
          <a:prstGeom prst="rect">
            <a:avLst/>
          </a:prstGeom>
          <a:solidFill>
            <a:schemeClr val="accent2"/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 10. 20&gt;</a:t>
            </a: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그룹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A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그룹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B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권한그룹 설명 수정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개인정보처리가능한 관리자와 개인정보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미열람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관리자 구분 필요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8759045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880463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권한 그룹 이동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17" name="표 10">
            <a:extLst>
              <a:ext uri="{FF2B5EF4-FFF2-40B4-BE49-F238E27FC236}">
                <a16:creationId xmlns:a16="http://schemas.microsoft.com/office/drawing/2014/main" id="{4217557B-D77F-4E3E-AAC5-79471F428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092269"/>
              </p:ext>
            </p:extLst>
          </p:nvPr>
        </p:nvGraphicFramePr>
        <p:xfrm>
          <a:off x="9267391" y="759199"/>
          <a:ext cx="2922885" cy="48213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 내에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한 개의 그룹을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이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전 원래의 그룹은 선택할 수 없게 비활성화되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타 그룹 중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확인 버튼 클릭 시 그룹 이동이 완료되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종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취소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저장 취소되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창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종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7509301"/>
                  </a:ext>
                </a:extLst>
              </a:tr>
              <a:tr h="55206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431648"/>
                  </a:ext>
                </a:extLst>
              </a:tr>
              <a:tr h="2640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430973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66271"/>
                  </a:ext>
                </a:extLst>
              </a:tr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660421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6174622"/>
                  </a:ext>
                </a:extLst>
              </a:tr>
              <a:tr h="6480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0804157"/>
                  </a:ext>
                </a:extLst>
              </a:tr>
              <a:tr h="2640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178420"/>
                  </a:ext>
                </a:extLst>
              </a:tr>
            </a:tbl>
          </a:graphicData>
        </a:graphic>
      </p:graphicFrame>
      <p:pic>
        <p:nvPicPr>
          <p:cNvPr id="2" name="그림 1">
            <a:extLst>
              <a:ext uri="{FF2B5EF4-FFF2-40B4-BE49-F238E27FC236}">
                <a16:creationId xmlns:a16="http://schemas.microsoft.com/office/drawing/2014/main" id="{175CF0A1-750D-4B3C-BBB7-295A06445F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2094" y="613068"/>
            <a:ext cx="8718036" cy="5706351"/>
          </a:xfrm>
          <a:prstGeom prst="rect">
            <a:avLst/>
          </a:prstGeom>
        </p:spPr>
      </p:pic>
      <p:grpSp>
        <p:nvGrpSpPr>
          <p:cNvPr id="52" name="그룹 51">
            <a:extLst>
              <a:ext uri="{FF2B5EF4-FFF2-40B4-BE49-F238E27FC236}">
                <a16:creationId xmlns:a16="http://schemas.microsoft.com/office/drawing/2014/main" id="{4F9F8952-F9CE-47AE-B9B7-29D83AFFEDC4}"/>
              </a:ext>
            </a:extLst>
          </p:cNvPr>
          <p:cNvGrpSpPr/>
          <p:nvPr/>
        </p:nvGrpSpPr>
        <p:grpSpPr>
          <a:xfrm>
            <a:off x="5159896" y="2411654"/>
            <a:ext cx="3191416" cy="2034691"/>
            <a:chOff x="11440127" y="1269948"/>
            <a:chExt cx="3191416" cy="1962602"/>
          </a:xfrm>
        </p:grpSpPr>
        <p:grpSp>
          <p:nvGrpSpPr>
            <p:cNvPr id="53" name="그룹 52">
              <a:extLst>
                <a:ext uri="{FF2B5EF4-FFF2-40B4-BE49-F238E27FC236}">
                  <a16:creationId xmlns:a16="http://schemas.microsoft.com/office/drawing/2014/main" id="{FCFE7951-589C-4385-86A5-CBD2DC85E40D}"/>
                </a:ext>
              </a:extLst>
            </p:cNvPr>
            <p:cNvGrpSpPr/>
            <p:nvPr/>
          </p:nvGrpSpPr>
          <p:grpSpPr>
            <a:xfrm>
              <a:off x="11440127" y="1269948"/>
              <a:ext cx="3191416" cy="1962602"/>
              <a:chOff x="7396312" y="864499"/>
              <a:chExt cx="3191416" cy="1962602"/>
            </a:xfrm>
          </p:grpSpPr>
          <p:sp>
            <p:nvSpPr>
              <p:cNvPr id="55" name="직사각형 54">
                <a:extLst>
                  <a:ext uri="{FF2B5EF4-FFF2-40B4-BE49-F238E27FC236}">
                    <a16:creationId xmlns:a16="http://schemas.microsoft.com/office/drawing/2014/main" id="{9C7BEA8E-AA33-4BB0-949F-F4E0D4D4890D}"/>
                  </a:ext>
                </a:extLst>
              </p:cNvPr>
              <p:cNvSpPr/>
              <p:nvPr/>
            </p:nvSpPr>
            <p:spPr>
              <a:xfrm>
                <a:off x="7396312" y="1097605"/>
                <a:ext cx="3191416" cy="1729496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864" rtlCol="0" anchor="t" anchorCtr="0"/>
              <a:lstStyle/>
              <a:p>
                <a:pPr algn="ctr"/>
                <a:endParaRPr lang="ko-KR" altLang="en-US" sz="800">
                  <a:solidFill>
                    <a:srgbClr val="000000"/>
                  </a:solidFill>
                  <a:latin typeface="+mn-ea"/>
                  <a:cs typeface="Segoe UI" panose="020B0502040204020203" pitchFamily="34" charset="0"/>
                </a:endParaRPr>
              </a:p>
            </p:txBody>
          </p:sp>
          <p:grpSp>
            <p:nvGrpSpPr>
              <p:cNvPr id="56" name="그룹 55">
                <a:extLst>
                  <a:ext uri="{FF2B5EF4-FFF2-40B4-BE49-F238E27FC236}">
                    <a16:creationId xmlns:a16="http://schemas.microsoft.com/office/drawing/2014/main" id="{F092ADEF-826E-43BE-B714-3979EB730A0C}"/>
                  </a:ext>
                </a:extLst>
              </p:cNvPr>
              <p:cNvGrpSpPr/>
              <p:nvPr/>
            </p:nvGrpSpPr>
            <p:grpSpPr>
              <a:xfrm>
                <a:off x="7396312" y="864499"/>
                <a:ext cx="3191416" cy="283115"/>
                <a:chOff x="7396312" y="864499"/>
                <a:chExt cx="3191416" cy="283115"/>
              </a:xfrm>
            </p:grpSpPr>
            <p:sp>
              <p:nvSpPr>
                <p:cNvPr id="57" name="직사각형 56">
                  <a:extLst>
                    <a:ext uri="{FF2B5EF4-FFF2-40B4-BE49-F238E27FC236}">
                      <a16:creationId xmlns:a16="http://schemas.microsoft.com/office/drawing/2014/main" id="{B371CB4C-4D2E-4357-A607-2024AC30FE15}"/>
                    </a:ext>
                  </a:extLst>
                </p:cNvPr>
                <p:cNvSpPr/>
                <p:nvPr/>
              </p:nvSpPr>
              <p:spPr>
                <a:xfrm>
                  <a:off x="7396312" y="864499"/>
                  <a:ext cx="3191416" cy="283115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3175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54864" rtlCol="0" anchor="ctr" anchorCtr="0"/>
                <a:lstStyle/>
                <a:p>
                  <a:r>
                    <a:rPr lang="ko-KR" altLang="en-US" sz="1000" b="1" dirty="0">
                      <a:solidFill>
                        <a:schemeClr val="bg1"/>
                      </a:solidFill>
                      <a:latin typeface="+mn-ea"/>
                      <a:cs typeface="Segoe UI" panose="020B0502040204020203" pitchFamily="34" charset="0"/>
                    </a:rPr>
                    <a:t>권한 그룹 이동</a:t>
                  </a: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CDF28707-98A7-4132-BB5B-F386427A9AF8}"/>
                    </a:ext>
                  </a:extLst>
                </p:cNvPr>
                <p:cNvSpPr txBox="1"/>
                <p:nvPr/>
              </p:nvSpPr>
              <p:spPr>
                <a:xfrm>
                  <a:off x="10316155" y="877058"/>
                  <a:ext cx="216000" cy="25472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맑은 고딕" panose="020B0503020000020004" pitchFamily="50" charset="-127"/>
                      <a:ea typeface="맑은 고딕" panose="020B0503020000020004" pitchFamily="50" charset="-127"/>
                      <a:cs typeface="Segoe UI" panose="020B0502040204020203" pitchFamily="34" charset="0"/>
                    </a:rPr>
                    <a:t>X</a:t>
                  </a:r>
                  <a:endParaRPr kumimoji="0" lang="ko-KR" alt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  <a:cs typeface="Segoe UI" panose="020B0502040204020203" pitchFamily="34" charset="0"/>
                  </a:endParaRPr>
                </a:p>
              </p:txBody>
            </p:sp>
          </p:grp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A1F67A8-A4C0-46B8-8DAF-B5DC90B6A21F}"/>
                </a:ext>
              </a:extLst>
            </p:cNvPr>
            <p:cNvSpPr txBox="1"/>
            <p:nvPr/>
          </p:nvSpPr>
          <p:spPr>
            <a:xfrm>
              <a:off x="11584478" y="1662130"/>
              <a:ext cx="86538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ko-KR" altLang="en-US" sz="800" b="1" i="0" u="none" strike="noStrike" kern="1200" cap="none" spc="-3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이동 대상 그룹</a:t>
              </a:r>
            </a:p>
          </p:txBody>
        </p:sp>
      </p:grpSp>
      <p:graphicFrame>
        <p:nvGraphicFramePr>
          <p:cNvPr id="59" name="표 58">
            <a:extLst>
              <a:ext uri="{FF2B5EF4-FFF2-40B4-BE49-F238E27FC236}">
                <a16:creationId xmlns:a16="http://schemas.microsoft.com/office/drawing/2014/main" id="{001F70F8-E297-4BB9-880E-7BC872145BF7}"/>
              </a:ext>
            </a:extLst>
          </p:cNvPr>
          <p:cNvGraphicFramePr>
            <a:graphicFrameLocks noGrp="1"/>
          </p:cNvGraphicFramePr>
          <p:nvPr/>
        </p:nvGraphicFramePr>
        <p:xfrm>
          <a:off x="5255574" y="3004934"/>
          <a:ext cx="3002294" cy="1127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9248">
                  <a:extLst>
                    <a:ext uri="{9D8B030D-6E8A-4147-A177-3AD203B41FA5}">
                      <a16:colId xmlns:a16="http://schemas.microsoft.com/office/drawing/2014/main" val="4210229955"/>
                    </a:ext>
                  </a:extLst>
                </a:gridCol>
                <a:gridCol w="2613046">
                  <a:extLst>
                    <a:ext uri="{9D8B030D-6E8A-4147-A177-3AD203B41FA5}">
                      <a16:colId xmlns:a16="http://schemas.microsoft.com/office/drawing/2014/main" val="1716352177"/>
                    </a:ext>
                  </a:extLst>
                </a:gridCol>
              </a:tblGrid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명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6839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fontAlgn="ctr" latinLnBrk="1" hangingPunct="1"/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 </a:t>
                      </a:r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A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417980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 </a:t>
                      </a:r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B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6370149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C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2356059"/>
                  </a:ext>
                </a:extLst>
              </a:tr>
              <a:tr h="118751">
                <a:tc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○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kumimoji="0" lang="ko-KR" altLang="en-US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그룹</a:t>
                      </a:r>
                      <a:r>
                        <a:rPr kumimoji="0" lang="en-US" altLang="ko-KR" sz="900" b="0" i="0" u="none" strike="noStrike" kern="1200" cap="none" spc="0" normalizeH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D</a:t>
                      </a:r>
                      <a:endParaRPr kumimoji="0" lang="ko-KR" altLang="en-US" sz="900" b="0" i="0" u="none" strike="noStrike" kern="1200" cap="none" spc="0" normalizeH="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741566"/>
                  </a:ext>
                </a:extLst>
              </a:tr>
            </a:tbl>
          </a:graphicData>
        </a:graphic>
      </p:graphicFrame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93C4849C-D133-4884-A742-910EB65AD529}"/>
              </a:ext>
            </a:extLst>
          </p:cNvPr>
          <p:cNvSpPr/>
          <p:nvPr/>
        </p:nvSpPr>
        <p:spPr>
          <a:xfrm>
            <a:off x="7612451" y="4187776"/>
            <a:ext cx="652535" cy="169472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취소</a:t>
            </a:r>
          </a:p>
        </p:txBody>
      </p:sp>
      <p:cxnSp>
        <p:nvCxnSpPr>
          <p:cNvPr id="63" name="직선 화살표 연결선 62">
            <a:extLst>
              <a:ext uri="{FF2B5EF4-FFF2-40B4-BE49-F238E27FC236}">
                <a16:creationId xmlns:a16="http://schemas.microsoft.com/office/drawing/2014/main" id="{719289F2-D45B-443D-9800-B268ECA44BE6}"/>
              </a:ext>
            </a:extLst>
          </p:cNvPr>
          <p:cNvCxnSpPr>
            <a:cxnSpLocks/>
            <a:stCxn id="65" idx="2"/>
            <a:endCxn id="57" idx="0"/>
          </p:cNvCxnSpPr>
          <p:nvPr/>
        </p:nvCxnSpPr>
        <p:spPr>
          <a:xfrm flipH="1">
            <a:off x="6755604" y="2003180"/>
            <a:ext cx="1807952" cy="408474"/>
          </a:xfrm>
          <a:prstGeom prst="straightConnector1">
            <a:avLst/>
          </a:prstGeom>
          <a:ln w="12700" cap="sq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65" name="사각형: 둥근 모서리 64">
            <a:extLst>
              <a:ext uri="{FF2B5EF4-FFF2-40B4-BE49-F238E27FC236}">
                <a16:creationId xmlns:a16="http://schemas.microsoft.com/office/drawing/2014/main" id="{5FCB794E-542A-4465-AF78-54675A226A63}"/>
              </a:ext>
            </a:extLst>
          </p:cNvPr>
          <p:cNvSpPr/>
          <p:nvPr/>
        </p:nvSpPr>
        <p:spPr>
          <a:xfrm>
            <a:off x="8253194" y="1834442"/>
            <a:ext cx="620723" cy="1687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동</a:t>
            </a:r>
          </a:p>
        </p:txBody>
      </p:sp>
      <p:sp>
        <p:nvSpPr>
          <p:cNvPr id="20" name="사각형: 둥근 모서리 19">
            <a:extLst>
              <a:ext uri="{FF2B5EF4-FFF2-40B4-BE49-F238E27FC236}">
                <a16:creationId xmlns:a16="http://schemas.microsoft.com/office/drawing/2014/main" id="{8001DDBF-944D-426A-BC34-FD5D5AB7D50E}"/>
              </a:ext>
            </a:extLst>
          </p:cNvPr>
          <p:cNvSpPr/>
          <p:nvPr/>
        </p:nvSpPr>
        <p:spPr>
          <a:xfrm>
            <a:off x="6920090" y="4187776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21" name="사각형: 둥근 모서리 20">
            <a:extLst>
              <a:ext uri="{FF2B5EF4-FFF2-40B4-BE49-F238E27FC236}">
                <a16:creationId xmlns:a16="http://schemas.microsoft.com/office/drawing/2014/main" id="{261DCE84-D6D9-4852-9E9C-95AE5B45FE00}"/>
              </a:ext>
            </a:extLst>
          </p:cNvPr>
          <p:cNvSpPr/>
          <p:nvPr/>
        </p:nvSpPr>
        <p:spPr>
          <a:xfrm>
            <a:off x="6847609" y="414323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69F31B6E-5BCC-4E84-851D-8DE7FFA1015B}"/>
              </a:ext>
            </a:extLst>
          </p:cNvPr>
          <p:cNvSpPr/>
          <p:nvPr/>
        </p:nvSpPr>
        <p:spPr>
          <a:xfrm>
            <a:off x="5135254" y="344664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25299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813E814-733E-4F28-87DA-42AFB84F9C63}"/>
              </a:ext>
            </a:extLst>
          </p:cNvPr>
          <p:cNvSpPr txBox="1"/>
          <p:nvPr/>
        </p:nvSpPr>
        <p:spPr>
          <a:xfrm>
            <a:off x="346740" y="330861"/>
            <a:ext cx="115212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화면목록 </a:t>
            </a:r>
            <a:r>
              <a:rPr lang="en-US" altLang="ko-KR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/2)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87D1A855-0C24-45D4-94C5-51EEACBA1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95866"/>
              </p:ext>
            </p:extLst>
          </p:nvPr>
        </p:nvGraphicFramePr>
        <p:xfrm>
          <a:off x="342860" y="871491"/>
          <a:ext cx="11513780" cy="54961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9187">
                  <a:extLst>
                    <a:ext uri="{9D8B030D-6E8A-4147-A177-3AD203B41FA5}">
                      <a16:colId xmlns:a16="http://schemas.microsoft.com/office/drawing/2014/main" val="1163915430"/>
                    </a:ext>
                  </a:extLst>
                </a:gridCol>
                <a:gridCol w="1421970">
                  <a:extLst>
                    <a:ext uri="{9D8B030D-6E8A-4147-A177-3AD203B41FA5}">
                      <a16:colId xmlns:a16="http://schemas.microsoft.com/office/drawing/2014/main" val="3753752439"/>
                    </a:ext>
                  </a:extLst>
                </a:gridCol>
                <a:gridCol w="625284">
                  <a:extLst>
                    <a:ext uri="{9D8B030D-6E8A-4147-A177-3AD203B41FA5}">
                      <a16:colId xmlns:a16="http://schemas.microsoft.com/office/drawing/2014/main" val="370456716"/>
                    </a:ext>
                  </a:extLst>
                </a:gridCol>
                <a:gridCol w="2762723">
                  <a:extLst>
                    <a:ext uri="{9D8B030D-6E8A-4147-A177-3AD203B41FA5}">
                      <a16:colId xmlns:a16="http://schemas.microsoft.com/office/drawing/2014/main" val="3230953248"/>
                    </a:ext>
                  </a:extLst>
                </a:gridCol>
                <a:gridCol w="5544616">
                  <a:extLst>
                    <a:ext uri="{9D8B030D-6E8A-4147-A177-3AD203B41FA5}">
                      <a16:colId xmlns:a16="http://schemas.microsoft.com/office/drawing/2014/main" val="3680146870"/>
                    </a:ext>
                  </a:extLst>
                </a:gridCol>
              </a:tblGrid>
              <a:tr h="274807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1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2(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하단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LV3(</a:t>
                      </a:r>
                      <a:r>
                        <a:rPr lang="ko-KR" altLang="en-US" sz="900" b="1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명</a:t>
                      </a:r>
                      <a:r>
                        <a:rPr lang="en-US" altLang="ko-KR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ct val="100000"/>
                        </a:lnSpc>
                      </a:pPr>
                      <a:r>
                        <a:rPr lang="ko-KR" altLang="en-US" sz="9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설명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310353"/>
                  </a:ext>
                </a:extLst>
              </a:tr>
              <a:tr h="274807">
                <a:tc rowSpan="8"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 관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 관리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14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조회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3261046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31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상세조회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8950682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sng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32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sng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sng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sng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900" b="0" i="0" u="none" strike="sng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 조회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8705329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의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청 관리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01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의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청 조회 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072570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02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의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청 상세조회 및 답변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3534359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권한그룹관리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15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권한그룹관리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2676900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33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권한 그룹 이동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ko-KR" altLang="en-US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6538290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 통계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16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원통계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494936"/>
                  </a:ext>
                </a:extLst>
              </a:tr>
              <a:tr h="274807">
                <a:tc rowSpan="11"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사이트 관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큐레이션 관리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11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화면 관리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8781085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12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탭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천 컨텐츠 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1599251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13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탭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핵심 개념 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6729880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24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탭</a:t>
                      </a:r>
                      <a:r>
                        <a:rPr lang="en-US" altLang="ko-KR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문가 코멘트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8630908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25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탭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레임워크 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215131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SG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 관리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37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SG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캘린더 관리 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505046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38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ESG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 등록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·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경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29812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39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팝업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ESG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정 상세조회 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공통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548721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동로그 관리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18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동로그 관리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5430028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현황 관리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19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현황 관리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0962911"/>
                  </a:ext>
                </a:extLst>
              </a:tr>
              <a:tr h="274807">
                <a:tc vMerge="1"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자 활동 로그 관리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043</a:t>
                      </a:r>
                    </a:p>
                  </a:txBody>
                  <a:tcPr marL="72000" marR="72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ko-KR" alt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자 활동로그 관리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00000"/>
                        </a:lnSpc>
                      </a:pPr>
                      <a:endParaRPr lang="en-US" altLang="ko-KR" sz="9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29511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397731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834029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6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통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고객 현황 대시보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가입회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지 신청회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산업별 회원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마케팅 동의 여부 등을 구분하여 볼 수 있는 현황 관리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28292" y="1371075"/>
            <a:ext cx="865854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현황 대시보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고객 관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통계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kumimoji="0" lang="ko-KR" altLang="en-US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aphicFrame>
        <p:nvGraphicFramePr>
          <p:cNvPr id="117" name="표 10">
            <a:extLst>
              <a:ext uri="{FF2B5EF4-FFF2-40B4-BE49-F238E27FC236}">
                <a16:creationId xmlns:a16="http://schemas.microsoft.com/office/drawing/2014/main" id="{4217557B-D77F-4E3E-AAC5-79471F428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814011"/>
              </p:ext>
            </p:extLst>
          </p:nvPr>
        </p:nvGraphicFramePr>
        <p:xfrm>
          <a:off x="9267391" y="759199"/>
          <a:ext cx="2922885" cy="24813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통계를 출력한 기준일시를 표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YYYY-MM-D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H:M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평균 방문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누적 가입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평균 문의 건을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하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평균 방문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방문자를 월평균으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금일 방문자 수 증가분도 별도로 표시하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누적가입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까지 누적된  가입자 수를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금일 가입자 수 증가분도 별도로 표시하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평균 문의 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문의를 월평균으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금일 문의 증가분도 별도로 표시하여 제공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진단을 수행한 회원 수를 출력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진단 수행한 회원의 산업 비중을 표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산업분류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ICS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분류 기준 참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~ 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 산업 표시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산업별 회원 수와 금일 추가 증가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표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차트 형태로 전체 산업별 비중 표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</a:tbl>
          </a:graphicData>
        </a:graphic>
      </p:graphicFrame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2DFD160A-A24C-451F-9F94-A56D9AD7ECCD}"/>
              </a:ext>
            </a:extLst>
          </p:cNvPr>
          <p:cNvSpPr/>
          <p:nvPr/>
        </p:nvSpPr>
        <p:spPr>
          <a:xfrm>
            <a:off x="623392" y="1544101"/>
            <a:ext cx="3970132" cy="4548724"/>
          </a:xfrm>
          <a:prstGeom prst="roundRect">
            <a:avLst>
              <a:gd name="adj" fmla="val 2636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bIns="360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53" name="직선 연결선 52">
            <a:extLst>
              <a:ext uri="{FF2B5EF4-FFF2-40B4-BE49-F238E27FC236}">
                <a16:creationId xmlns:a16="http://schemas.microsoft.com/office/drawing/2014/main" id="{984CF582-156F-4591-A656-9479AB5A14B4}"/>
              </a:ext>
            </a:extLst>
          </p:cNvPr>
          <p:cNvCxnSpPr>
            <a:cxnSpLocks/>
          </p:cNvCxnSpPr>
          <p:nvPr/>
        </p:nvCxnSpPr>
        <p:spPr>
          <a:xfrm>
            <a:off x="703557" y="1878645"/>
            <a:ext cx="3743129" cy="0"/>
          </a:xfrm>
          <a:prstGeom prst="line">
            <a:avLst/>
          </a:prstGeom>
          <a:ln w="1270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D23D43EC-0DAA-41BD-B5FF-491FC246A94C}"/>
              </a:ext>
            </a:extLst>
          </p:cNvPr>
          <p:cNvSpPr/>
          <p:nvPr/>
        </p:nvSpPr>
        <p:spPr>
          <a:xfrm>
            <a:off x="6762722" y="1646399"/>
            <a:ext cx="2003906" cy="17508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일시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8-24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요일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#:##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15AB89D0-C17C-4C2D-982B-CC4DB61D0C5B}"/>
              </a:ext>
            </a:extLst>
          </p:cNvPr>
          <p:cNvSpPr/>
          <p:nvPr/>
        </p:nvSpPr>
        <p:spPr>
          <a:xfrm>
            <a:off x="623392" y="1578996"/>
            <a:ext cx="1850105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현황</a:t>
            </a: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BD6CC470-25E2-4A27-818E-90B5F801F8D0}"/>
              </a:ext>
            </a:extLst>
          </p:cNvPr>
          <p:cNvGrpSpPr/>
          <p:nvPr/>
        </p:nvGrpSpPr>
        <p:grpSpPr>
          <a:xfrm>
            <a:off x="703557" y="1982669"/>
            <a:ext cx="3845013" cy="792000"/>
            <a:chOff x="703557" y="1965736"/>
            <a:chExt cx="3845013" cy="567354"/>
          </a:xfrm>
        </p:grpSpPr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A9A0D6BB-1549-46B2-8B3E-33A654EC2994}"/>
                </a:ext>
              </a:extLst>
            </p:cNvPr>
            <p:cNvGrpSpPr/>
            <p:nvPr/>
          </p:nvGrpSpPr>
          <p:grpSpPr>
            <a:xfrm>
              <a:off x="703557" y="1965736"/>
              <a:ext cx="3743129" cy="567354"/>
              <a:chOff x="703557" y="1965736"/>
              <a:chExt cx="3743129" cy="567354"/>
            </a:xfrm>
          </p:grpSpPr>
          <p:grpSp>
            <p:nvGrpSpPr>
              <p:cNvPr id="5" name="그룹 4">
                <a:extLst>
                  <a:ext uri="{FF2B5EF4-FFF2-40B4-BE49-F238E27FC236}">
                    <a16:creationId xmlns:a16="http://schemas.microsoft.com/office/drawing/2014/main" id="{7B97C440-EBDE-4AC8-962C-83FDD035C0B0}"/>
                  </a:ext>
                </a:extLst>
              </p:cNvPr>
              <p:cNvGrpSpPr/>
              <p:nvPr/>
            </p:nvGrpSpPr>
            <p:grpSpPr>
              <a:xfrm>
                <a:off x="703557" y="1965736"/>
                <a:ext cx="3743129" cy="567354"/>
                <a:chOff x="743829" y="2069558"/>
                <a:chExt cx="3529986" cy="567354"/>
              </a:xfrm>
            </p:grpSpPr>
            <p:sp>
              <p:nvSpPr>
                <p:cNvPr id="56" name="사각형: 둥근 모서리 55">
                  <a:extLst>
                    <a:ext uri="{FF2B5EF4-FFF2-40B4-BE49-F238E27FC236}">
                      <a16:creationId xmlns:a16="http://schemas.microsoft.com/office/drawing/2014/main" id="{7A5135A2-E647-4638-B273-69462152B31D}"/>
                    </a:ext>
                  </a:extLst>
                </p:cNvPr>
                <p:cNvSpPr/>
                <p:nvPr/>
              </p:nvSpPr>
              <p:spPr>
                <a:xfrm>
                  <a:off x="743829" y="2069558"/>
                  <a:ext cx="1103699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ko-KR" altLang="en-US" sz="900" b="1" dirty="0">
                      <a:solidFill>
                        <a:srgbClr val="000000"/>
                      </a:solidFill>
                      <a:latin typeface="Arial"/>
                      <a:ea typeface="맑은 고딕"/>
                    </a:rPr>
                    <a:t>월평균 </a:t>
                  </a:r>
                  <a:r>
                    <a:rPr kumimoji="0" lang="ko-KR" alt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방문자</a:t>
                  </a: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(</a:t>
                  </a:r>
                  <a:r>
                    <a:rPr kumimoji="0" lang="ko-KR" altLang="en-US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최근</a:t>
                  </a: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1</a:t>
                  </a:r>
                  <a:r>
                    <a:rPr kumimoji="0" lang="ko-KR" altLang="en-US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년</a:t>
                  </a: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)</a:t>
                  </a:r>
                  <a:endPara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endParaRPr>
                </a:p>
              </p:txBody>
            </p:sp>
            <p:sp>
              <p:nvSpPr>
                <p:cNvPr id="129" name="사각형: 둥근 모서리 128">
                  <a:extLst>
                    <a:ext uri="{FF2B5EF4-FFF2-40B4-BE49-F238E27FC236}">
                      <a16:creationId xmlns:a16="http://schemas.microsoft.com/office/drawing/2014/main" id="{A6A0AA12-4E22-4147-9193-A495DF2CFDDE}"/>
                    </a:ext>
                  </a:extLst>
                </p:cNvPr>
                <p:cNvSpPr/>
                <p:nvPr/>
              </p:nvSpPr>
              <p:spPr>
                <a:xfrm>
                  <a:off x="1919536" y="2069558"/>
                  <a:ext cx="1103699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ko-KR" altLang="en-US" sz="900" b="1" dirty="0">
                      <a:solidFill>
                        <a:srgbClr val="000000"/>
                      </a:solidFill>
                      <a:latin typeface="Arial"/>
                      <a:ea typeface="맑은 고딕"/>
                    </a:rPr>
                    <a:t>누적 </a:t>
                  </a:r>
                  <a:r>
                    <a:rPr kumimoji="0" lang="ko-KR" alt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가입자</a:t>
                  </a:r>
                  <a:endPara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endParaRPr>
                </a:p>
              </p:txBody>
            </p:sp>
            <p:sp>
              <p:nvSpPr>
                <p:cNvPr id="130" name="사각형: 둥근 모서리 129">
                  <a:extLst>
                    <a:ext uri="{FF2B5EF4-FFF2-40B4-BE49-F238E27FC236}">
                      <a16:creationId xmlns:a16="http://schemas.microsoft.com/office/drawing/2014/main" id="{71BA3EEF-7934-48D8-A053-F764EDACE805}"/>
                    </a:ext>
                  </a:extLst>
                </p:cNvPr>
                <p:cNvSpPr/>
                <p:nvPr/>
              </p:nvSpPr>
              <p:spPr>
                <a:xfrm>
                  <a:off x="3098563" y="2069558"/>
                  <a:ext cx="1175252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ko-KR" altLang="en-US" sz="900" b="1" dirty="0">
                      <a:solidFill>
                        <a:srgbClr val="000000"/>
                      </a:solidFill>
                      <a:latin typeface="Arial"/>
                      <a:ea typeface="맑은 고딕"/>
                    </a:rPr>
                    <a:t>월평균 </a:t>
                  </a:r>
                  <a:r>
                    <a:rPr kumimoji="0" lang="ko-KR" alt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문의 건</a:t>
                  </a: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(</a:t>
                  </a:r>
                  <a:r>
                    <a:rPr kumimoji="0" lang="ko-KR" altLang="en-US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최근</a:t>
                  </a: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1</a:t>
                  </a:r>
                  <a:r>
                    <a:rPr kumimoji="0" lang="ko-KR" altLang="en-US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년</a:t>
                  </a: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)</a:t>
                  </a:r>
                  <a:endPara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57" name="직사각형 56">
                <a:extLst>
                  <a:ext uri="{FF2B5EF4-FFF2-40B4-BE49-F238E27FC236}">
                    <a16:creationId xmlns:a16="http://schemas.microsoft.com/office/drawing/2014/main" id="{1562902C-CFB4-4711-B23C-51957B96169D}"/>
                  </a:ext>
                </a:extLst>
              </p:cNvPr>
              <p:cNvSpPr/>
              <p:nvPr/>
            </p:nvSpPr>
            <p:spPr>
              <a:xfrm>
                <a:off x="724110" y="2198112"/>
                <a:ext cx="1162706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6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,312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명 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▲</a:t>
                </a:r>
                <a:r>
                  <a:rPr kumimoji="0" lang="en-US" altLang="ko-KR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415</a:t>
                </a:r>
                <a:endParaRPr kumimoji="0" lang="ko-KR" altLang="en-US" sz="16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6D98B4FB-FCB8-4EC0-9DD8-C9C5C146C79E}"/>
                  </a:ext>
                </a:extLst>
              </p:cNvPr>
              <p:cNvSpPr/>
              <p:nvPr/>
            </p:nvSpPr>
            <p:spPr>
              <a:xfrm>
                <a:off x="1942808" y="2198112"/>
                <a:ext cx="1169760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6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3,451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명 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▲</a:t>
                </a:r>
                <a:r>
                  <a:rPr kumimoji="0" lang="en-US" altLang="ko-KR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5</a:t>
                </a:r>
                <a:endParaRPr kumimoji="0" lang="ko-KR" altLang="en-US" sz="16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33" name="직사각형 132">
              <a:extLst>
                <a:ext uri="{FF2B5EF4-FFF2-40B4-BE49-F238E27FC236}">
                  <a16:creationId xmlns:a16="http://schemas.microsoft.com/office/drawing/2014/main" id="{A1DBDFDD-59CE-4A8F-BA34-6FB4F375EDB4}"/>
                </a:ext>
              </a:extLst>
            </p:cNvPr>
            <p:cNvSpPr/>
            <p:nvPr/>
          </p:nvSpPr>
          <p:spPr>
            <a:xfrm>
              <a:off x="3098586" y="2198112"/>
              <a:ext cx="1449984" cy="279895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51</a:t>
              </a:r>
              <a:r>
                <a:rPr kumimoji="0" lang="ko-KR" altLang="en-US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건</a:t>
              </a:r>
              <a:r>
                <a:rPr kumimoji="0" lang="ko-KR" altLang="en-US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▲</a:t>
              </a:r>
              <a:r>
                <a:rPr kumimoji="0" lang="en-US" altLang="ko-KR" sz="9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D04A02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</a:t>
              </a:r>
              <a:endParaRPr kumimoji="0" lang="ko-KR" altLang="en-US" sz="16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146" name="표 2">
            <a:extLst>
              <a:ext uri="{FF2B5EF4-FFF2-40B4-BE49-F238E27FC236}">
                <a16:creationId xmlns:a16="http://schemas.microsoft.com/office/drawing/2014/main" id="{D748AA91-1E85-4EA4-BC30-EE771E197F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6639142"/>
              </p:ext>
            </p:extLst>
          </p:nvPr>
        </p:nvGraphicFramePr>
        <p:xfrm>
          <a:off x="718363" y="3022162"/>
          <a:ext cx="3728320" cy="28880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32080">
                  <a:extLst>
                    <a:ext uri="{9D8B030D-6E8A-4147-A177-3AD203B41FA5}">
                      <a16:colId xmlns:a16="http://schemas.microsoft.com/office/drawing/2014/main" val="501644273"/>
                    </a:ext>
                  </a:extLst>
                </a:gridCol>
                <a:gridCol w="932080">
                  <a:extLst>
                    <a:ext uri="{9D8B030D-6E8A-4147-A177-3AD203B41FA5}">
                      <a16:colId xmlns:a16="http://schemas.microsoft.com/office/drawing/2014/main" val="3814020206"/>
                    </a:ext>
                  </a:extLst>
                </a:gridCol>
                <a:gridCol w="932080">
                  <a:extLst>
                    <a:ext uri="{9D8B030D-6E8A-4147-A177-3AD203B41FA5}">
                      <a16:colId xmlns:a16="http://schemas.microsoft.com/office/drawing/2014/main" val="2053263931"/>
                    </a:ext>
                  </a:extLst>
                </a:gridCol>
                <a:gridCol w="932080">
                  <a:extLst>
                    <a:ext uri="{9D8B030D-6E8A-4147-A177-3AD203B41FA5}">
                      <a16:colId xmlns:a16="http://schemas.microsoft.com/office/drawing/2014/main" val="1661561398"/>
                    </a:ext>
                  </a:extLst>
                </a:gridCol>
              </a:tblGrid>
              <a:tr h="24176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자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방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7525474"/>
                  </a:ext>
                </a:extLst>
              </a:tr>
              <a:tr h="241768"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월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,312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,450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4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519844"/>
                  </a:ext>
                </a:extLst>
              </a:tr>
              <a:tr h="2417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10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3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5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9971888"/>
                  </a:ext>
                </a:extLst>
              </a:tr>
              <a:tr h="2417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09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2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2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8658074"/>
                  </a:ext>
                </a:extLst>
              </a:tr>
              <a:tr h="2417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08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3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4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1893148"/>
                  </a:ext>
                </a:extLst>
              </a:tr>
              <a:tr h="2417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07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40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1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3147108"/>
                  </a:ext>
                </a:extLst>
              </a:tr>
              <a:tr h="2417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0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07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45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1693729"/>
                  </a:ext>
                </a:extLst>
              </a:tr>
              <a:tr h="24176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05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40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1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39120382"/>
                  </a:ext>
                </a:extLst>
              </a:tr>
              <a:tr h="241768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109601"/>
                  </a:ext>
                </a:extLst>
              </a:tr>
              <a:tr h="241768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23015625"/>
                  </a:ext>
                </a:extLst>
              </a:tr>
              <a:tr h="241768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51952892"/>
                  </a:ext>
                </a:extLst>
              </a:tr>
              <a:tr h="220008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9643740"/>
                  </a:ext>
                </a:extLst>
              </a:tr>
            </a:tbl>
          </a:graphicData>
        </a:graphic>
      </p:graphicFrame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5C123521-7440-4261-9F5C-2A4FDABB74B1}"/>
              </a:ext>
            </a:extLst>
          </p:cNvPr>
          <p:cNvSpPr/>
          <p:nvPr/>
        </p:nvSpPr>
        <p:spPr>
          <a:xfrm>
            <a:off x="2638790" y="1646399"/>
            <a:ext cx="2003906" cy="17508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일시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8-24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요일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#:##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163" name="사각형: 둥근 모서리 162">
            <a:extLst>
              <a:ext uri="{FF2B5EF4-FFF2-40B4-BE49-F238E27FC236}">
                <a16:creationId xmlns:a16="http://schemas.microsoft.com/office/drawing/2014/main" id="{30964C07-CA58-4962-AF20-51B662BE720E}"/>
              </a:ext>
            </a:extLst>
          </p:cNvPr>
          <p:cNvSpPr/>
          <p:nvPr/>
        </p:nvSpPr>
        <p:spPr>
          <a:xfrm>
            <a:off x="4781040" y="1544101"/>
            <a:ext cx="3970132" cy="4548724"/>
          </a:xfrm>
          <a:prstGeom prst="roundRect">
            <a:avLst>
              <a:gd name="adj" fmla="val 2636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bIns="360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165" name="직선 연결선 164">
            <a:extLst>
              <a:ext uri="{FF2B5EF4-FFF2-40B4-BE49-F238E27FC236}">
                <a16:creationId xmlns:a16="http://schemas.microsoft.com/office/drawing/2014/main" id="{4E852C96-B735-4DCB-8D9F-A18772068EBF}"/>
              </a:ext>
            </a:extLst>
          </p:cNvPr>
          <p:cNvCxnSpPr>
            <a:cxnSpLocks/>
          </p:cNvCxnSpPr>
          <p:nvPr/>
        </p:nvCxnSpPr>
        <p:spPr>
          <a:xfrm>
            <a:off x="4891956" y="1878645"/>
            <a:ext cx="3743129" cy="0"/>
          </a:xfrm>
          <a:prstGeom prst="line">
            <a:avLst/>
          </a:prstGeom>
          <a:ln w="1270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67" name="직사각형 166">
            <a:extLst>
              <a:ext uri="{FF2B5EF4-FFF2-40B4-BE49-F238E27FC236}">
                <a16:creationId xmlns:a16="http://schemas.microsoft.com/office/drawing/2014/main" id="{015921C3-6F46-4151-8441-7446A91F47A8}"/>
              </a:ext>
            </a:extLst>
          </p:cNvPr>
          <p:cNvSpPr/>
          <p:nvPr/>
        </p:nvSpPr>
        <p:spPr>
          <a:xfrm>
            <a:off x="4811791" y="1578996"/>
            <a:ext cx="2076297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별 회원</a:t>
            </a:r>
            <a:endParaRPr kumimoji="0" lang="ko-KR" altLang="en-US" sz="90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B331D9FB-5D16-4D47-AEE6-C50026BCBC1C}"/>
              </a:ext>
            </a:extLst>
          </p:cNvPr>
          <p:cNvGrpSpPr/>
          <p:nvPr/>
        </p:nvGrpSpPr>
        <p:grpSpPr>
          <a:xfrm>
            <a:off x="4891956" y="1965736"/>
            <a:ext cx="3743129" cy="828000"/>
            <a:chOff x="4891956" y="1965736"/>
            <a:chExt cx="3743129" cy="915497"/>
          </a:xfrm>
        </p:grpSpPr>
        <p:sp>
          <p:nvSpPr>
            <p:cNvPr id="169" name="사각형: 둥근 모서리 168">
              <a:extLst>
                <a:ext uri="{FF2B5EF4-FFF2-40B4-BE49-F238E27FC236}">
                  <a16:creationId xmlns:a16="http://schemas.microsoft.com/office/drawing/2014/main" id="{C985A17C-240B-4D3C-A7FB-69AD96F40313}"/>
                </a:ext>
              </a:extLst>
            </p:cNvPr>
            <p:cNvSpPr/>
            <p:nvPr/>
          </p:nvSpPr>
          <p:spPr>
            <a:xfrm>
              <a:off x="4891956" y="1965736"/>
              <a:ext cx="3743129" cy="272413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 1</a:t>
              </a:r>
              <a:r>
                <a:rPr lang="ko-KR" altLang="en-US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위</a:t>
              </a:r>
              <a:r>
                <a:rPr lang="en-US" altLang="ko-KR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. </a:t>
              </a:r>
              <a:r>
                <a:rPr lang="ko-KR" altLang="en-US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유통                                                     </a:t>
              </a:r>
              <a:endPara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70" name="사각형: 둥근 모서리 169">
              <a:extLst>
                <a:ext uri="{FF2B5EF4-FFF2-40B4-BE49-F238E27FC236}">
                  <a16:creationId xmlns:a16="http://schemas.microsoft.com/office/drawing/2014/main" id="{73FBEA95-9106-4488-9CE3-8E0B1E0A805E}"/>
                </a:ext>
              </a:extLst>
            </p:cNvPr>
            <p:cNvSpPr/>
            <p:nvPr/>
          </p:nvSpPr>
          <p:spPr>
            <a:xfrm>
              <a:off x="4891956" y="2287278"/>
              <a:ext cx="3743129" cy="272413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 2</a:t>
              </a:r>
              <a:r>
                <a:rPr lang="ko-KR" altLang="en-US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위</a:t>
              </a:r>
              <a:r>
                <a:rPr lang="en-US" altLang="ko-KR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. </a:t>
              </a:r>
              <a:r>
                <a:rPr lang="ko-KR" altLang="en-US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제조 </a:t>
              </a:r>
              <a:endPara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71" name="사각형: 둥근 모서리 170">
              <a:extLst>
                <a:ext uri="{FF2B5EF4-FFF2-40B4-BE49-F238E27FC236}">
                  <a16:creationId xmlns:a16="http://schemas.microsoft.com/office/drawing/2014/main" id="{0E44E672-F4A8-48AC-A233-758E4A89E4AF}"/>
                </a:ext>
              </a:extLst>
            </p:cNvPr>
            <p:cNvSpPr/>
            <p:nvPr/>
          </p:nvSpPr>
          <p:spPr>
            <a:xfrm>
              <a:off x="4891956" y="2608820"/>
              <a:ext cx="3743129" cy="272413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 3</a:t>
              </a:r>
              <a:r>
                <a:rPr lang="ko-KR" altLang="en-US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위</a:t>
              </a:r>
              <a:r>
                <a:rPr lang="en-US" altLang="ko-KR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. </a:t>
              </a:r>
              <a:r>
                <a:rPr lang="ko-KR" altLang="en-US" sz="1000" b="1" dirty="0">
                  <a:solidFill>
                    <a:srgbClr val="000000"/>
                  </a:solidFill>
                  <a:latin typeface="Arial"/>
                  <a:ea typeface="맑은 고딕"/>
                </a:rPr>
                <a:t>금융</a:t>
              </a:r>
              <a:endPara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172" name="직사각형 171">
            <a:extLst>
              <a:ext uri="{FF2B5EF4-FFF2-40B4-BE49-F238E27FC236}">
                <a16:creationId xmlns:a16="http://schemas.microsoft.com/office/drawing/2014/main" id="{3820817F-BF9C-472C-B2DA-685BED2D05D2}"/>
              </a:ext>
            </a:extLst>
          </p:cNvPr>
          <p:cNvSpPr/>
          <p:nvPr/>
        </p:nvSpPr>
        <p:spPr>
          <a:xfrm>
            <a:off x="7478012" y="1899898"/>
            <a:ext cx="1162706" cy="390721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,012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명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▲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15</a:t>
            </a:r>
            <a:endParaRPr kumimoji="0" lang="ko-KR" altLang="en-US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3" name="직사각형 172">
            <a:extLst>
              <a:ext uri="{FF2B5EF4-FFF2-40B4-BE49-F238E27FC236}">
                <a16:creationId xmlns:a16="http://schemas.microsoft.com/office/drawing/2014/main" id="{10D201E1-183D-4AA1-A07A-6DF0945BBCA2}"/>
              </a:ext>
            </a:extLst>
          </p:cNvPr>
          <p:cNvSpPr/>
          <p:nvPr/>
        </p:nvSpPr>
        <p:spPr>
          <a:xfrm>
            <a:off x="7534049" y="2200168"/>
            <a:ext cx="1162706" cy="390721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58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명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▲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15</a:t>
            </a:r>
            <a:endParaRPr kumimoji="0" lang="ko-KR" altLang="en-US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4" name="직사각형 173">
            <a:extLst>
              <a:ext uri="{FF2B5EF4-FFF2-40B4-BE49-F238E27FC236}">
                <a16:creationId xmlns:a16="http://schemas.microsoft.com/office/drawing/2014/main" id="{C0896AEA-A8F6-4B23-98A7-F8F7C6B12EA3}"/>
              </a:ext>
            </a:extLst>
          </p:cNvPr>
          <p:cNvSpPr/>
          <p:nvPr/>
        </p:nvSpPr>
        <p:spPr>
          <a:xfrm>
            <a:off x="7534049" y="2489394"/>
            <a:ext cx="1162706" cy="390721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21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명 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▲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15</a:t>
            </a:r>
            <a:endParaRPr kumimoji="0" lang="ko-KR" altLang="en-US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46EFE420-2B39-42FA-AD34-1416F27DA1F5}"/>
              </a:ext>
            </a:extLst>
          </p:cNvPr>
          <p:cNvSpPr txBox="1"/>
          <p:nvPr/>
        </p:nvSpPr>
        <p:spPr>
          <a:xfrm>
            <a:off x="2682493" y="2763276"/>
            <a:ext cx="176419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(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▲숫자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일 증가 수량</a:t>
            </a:r>
            <a:endParaRPr lang="ko-KR" altLang="en-US" sz="1800" dirty="0"/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D92BF228-CCA0-4292-84C1-66564FEF7293}"/>
              </a:ext>
            </a:extLst>
          </p:cNvPr>
          <p:cNvSpPr txBox="1"/>
          <p:nvPr/>
        </p:nvSpPr>
        <p:spPr>
          <a:xfrm>
            <a:off x="5762688" y="2763276"/>
            <a:ext cx="291903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산업분류는 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ICS 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 참고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(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▲숫자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 </a:t>
            </a:r>
            <a:r>
              <a:rPr kumimoji="0" lang="ko-KR" altLang="en-US" sz="8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금일 증가 수량</a:t>
            </a:r>
            <a:endParaRPr lang="ko-KR" altLang="en-US" sz="1800" dirty="0"/>
          </a:p>
        </p:txBody>
      </p:sp>
      <p:graphicFrame>
        <p:nvGraphicFramePr>
          <p:cNvPr id="24" name="차트 23">
            <a:extLst>
              <a:ext uri="{FF2B5EF4-FFF2-40B4-BE49-F238E27FC236}">
                <a16:creationId xmlns:a16="http://schemas.microsoft.com/office/drawing/2014/main" id="{0FDF3E38-C354-48AD-8D68-CAE9F6FBF6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232513"/>
              </p:ext>
            </p:extLst>
          </p:nvPr>
        </p:nvGraphicFramePr>
        <p:xfrm>
          <a:off x="4702628" y="3169341"/>
          <a:ext cx="4064000" cy="2740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6FE3D6F1-5987-4C18-AED2-E8DDC70C7D50}"/>
              </a:ext>
            </a:extLst>
          </p:cNvPr>
          <p:cNvSpPr/>
          <p:nvPr/>
        </p:nvSpPr>
        <p:spPr>
          <a:xfrm>
            <a:off x="2525740" y="159724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C044BD2C-97D6-423B-A145-2437ED582521}"/>
              </a:ext>
            </a:extLst>
          </p:cNvPr>
          <p:cNvSpPr/>
          <p:nvPr/>
        </p:nvSpPr>
        <p:spPr>
          <a:xfrm>
            <a:off x="703557" y="192354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83A84378-A458-4580-9553-95B45C6E757D}"/>
              </a:ext>
            </a:extLst>
          </p:cNvPr>
          <p:cNvSpPr/>
          <p:nvPr/>
        </p:nvSpPr>
        <p:spPr>
          <a:xfrm>
            <a:off x="4851778" y="192354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AE8CBBEB-0058-4C41-9334-AAD5DB548812}"/>
              </a:ext>
            </a:extLst>
          </p:cNvPr>
          <p:cNvSpPr/>
          <p:nvPr/>
        </p:nvSpPr>
        <p:spPr>
          <a:xfrm>
            <a:off x="4996740" y="292026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53C21BC-B1B5-420C-872F-8AB1D0E86BC0}"/>
              </a:ext>
            </a:extLst>
          </p:cNvPr>
          <p:cNvSpPr txBox="1"/>
          <p:nvPr/>
        </p:nvSpPr>
        <p:spPr>
          <a:xfrm>
            <a:off x="4795191" y="3031755"/>
            <a:ext cx="144942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※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진단수행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총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,###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명</a:t>
            </a:r>
            <a:endParaRPr lang="ko-KR" altLang="en-US" b="1" dirty="0"/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111D2D30-29F0-40E0-9655-CEA1BFB0A16F}"/>
              </a:ext>
            </a:extLst>
          </p:cNvPr>
          <p:cNvSpPr/>
          <p:nvPr/>
        </p:nvSpPr>
        <p:spPr>
          <a:xfrm>
            <a:off x="5805043" y="358738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763134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id="{2584CC6C-50EC-459E-B22B-136FF07BD122}"/>
              </a:ext>
            </a:extLst>
          </p:cNvPr>
          <p:cNvSpPr/>
          <p:nvPr/>
        </p:nvSpPr>
        <p:spPr>
          <a:xfrm>
            <a:off x="-10149" y="2708920"/>
            <a:ext cx="886108" cy="720080"/>
          </a:xfrm>
          <a:prstGeom prst="rect">
            <a:avLst/>
          </a:prstGeom>
          <a:solidFill>
            <a:srgbClr val="E0301E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A086D23-8EA7-494F-A420-90D8685749A8}"/>
              </a:ext>
            </a:extLst>
          </p:cNvPr>
          <p:cNvSpPr/>
          <p:nvPr/>
        </p:nvSpPr>
        <p:spPr>
          <a:xfrm>
            <a:off x="1024178" y="2719563"/>
            <a:ext cx="3290355" cy="70943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24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웹사이트 관리</a:t>
            </a:r>
            <a:endParaRPr lang="en-US" altLang="ko-KR" sz="24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맑은 고딕" panose="020B0503020000020004" pitchFamily="50" charset="-127"/>
            </a:endParaRP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5D7C2872-3169-48D2-B546-9038AADD6816}"/>
              </a:ext>
            </a:extLst>
          </p:cNvPr>
          <p:cNvCxnSpPr>
            <a:cxnSpLocks/>
          </p:cNvCxnSpPr>
          <p:nvPr/>
        </p:nvCxnSpPr>
        <p:spPr>
          <a:xfrm>
            <a:off x="1024178" y="3429001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D27A8386-EBFB-462A-B6E2-E8766189896F}"/>
              </a:ext>
            </a:extLst>
          </p:cNvPr>
          <p:cNvSpPr/>
          <p:nvPr/>
        </p:nvSpPr>
        <p:spPr>
          <a:xfrm>
            <a:off x="983432" y="3534561"/>
            <a:ext cx="5940263" cy="14876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기획 및 구축 컨설팅</a:t>
            </a: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D8D02604-E3A3-4C50-B266-16CA2E78FA19}"/>
              </a:ext>
            </a:extLst>
          </p:cNvPr>
          <p:cNvCxnSpPr>
            <a:cxnSpLocks/>
          </p:cNvCxnSpPr>
          <p:nvPr/>
        </p:nvCxnSpPr>
        <p:spPr>
          <a:xfrm>
            <a:off x="1024178" y="4005064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658034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6056408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화면 관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4166399"/>
              </p:ext>
            </p:extLst>
          </p:nvPr>
        </p:nvGraphicFramePr>
        <p:xfrm>
          <a:off x="9273564" y="1011685"/>
          <a:ext cx="2916357" cy="59876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805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830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323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〮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3083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S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G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F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Tax, ESG Deal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5464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 리스트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리스트 토픽명이 컨텐츠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 토픽 리스트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공됨 →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사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융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Tax, ESG Deal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879859"/>
                  </a:ext>
                </a:extLst>
              </a:tr>
              <a:tr h="7695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 체크박스 기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11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 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공개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체크 상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체크박스 해제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1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로 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체크박스 체크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1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공개로 변경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2540169"/>
                  </a:ext>
                </a:extLst>
              </a:tr>
              <a:tr h="5767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순서 숫자 입력 기능으로 노출 순서 지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일 숫자인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나다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알파벳 순으로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입력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경우 가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순서로 배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827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명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정 불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[9.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명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서만 수정 가능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명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입력 및 수정 가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2323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별 행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측면 메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정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99315"/>
                  </a:ext>
                </a:extLst>
              </a:tr>
              <a:tr h="2323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제 추가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행 추가 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559992"/>
                  </a:ext>
                </a:extLst>
              </a:tr>
              <a:tr h="2323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명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자유 입력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1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줄당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00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 가능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  <a:tr h="2323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번호 자동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채번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2512414"/>
                  </a:ext>
                </a:extLst>
              </a:tr>
              <a:tr h="3827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전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구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 설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74622"/>
                  </a:ext>
                </a:extLst>
              </a:tr>
              <a:tr h="2323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</a:t>
                      </a:r>
                      <a:endParaRPr lang="ko-KR" altLang="en-US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공개 선택 시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공개대상 복수 선택 가능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3264464"/>
                  </a:ext>
                </a:extLst>
              </a:tr>
              <a:tr h="7695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2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를 전체공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공개일 경우 활성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시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부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999-12-31 23:59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달력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지정 가능한 달력 출력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설정 사용 해제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 불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4179725"/>
                  </a:ext>
                </a:extLst>
              </a:tr>
              <a:tr h="2323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F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 전시될 화면 미리보기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639210"/>
                  </a:ext>
                </a:extLst>
              </a:tr>
              <a:tr h="2323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정보 및 하단 탭 정보 저장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8799599"/>
                  </a:ext>
                </a:extLst>
              </a:tr>
              <a:tr h="2513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천컨텐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서비스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0701042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화면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시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큐레이션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화면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5" name="표 5">
            <a:extLst>
              <a:ext uri="{FF2B5EF4-FFF2-40B4-BE49-F238E27FC236}">
                <a16:creationId xmlns:a16="http://schemas.microsoft.com/office/drawing/2014/main" id="{4C2706B8-84BC-4A59-8FBA-C1FED8D59E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388808"/>
              </p:ext>
            </p:extLst>
          </p:nvPr>
        </p:nvGraphicFramePr>
        <p:xfrm>
          <a:off x="332993" y="1536971"/>
          <a:ext cx="2090599" cy="51323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4000">
                  <a:extLst>
                    <a:ext uri="{9D8B030D-6E8A-4147-A177-3AD203B41FA5}">
                      <a16:colId xmlns:a16="http://schemas.microsoft.com/office/drawing/2014/main" val="255000904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164090594"/>
                    </a:ext>
                  </a:extLst>
                </a:gridCol>
                <a:gridCol w="1082599">
                  <a:extLst>
                    <a:ext uri="{9D8B030D-6E8A-4147-A177-3AD203B41FA5}">
                      <a16:colId xmlns:a16="http://schemas.microsoft.com/office/drawing/2014/main" val="2168184616"/>
                    </a:ext>
                  </a:extLst>
                </a:gridCol>
              </a:tblGrid>
              <a:tr h="287734"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76842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222437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36223550"/>
                  </a:ext>
                </a:extLst>
              </a:tr>
              <a:tr h="74662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67565014"/>
                  </a:ext>
                </a:extLst>
              </a:tr>
              <a:tr h="22389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순서</a:t>
                      </a:r>
                      <a:endParaRPr lang="ko-KR" altLang="en-US" dirty="0"/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58072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344476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1613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 전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43913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 경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9656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12337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3104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 제품 및 기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95673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5119137"/>
                  </a:ext>
                </a:extLst>
              </a:tr>
              <a:tr h="36000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추가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2469197"/>
                  </a:ext>
                </a:extLst>
              </a:tr>
              <a:tr h="106866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389703"/>
                  </a:ext>
                </a:extLst>
              </a:tr>
            </a:tbl>
          </a:graphicData>
        </a:graphic>
      </p:graphicFrame>
      <p:grpSp>
        <p:nvGrpSpPr>
          <p:cNvPr id="72" name="그룹 71">
            <a:extLst>
              <a:ext uri="{FF2B5EF4-FFF2-40B4-BE49-F238E27FC236}">
                <a16:creationId xmlns:a16="http://schemas.microsoft.com/office/drawing/2014/main" id="{2C0E0D1C-CBC6-4DB8-88D2-2BDA852D3554}"/>
              </a:ext>
            </a:extLst>
          </p:cNvPr>
          <p:cNvGrpSpPr/>
          <p:nvPr/>
        </p:nvGrpSpPr>
        <p:grpSpPr>
          <a:xfrm>
            <a:off x="945325" y="1857055"/>
            <a:ext cx="1406259" cy="173836"/>
            <a:chOff x="1510348" y="1778319"/>
            <a:chExt cx="1406259" cy="173836"/>
          </a:xfrm>
        </p:grpSpPr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DC51EBBC-0297-41B2-92C9-2EEB9827F938}"/>
                </a:ext>
              </a:extLst>
            </p:cNvPr>
            <p:cNvSpPr/>
            <p:nvPr/>
          </p:nvSpPr>
          <p:spPr>
            <a:xfrm>
              <a:off x="1510348" y="1778319"/>
              <a:ext cx="119023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EF110769-FE90-4945-9E8E-BDA3CC79D2F7}"/>
                </a:ext>
              </a:extLst>
            </p:cNvPr>
            <p:cNvSpPr/>
            <p:nvPr/>
          </p:nvSpPr>
          <p:spPr>
            <a:xfrm>
              <a:off x="2700583" y="1778319"/>
              <a:ext cx="216024" cy="173836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73F40F39-3216-415E-87C7-7248807A67D8}"/>
              </a:ext>
            </a:extLst>
          </p:cNvPr>
          <p:cNvGrpSpPr/>
          <p:nvPr/>
        </p:nvGrpSpPr>
        <p:grpSpPr>
          <a:xfrm>
            <a:off x="944720" y="2132023"/>
            <a:ext cx="663415" cy="172800"/>
            <a:chOff x="1510349" y="1778319"/>
            <a:chExt cx="663415" cy="172800"/>
          </a:xfrm>
        </p:grpSpPr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41C6D60A-D7C9-4BFC-96F7-E3D74DB49E9E}"/>
                </a:ext>
              </a:extLst>
            </p:cNvPr>
            <p:cNvSpPr/>
            <p:nvPr/>
          </p:nvSpPr>
          <p:spPr>
            <a:xfrm>
              <a:off x="1510349" y="1778319"/>
              <a:ext cx="44739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</a:p>
          </p:txBody>
        </p: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B15CEB20-7575-4128-AEE3-9231822942EF}"/>
                </a:ext>
              </a:extLst>
            </p:cNvPr>
            <p:cNvSpPr/>
            <p:nvPr/>
          </p:nvSpPr>
          <p:spPr>
            <a:xfrm>
              <a:off x="1957740" y="1778319"/>
              <a:ext cx="21602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8480C453-594B-417B-935C-337756BA72DB}"/>
              </a:ext>
            </a:extLst>
          </p:cNvPr>
          <p:cNvSpPr/>
          <p:nvPr/>
        </p:nvSpPr>
        <p:spPr>
          <a:xfrm>
            <a:off x="1764037" y="2146875"/>
            <a:ext cx="587547" cy="144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spc="-5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시 중</a:t>
            </a:r>
            <a:endParaRPr lang="ko-KR" altLang="en-US" sz="8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374349BE-3EAB-4765-9B79-50FC7FBE8EC4}"/>
              </a:ext>
            </a:extLst>
          </p:cNvPr>
          <p:cNvSpPr/>
          <p:nvPr/>
        </p:nvSpPr>
        <p:spPr>
          <a:xfrm>
            <a:off x="1682896" y="2146875"/>
            <a:ext cx="139353" cy="1393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20" name="그림 119">
            <a:extLst>
              <a:ext uri="{FF2B5EF4-FFF2-40B4-BE49-F238E27FC236}">
                <a16:creationId xmlns:a16="http://schemas.microsoft.com/office/drawing/2014/main" id="{4128D526-C8C0-494B-BA54-C9F9C767D0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459" y="2180737"/>
            <a:ext cx="81910" cy="81910"/>
          </a:xfrm>
          <a:prstGeom prst="rect">
            <a:avLst/>
          </a:prstGeom>
        </p:spPr>
      </p:pic>
      <p:grpSp>
        <p:nvGrpSpPr>
          <p:cNvPr id="16" name="그룹 15">
            <a:extLst>
              <a:ext uri="{FF2B5EF4-FFF2-40B4-BE49-F238E27FC236}">
                <a16:creationId xmlns:a16="http://schemas.microsoft.com/office/drawing/2014/main" id="{23C3CE87-ED88-4CAB-ADC8-CCBC1AD81731}"/>
              </a:ext>
            </a:extLst>
          </p:cNvPr>
          <p:cNvGrpSpPr/>
          <p:nvPr/>
        </p:nvGrpSpPr>
        <p:grpSpPr>
          <a:xfrm>
            <a:off x="515206" y="2743591"/>
            <a:ext cx="139353" cy="139353"/>
            <a:chOff x="1996996" y="2755568"/>
            <a:chExt cx="139353" cy="139353"/>
          </a:xfrm>
        </p:grpSpPr>
        <p:sp>
          <p:nvSpPr>
            <p:cNvPr id="123" name="사각형: 둥근 모서리 122">
              <a:extLst>
                <a:ext uri="{FF2B5EF4-FFF2-40B4-BE49-F238E27FC236}">
                  <a16:creationId xmlns:a16="http://schemas.microsoft.com/office/drawing/2014/main" id="{67D05F98-6D76-4575-A497-40CAC4B765FC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24" name="그림 123">
              <a:extLst>
                <a:ext uri="{FF2B5EF4-FFF2-40B4-BE49-F238E27FC236}">
                  <a16:creationId xmlns:a16="http://schemas.microsoft.com/office/drawing/2014/main" id="{F8F98C4C-3A55-4D47-A7ED-4CEFA48F5C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B3367EE5-93CA-419A-ACB8-BC5F1A4C24CD}"/>
              </a:ext>
            </a:extLst>
          </p:cNvPr>
          <p:cNvGrpSpPr/>
          <p:nvPr/>
        </p:nvGrpSpPr>
        <p:grpSpPr>
          <a:xfrm>
            <a:off x="515206" y="3065998"/>
            <a:ext cx="139353" cy="139353"/>
            <a:chOff x="1996996" y="2755568"/>
            <a:chExt cx="139353" cy="139353"/>
          </a:xfrm>
        </p:grpSpPr>
        <p:sp>
          <p:nvSpPr>
            <p:cNvPr id="127" name="사각형: 둥근 모서리 126">
              <a:extLst>
                <a:ext uri="{FF2B5EF4-FFF2-40B4-BE49-F238E27FC236}">
                  <a16:creationId xmlns:a16="http://schemas.microsoft.com/office/drawing/2014/main" id="{A9E21A2F-3345-4975-A22D-DDE0A929F010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28" name="그림 127">
              <a:extLst>
                <a:ext uri="{FF2B5EF4-FFF2-40B4-BE49-F238E27FC236}">
                  <a16:creationId xmlns:a16="http://schemas.microsoft.com/office/drawing/2014/main" id="{CF7D5A01-10C1-4D1D-BAF7-B2349E0F1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2" name="그룹 131">
            <a:extLst>
              <a:ext uri="{FF2B5EF4-FFF2-40B4-BE49-F238E27FC236}">
                <a16:creationId xmlns:a16="http://schemas.microsoft.com/office/drawing/2014/main" id="{303DD5A6-FCB3-4ACE-B377-DD5737A23F88}"/>
              </a:ext>
            </a:extLst>
          </p:cNvPr>
          <p:cNvGrpSpPr/>
          <p:nvPr/>
        </p:nvGrpSpPr>
        <p:grpSpPr>
          <a:xfrm>
            <a:off x="515206" y="3386112"/>
            <a:ext cx="139353" cy="139353"/>
            <a:chOff x="1996996" y="2755568"/>
            <a:chExt cx="139353" cy="139353"/>
          </a:xfrm>
        </p:grpSpPr>
        <p:sp>
          <p:nvSpPr>
            <p:cNvPr id="133" name="사각형: 둥근 모서리 132">
              <a:extLst>
                <a:ext uri="{FF2B5EF4-FFF2-40B4-BE49-F238E27FC236}">
                  <a16:creationId xmlns:a16="http://schemas.microsoft.com/office/drawing/2014/main" id="{3BAFCB34-3179-4EEE-934C-DF276782AB31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4" name="그림 133">
              <a:extLst>
                <a:ext uri="{FF2B5EF4-FFF2-40B4-BE49-F238E27FC236}">
                  <a16:creationId xmlns:a16="http://schemas.microsoft.com/office/drawing/2014/main" id="{B9563A73-1212-4A13-BD67-1B040BA21D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5" name="그룹 134">
            <a:extLst>
              <a:ext uri="{FF2B5EF4-FFF2-40B4-BE49-F238E27FC236}">
                <a16:creationId xmlns:a16="http://schemas.microsoft.com/office/drawing/2014/main" id="{E6E37C62-9631-4616-ACC5-037BCC55C395}"/>
              </a:ext>
            </a:extLst>
          </p:cNvPr>
          <p:cNvGrpSpPr/>
          <p:nvPr/>
        </p:nvGrpSpPr>
        <p:grpSpPr>
          <a:xfrm>
            <a:off x="515206" y="3706226"/>
            <a:ext cx="139353" cy="139353"/>
            <a:chOff x="1996996" y="2755568"/>
            <a:chExt cx="139353" cy="139353"/>
          </a:xfrm>
        </p:grpSpPr>
        <p:sp>
          <p:nvSpPr>
            <p:cNvPr id="136" name="사각형: 둥근 모서리 135">
              <a:extLst>
                <a:ext uri="{FF2B5EF4-FFF2-40B4-BE49-F238E27FC236}">
                  <a16:creationId xmlns:a16="http://schemas.microsoft.com/office/drawing/2014/main" id="{8104AA14-2EE2-46B3-83E5-501B7ED6AE7E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7" name="그림 136">
              <a:extLst>
                <a:ext uri="{FF2B5EF4-FFF2-40B4-BE49-F238E27FC236}">
                  <a16:creationId xmlns:a16="http://schemas.microsoft.com/office/drawing/2014/main" id="{B645B971-0C81-4C01-84B4-7BC8EBCF34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A322992C-55B1-4C21-B271-C9BC0B340E25}"/>
              </a:ext>
            </a:extLst>
          </p:cNvPr>
          <p:cNvGrpSpPr/>
          <p:nvPr/>
        </p:nvGrpSpPr>
        <p:grpSpPr>
          <a:xfrm>
            <a:off x="515206" y="4026340"/>
            <a:ext cx="139353" cy="139353"/>
            <a:chOff x="1996996" y="2755568"/>
            <a:chExt cx="139353" cy="139353"/>
          </a:xfrm>
        </p:grpSpPr>
        <p:sp>
          <p:nvSpPr>
            <p:cNvPr id="139" name="사각형: 둥근 모서리 138">
              <a:extLst>
                <a:ext uri="{FF2B5EF4-FFF2-40B4-BE49-F238E27FC236}">
                  <a16:creationId xmlns:a16="http://schemas.microsoft.com/office/drawing/2014/main" id="{E9094470-99B6-46D9-8C95-EA77DA141CE3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40" name="그림 139">
              <a:extLst>
                <a:ext uri="{FF2B5EF4-FFF2-40B4-BE49-F238E27FC236}">
                  <a16:creationId xmlns:a16="http://schemas.microsoft.com/office/drawing/2014/main" id="{DD71BBF5-453F-46D6-9552-EA3593EE4F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41" name="그룹 140">
            <a:extLst>
              <a:ext uri="{FF2B5EF4-FFF2-40B4-BE49-F238E27FC236}">
                <a16:creationId xmlns:a16="http://schemas.microsoft.com/office/drawing/2014/main" id="{66A7C12D-2469-4CFE-AD78-9CB2A2726BAD}"/>
              </a:ext>
            </a:extLst>
          </p:cNvPr>
          <p:cNvGrpSpPr/>
          <p:nvPr/>
        </p:nvGrpSpPr>
        <p:grpSpPr>
          <a:xfrm>
            <a:off x="515206" y="4346454"/>
            <a:ext cx="139353" cy="139353"/>
            <a:chOff x="1996996" y="2755568"/>
            <a:chExt cx="139353" cy="139353"/>
          </a:xfrm>
        </p:grpSpPr>
        <p:sp>
          <p:nvSpPr>
            <p:cNvPr id="142" name="사각형: 둥근 모서리 141">
              <a:extLst>
                <a:ext uri="{FF2B5EF4-FFF2-40B4-BE49-F238E27FC236}">
                  <a16:creationId xmlns:a16="http://schemas.microsoft.com/office/drawing/2014/main" id="{537A5D7D-E74B-4535-B635-8BF0CE6E6464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43" name="그림 142">
              <a:extLst>
                <a:ext uri="{FF2B5EF4-FFF2-40B4-BE49-F238E27FC236}">
                  <a16:creationId xmlns:a16="http://schemas.microsoft.com/office/drawing/2014/main" id="{790E4EEC-1413-437B-9B68-A869206484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3" name="그룹 2">
            <a:extLst>
              <a:ext uri="{FF2B5EF4-FFF2-40B4-BE49-F238E27FC236}">
                <a16:creationId xmlns:a16="http://schemas.microsoft.com/office/drawing/2014/main" id="{E526C1B6-C6CB-4AA0-9658-61F0B625F5AB}"/>
              </a:ext>
            </a:extLst>
          </p:cNvPr>
          <p:cNvGrpSpPr/>
          <p:nvPr/>
        </p:nvGrpSpPr>
        <p:grpSpPr>
          <a:xfrm>
            <a:off x="515206" y="4659873"/>
            <a:ext cx="139353" cy="139353"/>
            <a:chOff x="521524" y="4866824"/>
            <a:chExt cx="139353" cy="139353"/>
          </a:xfrm>
        </p:grpSpPr>
        <p:sp>
          <p:nvSpPr>
            <p:cNvPr id="154" name="사각형: 둥근 모서리 153">
              <a:extLst>
                <a:ext uri="{FF2B5EF4-FFF2-40B4-BE49-F238E27FC236}">
                  <a16:creationId xmlns:a16="http://schemas.microsoft.com/office/drawing/2014/main" id="{2DEC2F40-CA50-451F-95FF-3375B5539A28}"/>
                </a:ext>
              </a:extLst>
            </p:cNvPr>
            <p:cNvSpPr/>
            <p:nvPr/>
          </p:nvSpPr>
          <p:spPr>
            <a:xfrm>
              <a:off x="521524" y="4866824"/>
              <a:ext cx="139353" cy="13935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293C5B11-333B-441B-ACF9-F308ED7A6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7087" y="4900686"/>
              <a:ext cx="81910" cy="81910"/>
            </a:xfrm>
            <a:prstGeom prst="rect">
              <a:avLst/>
            </a:prstGeom>
          </p:spPr>
        </p:pic>
      </p:grpSp>
      <p:graphicFrame>
        <p:nvGraphicFramePr>
          <p:cNvPr id="156" name="표 12">
            <a:extLst>
              <a:ext uri="{FF2B5EF4-FFF2-40B4-BE49-F238E27FC236}">
                <a16:creationId xmlns:a16="http://schemas.microsoft.com/office/drawing/2014/main" id="{5F95975E-7DF1-439B-BB88-4163D7B44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306799"/>
              </p:ext>
            </p:extLst>
          </p:nvPr>
        </p:nvGraphicFramePr>
        <p:xfrm>
          <a:off x="2504734" y="1536304"/>
          <a:ext cx="6472017" cy="51367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962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205261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713785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269800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78629">
                <a:tc gridSpan="4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정보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737220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구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4515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 토픽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번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1002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 대상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8766979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488357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39761"/>
                  </a:ext>
                </a:extLst>
              </a:tr>
              <a:tr h="3134566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201170"/>
                  </a:ext>
                </a:extLst>
              </a:tr>
            </a:tbl>
          </a:graphicData>
        </a:graphic>
      </p:graphicFrame>
      <p:grpSp>
        <p:nvGrpSpPr>
          <p:cNvPr id="158" name="그룹 157">
            <a:extLst>
              <a:ext uri="{FF2B5EF4-FFF2-40B4-BE49-F238E27FC236}">
                <a16:creationId xmlns:a16="http://schemas.microsoft.com/office/drawing/2014/main" id="{3BF52A46-312E-462A-9503-ED25081A613B}"/>
              </a:ext>
            </a:extLst>
          </p:cNvPr>
          <p:cNvGrpSpPr/>
          <p:nvPr/>
        </p:nvGrpSpPr>
        <p:grpSpPr>
          <a:xfrm>
            <a:off x="3372381" y="2834648"/>
            <a:ext cx="3711546" cy="175761"/>
            <a:chOff x="4535523" y="2896789"/>
            <a:chExt cx="3711546" cy="175761"/>
          </a:xfrm>
        </p:grpSpPr>
        <p:grpSp>
          <p:nvGrpSpPr>
            <p:cNvPr id="159" name="그룹 158">
              <a:extLst>
                <a:ext uri="{FF2B5EF4-FFF2-40B4-BE49-F238E27FC236}">
                  <a16:creationId xmlns:a16="http://schemas.microsoft.com/office/drawing/2014/main" id="{26FB6490-60F9-4BA7-B4BB-29083F12B9FF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2" name="그룹 171">
                <a:extLst>
                  <a:ext uri="{FF2B5EF4-FFF2-40B4-BE49-F238E27FC236}">
                    <a16:creationId xmlns:a16="http://schemas.microsoft.com/office/drawing/2014/main" id="{0C932875-16D8-40CB-8244-420BC5CE42B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78" name="직사각형 177">
                  <a:extLst>
                    <a:ext uri="{FF2B5EF4-FFF2-40B4-BE49-F238E27FC236}">
                      <a16:creationId xmlns:a16="http://schemas.microsoft.com/office/drawing/2014/main" id="{5084D078-F3C6-409A-A203-3EBFB76A00E4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9" name="직사각형 178">
                  <a:extLst>
                    <a:ext uri="{FF2B5EF4-FFF2-40B4-BE49-F238E27FC236}">
                      <a16:creationId xmlns:a16="http://schemas.microsoft.com/office/drawing/2014/main" id="{8C0D6BCB-D5F9-4579-BFD4-C1E0F8E3088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80" name="그림 179">
                  <a:extLst>
                    <a:ext uri="{FF2B5EF4-FFF2-40B4-BE49-F238E27FC236}">
                      <a16:creationId xmlns:a16="http://schemas.microsoft.com/office/drawing/2014/main" id="{4CA43B7D-2CB7-4D7B-A729-116BB1AED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3" name="직사각형 172">
                <a:extLst>
                  <a:ext uri="{FF2B5EF4-FFF2-40B4-BE49-F238E27FC236}">
                    <a16:creationId xmlns:a16="http://schemas.microsoft.com/office/drawing/2014/main" id="{8E013F32-7D67-4CBD-9321-185E00C6FAE2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4" name="직사각형 173">
                <a:extLst>
                  <a:ext uri="{FF2B5EF4-FFF2-40B4-BE49-F238E27FC236}">
                    <a16:creationId xmlns:a16="http://schemas.microsoft.com/office/drawing/2014/main" id="{0BD01E49-1337-49BB-B1FB-35919E18FBB1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5" name="직사각형 174">
                <a:extLst>
                  <a:ext uri="{FF2B5EF4-FFF2-40B4-BE49-F238E27FC236}">
                    <a16:creationId xmlns:a16="http://schemas.microsoft.com/office/drawing/2014/main" id="{9E75524E-2E8B-45EA-9440-78878249B42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BE807613-252A-4267-BE59-A56AC71C4CA2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7" name="직사각형 176">
                <a:extLst>
                  <a:ext uri="{FF2B5EF4-FFF2-40B4-BE49-F238E27FC236}">
                    <a16:creationId xmlns:a16="http://schemas.microsoft.com/office/drawing/2014/main" id="{D42CCB93-8122-42E9-A320-A0BFF14992F1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60" name="그룹 159">
              <a:extLst>
                <a:ext uri="{FF2B5EF4-FFF2-40B4-BE49-F238E27FC236}">
                  <a16:creationId xmlns:a16="http://schemas.microsoft.com/office/drawing/2014/main" id="{F045369D-BFE3-4B72-B6A9-40239ECFF60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64" name="그룹 163">
                <a:extLst>
                  <a:ext uri="{FF2B5EF4-FFF2-40B4-BE49-F238E27FC236}">
                    <a16:creationId xmlns:a16="http://schemas.microsoft.com/office/drawing/2014/main" id="{5F3D3D97-8DD5-4E51-AE1A-F5809F22B4A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69" name="직사각형 168">
                  <a:extLst>
                    <a:ext uri="{FF2B5EF4-FFF2-40B4-BE49-F238E27FC236}">
                      <a16:creationId xmlns:a16="http://schemas.microsoft.com/office/drawing/2014/main" id="{1C01D335-E17B-4BBA-81EB-B59340A6884A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0" name="직사각형 169">
                  <a:extLst>
                    <a:ext uri="{FF2B5EF4-FFF2-40B4-BE49-F238E27FC236}">
                      <a16:creationId xmlns:a16="http://schemas.microsoft.com/office/drawing/2014/main" id="{3A1EF9C6-5A69-4D25-BB1B-9EA52DAEFE4F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pic>
              <p:nvPicPr>
                <p:cNvPr id="171" name="그림 170">
                  <a:extLst>
                    <a:ext uri="{FF2B5EF4-FFF2-40B4-BE49-F238E27FC236}">
                      <a16:creationId xmlns:a16="http://schemas.microsoft.com/office/drawing/2014/main" id="{34D22EBD-32AD-4E0C-AEA5-1CF5A1D5ED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FA7F6FAD-529F-4BEF-A815-E6DA259F82C4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1F11FCC0-BDF7-4E9B-B1D3-4559D2B27CB2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7F9FCE39-5403-49F5-A2E3-CEB32C9323D8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AAF6A227-884A-41E8-A05C-DC6A2F4416D8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6D5424BC-CEBD-4A0B-A88E-1A9F3FDE0E72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FDE15947-BAAA-4A39-B39F-43A8129B6400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63" name="그림 162">
              <a:extLst>
                <a:ext uri="{FF2B5EF4-FFF2-40B4-BE49-F238E27FC236}">
                  <a16:creationId xmlns:a16="http://schemas.microsoft.com/office/drawing/2014/main" id="{52B99A8E-CAA2-4643-A6A5-D34C71ABF8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sp>
        <p:nvSpPr>
          <p:cNvPr id="189" name="사각형: 둥근 모서리 188">
            <a:extLst>
              <a:ext uri="{FF2B5EF4-FFF2-40B4-BE49-F238E27FC236}">
                <a16:creationId xmlns:a16="http://schemas.microsoft.com/office/drawing/2014/main" id="{0A76E21B-65A9-4ED6-BD24-5C88ABF8BBA4}"/>
              </a:ext>
            </a:extLst>
          </p:cNvPr>
          <p:cNvSpPr/>
          <p:nvPr/>
        </p:nvSpPr>
        <p:spPr>
          <a:xfrm>
            <a:off x="8279693" y="1589229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91" name="사각형: 둥근 모서리 190">
            <a:extLst>
              <a:ext uri="{FF2B5EF4-FFF2-40B4-BE49-F238E27FC236}">
                <a16:creationId xmlns:a16="http://schemas.microsoft.com/office/drawing/2014/main" id="{5F00F150-2555-4009-B889-4DF9E926D537}"/>
              </a:ext>
            </a:extLst>
          </p:cNvPr>
          <p:cNvSpPr/>
          <p:nvPr/>
        </p:nvSpPr>
        <p:spPr>
          <a:xfrm>
            <a:off x="7568383" y="159091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리보기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6BFDB6B6-BFDE-4F62-80AD-9C794B6B7819}"/>
              </a:ext>
            </a:extLst>
          </p:cNvPr>
          <p:cNvGrpSpPr/>
          <p:nvPr/>
        </p:nvGrpSpPr>
        <p:grpSpPr>
          <a:xfrm>
            <a:off x="2509937" y="3298482"/>
            <a:ext cx="3898853" cy="239652"/>
            <a:chOff x="3863750" y="3213822"/>
            <a:chExt cx="3898853" cy="239652"/>
          </a:xfrm>
        </p:grpSpPr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B47A7E64-D89C-458A-9241-4FE4A7D57DEA}"/>
                </a:ext>
              </a:extLst>
            </p:cNvPr>
            <p:cNvSpPr/>
            <p:nvPr/>
          </p:nvSpPr>
          <p:spPr>
            <a:xfrm>
              <a:off x="5159750" y="3247526"/>
              <a:ext cx="1302307" cy="2044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latinLnBrk="1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핵심 개념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5" name="직사각형 184">
              <a:extLst>
                <a:ext uri="{FF2B5EF4-FFF2-40B4-BE49-F238E27FC236}">
                  <a16:creationId xmlns:a16="http://schemas.microsoft.com/office/drawing/2014/main" id="{39228AB4-5956-4E22-B231-795E8B9ECFDB}"/>
                </a:ext>
              </a:extLst>
            </p:cNvPr>
            <p:cNvSpPr/>
            <p:nvPr/>
          </p:nvSpPr>
          <p:spPr>
            <a:xfrm>
              <a:off x="6466603" y="3243575"/>
              <a:ext cx="1296000" cy="2098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제공 서비스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8" name="직사각형 187">
              <a:extLst>
                <a:ext uri="{FF2B5EF4-FFF2-40B4-BE49-F238E27FC236}">
                  <a16:creationId xmlns:a16="http://schemas.microsoft.com/office/drawing/2014/main" id="{76873261-A12B-4D25-A3EF-6B7009749677}"/>
                </a:ext>
              </a:extLst>
            </p:cNvPr>
            <p:cNvSpPr/>
            <p:nvPr/>
          </p:nvSpPr>
          <p:spPr>
            <a:xfrm>
              <a:off x="3863750" y="3213822"/>
              <a:ext cx="1296000" cy="238466"/>
            </a:xfrm>
            <a:prstGeom prst="rect">
              <a:avLst/>
            </a:prstGeom>
            <a:solidFill>
              <a:srgbClr val="404040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latinLnBrk="1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추천 컨텐츠</a:t>
              </a:r>
            </a:p>
          </p:txBody>
        </p:sp>
      </p:grp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B624D51E-B269-4447-9B40-5D08D734D94E}"/>
              </a:ext>
            </a:extLst>
          </p:cNvPr>
          <p:cNvSpPr/>
          <p:nvPr/>
        </p:nvSpPr>
        <p:spPr>
          <a:xfrm>
            <a:off x="964843" y="27435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B778FCFE-A15F-4C13-85BE-938192439986}"/>
              </a:ext>
            </a:extLst>
          </p:cNvPr>
          <p:cNvSpPr/>
          <p:nvPr/>
        </p:nvSpPr>
        <p:spPr>
          <a:xfrm>
            <a:off x="964843" y="3062971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6B50E926-2C35-4EA4-A8FA-4FB90EFC0F93}"/>
              </a:ext>
            </a:extLst>
          </p:cNvPr>
          <p:cNvSpPr/>
          <p:nvPr/>
        </p:nvSpPr>
        <p:spPr>
          <a:xfrm>
            <a:off x="964843" y="338235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D7A49F2F-3E76-4495-BED0-E66280ACBAF2}"/>
              </a:ext>
            </a:extLst>
          </p:cNvPr>
          <p:cNvSpPr/>
          <p:nvPr/>
        </p:nvSpPr>
        <p:spPr>
          <a:xfrm>
            <a:off x="964843" y="370173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1C1930D8-8CC6-4C40-BDBD-D85947B9449B}"/>
              </a:ext>
            </a:extLst>
          </p:cNvPr>
          <p:cNvSpPr/>
          <p:nvPr/>
        </p:nvSpPr>
        <p:spPr>
          <a:xfrm>
            <a:off x="964843" y="402111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5D93C225-CFEE-460B-9EEC-DB7A3D1D8963}"/>
              </a:ext>
            </a:extLst>
          </p:cNvPr>
          <p:cNvSpPr/>
          <p:nvPr/>
        </p:nvSpPr>
        <p:spPr>
          <a:xfrm>
            <a:off x="964843" y="43404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3551AA2B-D373-4574-8BA3-55103C822743}"/>
              </a:ext>
            </a:extLst>
          </p:cNvPr>
          <p:cNvSpPr/>
          <p:nvPr/>
        </p:nvSpPr>
        <p:spPr>
          <a:xfrm>
            <a:off x="958525" y="4659873"/>
            <a:ext cx="2659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B73214A8-9928-424B-B98D-970B67A6BE2A}"/>
              </a:ext>
            </a:extLst>
          </p:cNvPr>
          <p:cNvGrpSpPr/>
          <p:nvPr/>
        </p:nvGrpSpPr>
        <p:grpSpPr>
          <a:xfrm>
            <a:off x="518365" y="5005672"/>
            <a:ext cx="139353" cy="139353"/>
            <a:chOff x="1996996" y="2755568"/>
            <a:chExt cx="139353" cy="139353"/>
          </a:xfrm>
        </p:grpSpPr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7D040AD8-33B8-4FA9-94FA-C8765625233C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99" name="그림 98">
              <a:extLst>
                <a:ext uri="{FF2B5EF4-FFF2-40B4-BE49-F238E27FC236}">
                  <a16:creationId xmlns:a16="http://schemas.microsoft.com/office/drawing/2014/main" id="{5B0EAF7A-DBF0-4926-812A-F54AE1C44B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70972BDD-DB0B-4892-8164-6E9403635120}"/>
              </a:ext>
            </a:extLst>
          </p:cNvPr>
          <p:cNvSpPr/>
          <p:nvPr/>
        </p:nvSpPr>
        <p:spPr>
          <a:xfrm>
            <a:off x="964843" y="4992712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0" name="표 66">
            <a:extLst>
              <a:ext uri="{FF2B5EF4-FFF2-40B4-BE49-F238E27FC236}">
                <a16:creationId xmlns:a16="http://schemas.microsoft.com/office/drawing/2014/main" id="{CF53C99E-011B-4788-A796-8AD243CC37E8}"/>
              </a:ext>
            </a:extLst>
          </p:cNvPr>
          <p:cNvGraphicFramePr>
            <a:graphicFrameLocks noGrp="1"/>
          </p:cNvGraphicFramePr>
          <p:nvPr/>
        </p:nvGraphicFramePr>
        <p:xfrm>
          <a:off x="2511261" y="3977894"/>
          <a:ext cx="6458961" cy="143250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5859">
                  <a:extLst>
                    <a:ext uri="{9D8B030D-6E8A-4147-A177-3AD203B41FA5}">
                      <a16:colId xmlns:a16="http://schemas.microsoft.com/office/drawing/2014/main" val="3829246906"/>
                    </a:ext>
                  </a:extLst>
                </a:gridCol>
                <a:gridCol w="525440">
                  <a:extLst>
                    <a:ext uri="{9D8B030D-6E8A-4147-A177-3AD203B41FA5}">
                      <a16:colId xmlns:a16="http://schemas.microsoft.com/office/drawing/2014/main" val="2001156244"/>
                    </a:ext>
                  </a:extLst>
                </a:gridCol>
                <a:gridCol w="834710">
                  <a:extLst>
                    <a:ext uri="{9D8B030D-6E8A-4147-A177-3AD203B41FA5}">
                      <a16:colId xmlns:a16="http://schemas.microsoft.com/office/drawing/2014/main" val="3720779250"/>
                    </a:ext>
                  </a:extLst>
                </a:gridCol>
                <a:gridCol w="531179">
                  <a:extLst>
                    <a:ext uri="{9D8B030D-6E8A-4147-A177-3AD203B41FA5}">
                      <a16:colId xmlns:a16="http://schemas.microsoft.com/office/drawing/2014/main" val="2017557378"/>
                    </a:ext>
                  </a:extLst>
                </a:gridCol>
                <a:gridCol w="772785">
                  <a:extLst>
                    <a:ext uri="{9D8B030D-6E8A-4147-A177-3AD203B41FA5}">
                      <a16:colId xmlns:a16="http://schemas.microsoft.com/office/drawing/2014/main" val="3243612300"/>
                    </a:ext>
                  </a:extLst>
                </a:gridCol>
                <a:gridCol w="748119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1664723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52131">
                  <a:extLst>
                    <a:ext uri="{9D8B030D-6E8A-4147-A177-3AD203B41FA5}">
                      <a16:colId xmlns:a16="http://schemas.microsoft.com/office/drawing/2014/main" val="1602765021"/>
                    </a:ext>
                  </a:extLst>
                </a:gridCol>
                <a:gridCol w="454015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</a:tblGrid>
              <a:tr h="360000">
                <a:tc gridSpan="9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740681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렬방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순서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종류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A00012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P00005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102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탄소중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MOA00120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경영보고서 작성 지침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.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11" name="그룹 110">
            <a:extLst>
              <a:ext uri="{FF2B5EF4-FFF2-40B4-BE49-F238E27FC236}">
                <a16:creationId xmlns:a16="http://schemas.microsoft.com/office/drawing/2014/main" id="{9CDC5EC1-02F7-40F2-ADA3-11DC021D9217}"/>
              </a:ext>
            </a:extLst>
          </p:cNvPr>
          <p:cNvGrpSpPr/>
          <p:nvPr/>
        </p:nvGrpSpPr>
        <p:grpSpPr>
          <a:xfrm>
            <a:off x="2557144" y="4074781"/>
            <a:ext cx="696669" cy="172800"/>
            <a:chOff x="1260033" y="1778319"/>
            <a:chExt cx="696669" cy="172800"/>
          </a:xfrm>
        </p:grpSpPr>
        <p:sp>
          <p:nvSpPr>
            <p:cNvPr id="112" name="직사각형 111">
              <a:extLst>
                <a:ext uri="{FF2B5EF4-FFF2-40B4-BE49-F238E27FC236}">
                  <a16:creationId xmlns:a16="http://schemas.microsoft.com/office/drawing/2014/main" id="{21DA69BE-EB47-4456-B112-E85660D384A1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F294896A-9950-4D77-85C2-B2E8B3DA535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7C789B94-5AB9-4846-B5D6-4E060116EF52}"/>
              </a:ext>
            </a:extLst>
          </p:cNvPr>
          <p:cNvSpPr/>
          <p:nvPr/>
        </p:nvSpPr>
        <p:spPr>
          <a:xfrm>
            <a:off x="8279693" y="4074781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A3C7B8CA-E779-459E-8738-1D493DE0259C}"/>
              </a:ext>
            </a:extLst>
          </p:cNvPr>
          <p:cNvSpPr/>
          <p:nvPr/>
        </p:nvSpPr>
        <p:spPr>
          <a:xfrm>
            <a:off x="7579079" y="4071094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8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삭제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FA766046-D029-4AB8-A753-4BD816CB71B4}"/>
              </a:ext>
            </a:extLst>
          </p:cNvPr>
          <p:cNvSpPr/>
          <p:nvPr/>
        </p:nvSpPr>
        <p:spPr>
          <a:xfrm>
            <a:off x="6881209" y="4071094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8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추가</a:t>
            </a:r>
          </a:p>
        </p:txBody>
      </p:sp>
      <p:graphicFrame>
        <p:nvGraphicFramePr>
          <p:cNvPr id="118" name="표 66">
            <a:extLst>
              <a:ext uri="{FF2B5EF4-FFF2-40B4-BE49-F238E27FC236}">
                <a16:creationId xmlns:a16="http://schemas.microsoft.com/office/drawing/2014/main" id="{948E2498-0946-4F71-B820-92741B4022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5263795"/>
              </p:ext>
            </p:extLst>
          </p:nvPr>
        </p:nvGraphicFramePr>
        <p:xfrm>
          <a:off x="4034928" y="5554913"/>
          <a:ext cx="4941824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6770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604654">
                  <a:extLst>
                    <a:ext uri="{9D8B030D-6E8A-4147-A177-3AD203B41FA5}">
                      <a16:colId xmlns:a16="http://schemas.microsoft.com/office/drawing/2014/main" val="3569582593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  <a:gridCol w="784552">
                  <a:extLst>
                    <a:ext uri="{9D8B030D-6E8A-4147-A177-3AD203B41FA5}">
                      <a16:colId xmlns:a16="http://schemas.microsoft.com/office/drawing/2014/main" val="3980714550"/>
                    </a:ext>
                  </a:extLst>
                </a:gridCol>
                <a:gridCol w="367576">
                  <a:extLst>
                    <a:ext uri="{9D8B030D-6E8A-4147-A177-3AD203B41FA5}">
                      <a16:colId xmlns:a16="http://schemas.microsoft.com/office/drawing/2014/main" val="3630009978"/>
                    </a:ext>
                  </a:extLst>
                </a:gridCol>
                <a:gridCol w="692664">
                  <a:extLst>
                    <a:ext uri="{9D8B030D-6E8A-4147-A177-3AD203B41FA5}">
                      <a16:colId xmlns:a16="http://schemas.microsoft.com/office/drawing/2014/main" val="2993871931"/>
                    </a:ext>
                  </a:extLst>
                </a:gridCol>
                <a:gridCol w="675488">
                  <a:extLst>
                    <a:ext uri="{9D8B030D-6E8A-4147-A177-3AD203B41FA5}">
                      <a16:colId xmlns:a16="http://schemas.microsoft.com/office/drawing/2014/main" val="164872419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36518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11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P4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11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022083B0-C66B-47F0-ABA8-B3CF5121C929}"/>
              </a:ext>
            </a:extLst>
          </p:cNvPr>
          <p:cNvSpPr/>
          <p:nvPr/>
        </p:nvSpPr>
        <p:spPr>
          <a:xfrm>
            <a:off x="2645186" y="4613877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70ECC737-B4A6-4985-8C12-322398F018B5}"/>
              </a:ext>
            </a:extLst>
          </p:cNvPr>
          <p:cNvSpPr/>
          <p:nvPr/>
        </p:nvSpPr>
        <p:spPr>
          <a:xfrm>
            <a:off x="2645186" y="503416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F069B73D-FB83-4DEF-839F-806D0310B68B}"/>
              </a:ext>
            </a:extLst>
          </p:cNvPr>
          <p:cNvSpPr/>
          <p:nvPr/>
        </p:nvSpPr>
        <p:spPr>
          <a:xfrm>
            <a:off x="2645186" y="4828472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4" name="사각형: 둥근 모서리 143">
            <a:extLst>
              <a:ext uri="{FF2B5EF4-FFF2-40B4-BE49-F238E27FC236}">
                <a16:creationId xmlns:a16="http://schemas.microsoft.com/office/drawing/2014/main" id="{A71FC0FC-4EDB-4B9E-BAF6-74A6789A8D0B}"/>
              </a:ext>
            </a:extLst>
          </p:cNvPr>
          <p:cNvSpPr/>
          <p:nvPr/>
        </p:nvSpPr>
        <p:spPr>
          <a:xfrm>
            <a:off x="2647942" y="5254045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45" name="사각형: 둥근 모서리 144">
            <a:extLst>
              <a:ext uri="{FF2B5EF4-FFF2-40B4-BE49-F238E27FC236}">
                <a16:creationId xmlns:a16="http://schemas.microsoft.com/office/drawing/2014/main" id="{0496E8B2-BDCC-4884-88EC-D3E182E40093}"/>
              </a:ext>
            </a:extLst>
          </p:cNvPr>
          <p:cNvSpPr/>
          <p:nvPr/>
        </p:nvSpPr>
        <p:spPr>
          <a:xfrm>
            <a:off x="3066241" y="4592404"/>
            <a:ext cx="115772" cy="1157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46" name="그림 145">
            <a:extLst>
              <a:ext uri="{FF2B5EF4-FFF2-40B4-BE49-F238E27FC236}">
                <a16:creationId xmlns:a16="http://schemas.microsoft.com/office/drawing/2014/main" id="{5E4EDEAD-781A-41A6-A2BE-920D1A470C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83172" y="4612058"/>
            <a:ext cx="81910" cy="81910"/>
          </a:xfrm>
          <a:prstGeom prst="rect">
            <a:avLst/>
          </a:prstGeom>
        </p:spPr>
      </p:pic>
      <p:sp>
        <p:nvSpPr>
          <p:cNvPr id="150" name="사각형: 둥근 모서리 149">
            <a:extLst>
              <a:ext uri="{FF2B5EF4-FFF2-40B4-BE49-F238E27FC236}">
                <a16:creationId xmlns:a16="http://schemas.microsoft.com/office/drawing/2014/main" id="{ABCA6C47-3902-4C4C-9B33-29CB9C9B80C3}"/>
              </a:ext>
            </a:extLst>
          </p:cNvPr>
          <p:cNvSpPr/>
          <p:nvPr/>
        </p:nvSpPr>
        <p:spPr>
          <a:xfrm>
            <a:off x="3066527" y="4808862"/>
            <a:ext cx="115200" cy="1152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51" name="그림 150">
            <a:extLst>
              <a:ext uri="{FF2B5EF4-FFF2-40B4-BE49-F238E27FC236}">
                <a16:creationId xmlns:a16="http://schemas.microsoft.com/office/drawing/2014/main" id="{285CBC9A-413D-4699-A611-4C6C4144C3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83743" y="4820693"/>
            <a:ext cx="80768" cy="80768"/>
          </a:xfrm>
          <a:prstGeom prst="rect">
            <a:avLst/>
          </a:prstGeom>
        </p:spPr>
      </p:pic>
      <p:grpSp>
        <p:nvGrpSpPr>
          <p:cNvPr id="152" name="그룹 151">
            <a:extLst>
              <a:ext uri="{FF2B5EF4-FFF2-40B4-BE49-F238E27FC236}">
                <a16:creationId xmlns:a16="http://schemas.microsoft.com/office/drawing/2014/main" id="{9721C90D-9721-4530-B74C-228266CF8D2B}"/>
              </a:ext>
            </a:extLst>
          </p:cNvPr>
          <p:cNvGrpSpPr/>
          <p:nvPr/>
        </p:nvGrpSpPr>
        <p:grpSpPr>
          <a:xfrm>
            <a:off x="3066527" y="5015626"/>
            <a:ext cx="115200" cy="115200"/>
            <a:chOff x="3438262" y="4506798"/>
            <a:chExt cx="115200" cy="115200"/>
          </a:xfrm>
        </p:grpSpPr>
        <p:sp>
          <p:nvSpPr>
            <p:cNvPr id="153" name="사각형: 둥근 모서리 152">
              <a:extLst>
                <a:ext uri="{FF2B5EF4-FFF2-40B4-BE49-F238E27FC236}">
                  <a16:creationId xmlns:a16="http://schemas.microsoft.com/office/drawing/2014/main" id="{5883864A-AAE6-4E7E-B0AE-C6C76D57D42A}"/>
                </a:ext>
              </a:extLst>
            </p:cNvPr>
            <p:cNvSpPr/>
            <p:nvPr/>
          </p:nvSpPr>
          <p:spPr>
            <a:xfrm>
              <a:off x="3438262" y="4506798"/>
              <a:ext cx="115200" cy="1152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81" name="그림 180">
              <a:extLst>
                <a:ext uri="{FF2B5EF4-FFF2-40B4-BE49-F238E27FC236}">
                  <a16:creationId xmlns:a16="http://schemas.microsoft.com/office/drawing/2014/main" id="{B233A957-608D-48B4-9B24-A936F21A7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56868" y="4526239"/>
              <a:ext cx="77989" cy="77989"/>
            </a:xfrm>
            <a:prstGeom prst="rect">
              <a:avLst/>
            </a:prstGeom>
          </p:spPr>
        </p:pic>
      </p:grpSp>
      <p:grpSp>
        <p:nvGrpSpPr>
          <p:cNvPr id="183" name="그룹 182">
            <a:extLst>
              <a:ext uri="{FF2B5EF4-FFF2-40B4-BE49-F238E27FC236}">
                <a16:creationId xmlns:a16="http://schemas.microsoft.com/office/drawing/2014/main" id="{1A8E18E1-3518-4255-A52A-60E4141600A6}"/>
              </a:ext>
            </a:extLst>
          </p:cNvPr>
          <p:cNvGrpSpPr/>
          <p:nvPr/>
        </p:nvGrpSpPr>
        <p:grpSpPr>
          <a:xfrm>
            <a:off x="3066527" y="5230500"/>
            <a:ext cx="115200" cy="115200"/>
            <a:chOff x="3438262" y="4506798"/>
            <a:chExt cx="115200" cy="115200"/>
          </a:xfrm>
        </p:grpSpPr>
        <p:sp>
          <p:nvSpPr>
            <p:cNvPr id="186" name="사각형: 둥근 모서리 185">
              <a:extLst>
                <a:ext uri="{FF2B5EF4-FFF2-40B4-BE49-F238E27FC236}">
                  <a16:creationId xmlns:a16="http://schemas.microsoft.com/office/drawing/2014/main" id="{88D72696-28D5-4589-B4ED-B741D1122338}"/>
                </a:ext>
              </a:extLst>
            </p:cNvPr>
            <p:cNvSpPr/>
            <p:nvPr/>
          </p:nvSpPr>
          <p:spPr>
            <a:xfrm>
              <a:off x="3438262" y="4506798"/>
              <a:ext cx="115200" cy="1152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87" name="그림 186">
              <a:extLst>
                <a:ext uri="{FF2B5EF4-FFF2-40B4-BE49-F238E27FC236}">
                  <a16:creationId xmlns:a16="http://schemas.microsoft.com/office/drawing/2014/main" id="{0C2E3524-5DB7-411D-A357-5692CF7C19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56868" y="4526239"/>
              <a:ext cx="77989" cy="77989"/>
            </a:xfrm>
            <a:prstGeom prst="rect">
              <a:avLst/>
            </a:prstGeom>
          </p:spPr>
        </p:pic>
      </p:grpSp>
      <p:sp>
        <p:nvSpPr>
          <p:cNvPr id="196" name="직사각형 195">
            <a:extLst>
              <a:ext uri="{FF2B5EF4-FFF2-40B4-BE49-F238E27FC236}">
                <a16:creationId xmlns:a16="http://schemas.microsoft.com/office/drawing/2014/main" id="{E81F240C-3F9A-478B-98E3-EB77973099F2}"/>
              </a:ext>
            </a:extLst>
          </p:cNvPr>
          <p:cNvSpPr/>
          <p:nvPr/>
        </p:nvSpPr>
        <p:spPr>
          <a:xfrm>
            <a:off x="4328237" y="4589050"/>
            <a:ext cx="353873" cy="12165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7" name="화살표: 오른쪽 196">
            <a:extLst>
              <a:ext uri="{FF2B5EF4-FFF2-40B4-BE49-F238E27FC236}">
                <a16:creationId xmlns:a16="http://schemas.microsoft.com/office/drawing/2014/main" id="{ABF4D2E1-BADF-4563-94A4-D26F22035A0A}"/>
              </a:ext>
            </a:extLst>
          </p:cNvPr>
          <p:cNvSpPr/>
          <p:nvPr/>
        </p:nvSpPr>
        <p:spPr>
          <a:xfrm>
            <a:off x="3672039" y="5686515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8" name="직사각형 197">
            <a:extLst>
              <a:ext uri="{FF2B5EF4-FFF2-40B4-BE49-F238E27FC236}">
                <a16:creationId xmlns:a16="http://schemas.microsoft.com/office/drawing/2014/main" id="{694B22B8-6B72-4BFF-8571-7C0611C9239F}"/>
              </a:ext>
            </a:extLst>
          </p:cNvPr>
          <p:cNvSpPr/>
          <p:nvPr/>
        </p:nvSpPr>
        <p:spPr>
          <a:xfrm>
            <a:off x="4325174" y="4805920"/>
            <a:ext cx="353873" cy="12165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9" name="직사각형 198">
            <a:extLst>
              <a:ext uri="{FF2B5EF4-FFF2-40B4-BE49-F238E27FC236}">
                <a16:creationId xmlns:a16="http://schemas.microsoft.com/office/drawing/2014/main" id="{1EA64EE1-2AE4-420E-936A-0C3BDC015A55}"/>
              </a:ext>
            </a:extLst>
          </p:cNvPr>
          <p:cNvSpPr/>
          <p:nvPr/>
        </p:nvSpPr>
        <p:spPr>
          <a:xfrm>
            <a:off x="4326629" y="5018341"/>
            <a:ext cx="353873" cy="12165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0" name="직사각형 199">
            <a:extLst>
              <a:ext uri="{FF2B5EF4-FFF2-40B4-BE49-F238E27FC236}">
                <a16:creationId xmlns:a16="http://schemas.microsoft.com/office/drawing/2014/main" id="{C68701FB-B279-49E7-8E64-C7A331BC8B69}"/>
              </a:ext>
            </a:extLst>
          </p:cNvPr>
          <p:cNvSpPr/>
          <p:nvPr/>
        </p:nvSpPr>
        <p:spPr>
          <a:xfrm>
            <a:off x="4326629" y="5236568"/>
            <a:ext cx="353873" cy="12165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2" name="그룹 201">
            <a:extLst>
              <a:ext uri="{FF2B5EF4-FFF2-40B4-BE49-F238E27FC236}">
                <a16:creationId xmlns:a16="http://schemas.microsoft.com/office/drawing/2014/main" id="{AEB54E92-19EE-4D80-A5D6-7007868D9A3D}"/>
              </a:ext>
            </a:extLst>
          </p:cNvPr>
          <p:cNvGrpSpPr/>
          <p:nvPr/>
        </p:nvGrpSpPr>
        <p:grpSpPr>
          <a:xfrm>
            <a:off x="6058584" y="4077976"/>
            <a:ext cx="760056" cy="168738"/>
            <a:chOff x="8101523" y="4105249"/>
            <a:chExt cx="760056" cy="168738"/>
          </a:xfrm>
        </p:grpSpPr>
        <p:sp>
          <p:nvSpPr>
            <p:cNvPr id="203" name="사각형: 둥근 모서리 202">
              <a:extLst>
                <a:ext uri="{FF2B5EF4-FFF2-40B4-BE49-F238E27FC236}">
                  <a16:creationId xmlns:a16="http://schemas.microsoft.com/office/drawing/2014/main" id="{482F1701-3748-4404-9150-869F0235A38E}"/>
                </a:ext>
              </a:extLst>
            </p:cNvPr>
            <p:cNvSpPr/>
            <p:nvPr/>
          </p:nvSpPr>
          <p:spPr>
            <a:xfrm>
              <a:off x="8101523" y="4105249"/>
              <a:ext cx="760056" cy="16873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다운로드</a:t>
              </a:r>
            </a:p>
          </p:txBody>
        </p:sp>
        <p:pic>
          <p:nvPicPr>
            <p:cNvPr id="204" name="그림 203">
              <a:extLst>
                <a:ext uri="{FF2B5EF4-FFF2-40B4-BE49-F238E27FC236}">
                  <a16:creationId xmlns:a16="http://schemas.microsoft.com/office/drawing/2014/main" id="{9043888D-B5BD-45D6-B2A8-9745250EB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4232" y="4135768"/>
              <a:ext cx="105940" cy="105940"/>
            </a:xfrm>
            <a:prstGeom prst="rect">
              <a:avLst/>
            </a:prstGeom>
          </p:spPr>
        </p:pic>
      </p:grpSp>
      <p:grpSp>
        <p:nvGrpSpPr>
          <p:cNvPr id="208" name="그룹 207">
            <a:extLst>
              <a:ext uri="{FF2B5EF4-FFF2-40B4-BE49-F238E27FC236}">
                <a16:creationId xmlns:a16="http://schemas.microsoft.com/office/drawing/2014/main" id="{1D95F275-D1FF-4008-93C1-D4891199E797}"/>
              </a:ext>
            </a:extLst>
          </p:cNvPr>
          <p:cNvGrpSpPr/>
          <p:nvPr/>
        </p:nvGrpSpPr>
        <p:grpSpPr>
          <a:xfrm>
            <a:off x="3455477" y="4594081"/>
            <a:ext cx="696670" cy="123331"/>
            <a:chOff x="1260032" y="1778319"/>
            <a:chExt cx="696670" cy="123331"/>
          </a:xfrm>
        </p:grpSpPr>
        <p:sp>
          <p:nvSpPr>
            <p:cNvPr id="209" name="직사각형 208">
              <a:extLst>
                <a:ext uri="{FF2B5EF4-FFF2-40B4-BE49-F238E27FC236}">
                  <a16:creationId xmlns:a16="http://schemas.microsoft.com/office/drawing/2014/main" id="{50833CEF-A26E-4A38-81C4-67277F207747}"/>
                </a:ext>
              </a:extLst>
            </p:cNvPr>
            <p:cNvSpPr/>
            <p:nvPr/>
          </p:nvSpPr>
          <p:spPr>
            <a:xfrm>
              <a:off x="1260032" y="1778319"/>
              <a:ext cx="556619" cy="12165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순</a:t>
              </a:r>
              <a:endPara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10" name="직사각형 209">
              <a:extLst>
                <a:ext uri="{FF2B5EF4-FFF2-40B4-BE49-F238E27FC236}">
                  <a16:creationId xmlns:a16="http://schemas.microsoft.com/office/drawing/2014/main" id="{793FD891-3D30-4B2A-8AF8-D6F19137AD2B}"/>
                </a:ext>
              </a:extLst>
            </p:cNvPr>
            <p:cNvSpPr/>
            <p:nvPr/>
          </p:nvSpPr>
          <p:spPr>
            <a:xfrm>
              <a:off x="1815800" y="1778319"/>
              <a:ext cx="140902" cy="12333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11" name="그룹 210">
            <a:extLst>
              <a:ext uri="{FF2B5EF4-FFF2-40B4-BE49-F238E27FC236}">
                <a16:creationId xmlns:a16="http://schemas.microsoft.com/office/drawing/2014/main" id="{07938963-1EBB-4174-B878-09BACB9D2842}"/>
              </a:ext>
            </a:extLst>
          </p:cNvPr>
          <p:cNvGrpSpPr/>
          <p:nvPr/>
        </p:nvGrpSpPr>
        <p:grpSpPr>
          <a:xfrm>
            <a:off x="3455477" y="4807293"/>
            <a:ext cx="696669" cy="121654"/>
            <a:chOff x="1260033" y="1778319"/>
            <a:chExt cx="696669" cy="121654"/>
          </a:xfrm>
        </p:grpSpPr>
        <p:sp>
          <p:nvSpPr>
            <p:cNvPr id="212" name="직사각형 211">
              <a:extLst>
                <a:ext uri="{FF2B5EF4-FFF2-40B4-BE49-F238E27FC236}">
                  <a16:creationId xmlns:a16="http://schemas.microsoft.com/office/drawing/2014/main" id="{E9ACDEB9-BFD9-479C-8D3B-6F85D593B30C}"/>
                </a:ext>
              </a:extLst>
            </p:cNvPr>
            <p:cNvSpPr/>
            <p:nvPr/>
          </p:nvSpPr>
          <p:spPr>
            <a:xfrm>
              <a:off x="1260033" y="1778319"/>
              <a:ext cx="555766" cy="12165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순</a:t>
              </a:r>
              <a:endPara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13" name="직사각형 212">
              <a:extLst>
                <a:ext uri="{FF2B5EF4-FFF2-40B4-BE49-F238E27FC236}">
                  <a16:creationId xmlns:a16="http://schemas.microsoft.com/office/drawing/2014/main" id="{E5FDAFDE-DF48-4C87-B39B-CA65B8BD70A4}"/>
                </a:ext>
              </a:extLst>
            </p:cNvPr>
            <p:cNvSpPr/>
            <p:nvPr/>
          </p:nvSpPr>
          <p:spPr>
            <a:xfrm>
              <a:off x="1815800" y="1779692"/>
              <a:ext cx="140902" cy="118908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14" name="그룹 213">
            <a:extLst>
              <a:ext uri="{FF2B5EF4-FFF2-40B4-BE49-F238E27FC236}">
                <a16:creationId xmlns:a16="http://schemas.microsoft.com/office/drawing/2014/main" id="{7B0E4A54-2775-48F3-84E1-ABEA7735E4EA}"/>
              </a:ext>
            </a:extLst>
          </p:cNvPr>
          <p:cNvGrpSpPr/>
          <p:nvPr/>
        </p:nvGrpSpPr>
        <p:grpSpPr>
          <a:xfrm>
            <a:off x="3455477" y="5021524"/>
            <a:ext cx="696669" cy="121654"/>
            <a:chOff x="1260033" y="1778319"/>
            <a:chExt cx="696669" cy="121654"/>
          </a:xfrm>
        </p:grpSpPr>
        <p:sp>
          <p:nvSpPr>
            <p:cNvPr id="215" name="직사각형 214">
              <a:extLst>
                <a:ext uri="{FF2B5EF4-FFF2-40B4-BE49-F238E27FC236}">
                  <a16:creationId xmlns:a16="http://schemas.microsoft.com/office/drawing/2014/main" id="{F6AA461B-9E58-40A1-8D16-3FCDB99F0092}"/>
                </a:ext>
              </a:extLst>
            </p:cNvPr>
            <p:cNvSpPr/>
            <p:nvPr/>
          </p:nvSpPr>
          <p:spPr>
            <a:xfrm>
              <a:off x="1260033" y="1778319"/>
              <a:ext cx="555766" cy="12165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우선배치</a:t>
              </a:r>
            </a:p>
          </p:txBody>
        </p:sp>
        <p:sp>
          <p:nvSpPr>
            <p:cNvPr id="216" name="직사각형 215">
              <a:extLst>
                <a:ext uri="{FF2B5EF4-FFF2-40B4-BE49-F238E27FC236}">
                  <a16:creationId xmlns:a16="http://schemas.microsoft.com/office/drawing/2014/main" id="{ADCCA4F9-F1B9-441E-8820-38A23A20B91C}"/>
                </a:ext>
              </a:extLst>
            </p:cNvPr>
            <p:cNvSpPr/>
            <p:nvPr/>
          </p:nvSpPr>
          <p:spPr>
            <a:xfrm>
              <a:off x="1815800" y="1778319"/>
              <a:ext cx="140902" cy="121654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20" name="그룹 219">
            <a:extLst>
              <a:ext uri="{FF2B5EF4-FFF2-40B4-BE49-F238E27FC236}">
                <a16:creationId xmlns:a16="http://schemas.microsoft.com/office/drawing/2014/main" id="{32EF0C57-A4A8-4928-B4C0-A98D86ACB73F}"/>
              </a:ext>
            </a:extLst>
          </p:cNvPr>
          <p:cNvGrpSpPr/>
          <p:nvPr/>
        </p:nvGrpSpPr>
        <p:grpSpPr>
          <a:xfrm>
            <a:off x="3454625" y="5236568"/>
            <a:ext cx="696669" cy="121654"/>
            <a:chOff x="1260033" y="1778319"/>
            <a:chExt cx="696669" cy="121654"/>
          </a:xfrm>
        </p:grpSpPr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32D765F3-15CF-4085-AABF-FC3FDD7421CF}"/>
                </a:ext>
              </a:extLst>
            </p:cNvPr>
            <p:cNvSpPr/>
            <p:nvPr/>
          </p:nvSpPr>
          <p:spPr>
            <a:xfrm>
              <a:off x="1260033" y="1778319"/>
              <a:ext cx="555766" cy="12165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우선배치</a:t>
              </a:r>
            </a:p>
          </p:txBody>
        </p:sp>
        <p:sp>
          <p:nvSpPr>
            <p:cNvPr id="222" name="직사각형 221">
              <a:extLst>
                <a:ext uri="{FF2B5EF4-FFF2-40B4-BE49-F238E27FC236}">
                  <a16:creationId xmlns:a16="http://schemas.microsoft.com/office/drawing/2014/main" id="{1946EBB9-2930-4D81-8341-0001EACDC0A0}"/>
                </a:ext>
              </a:extLst>
            </p:cNvPr>
            <p:cNvSpPr/>
            <p:nvPr/>
          </p:nvSpPr>
          <p:spPr>
            <a:xfrm>
              <a:off x="1815800" y="1778319"/>
              <a:ext cx="140902" cy="121654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6" name="표 26">
            <a:extLst>
              <a:ext uri="{FF2B5EF4-FFF2-40B4-BE49-F238E27FC236}">
                <a16:creationId xmlns:a16="http://schemas.microsoft.com/office/drawing/2014/main" id="{05C48978-36C7-4ED2-9853-18261DFEB6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725573"/>
              </p:ext>
            </p:extLst>
          </p:nvPr>
        </p:nvGraphicFramePr>
        <p:xfrm>
          <a:off x="2511261" y="3617193"/>
          <a:ext cx="6477874" cy="25312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76427">
                  <a:extLst>
                    <a:ext uri="{9D8B030D-6E8A-4147-A177-3AD203B41FA5}">
                      <a16:colId xmlns:a16="http://schemas.microsoft.com/office/drawing/2014/main" val="461667154"/>
                    </a:ext>
                  </a:extLst>
                </a:gridCol>
                <a:gridCol w="517447">
                  <a:extLst>
                    <a:ext uri="{9D8B030D-6E8A-4147-A177-3AD203B41FA5}">
                      <a16:colId xmlns:a16="http://schemas.microsoft.com/office/drawing/2014/main" val="1442447338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3543748879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2247690133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4105166867"/>
                    </a:ext>
                  </a:extLst>
                </a:gridCol>
                <a:gridCol w="649313">
                  <a:extLst>
                    <a:ext uri="{9D8B030D-6E8A-4147-A177-3AD203B41FA5}">
                      <a16:colId xmlns:a16="http://schemas.microsoft.com/office/drawing/2014/main" val="3943167023"/>
                    </a:ext>
                  </a:extLst>
                </a:gridCol>
                <a:gridCol w="646687">
                  <a:extLst>
                    <a:ext uri="{9D8B030D-6E8A-4147-A177-3AD203B41FA5}">
                      <a16:colId xmlns:a16="http://schemas.microsoft.com/office/drawing/2014/main" val="3535916089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2244271763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2027467658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1133274421"/>
                    </a:ext>
                  </a:extLst>
                </a:gridCol>
              </a:tblGrid>
              <a:tr h="2531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합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6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endParaRPr lang="en-US" altLang="ko-KR" sz="800" b="1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동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-tube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모음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6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60551"/>
                  </a:ext>
                </a:extLst>
              </a:tr>
            </a:tbl>
          </a:graphicData>
        </a:graphic>
      </p:graphicFrame>
      <p:sp>
        <p:nvSpPr>
          <p:cNvPr id="235" name="사각형: 둥근 모서리 234">
            <a:extLst>
              <a:ext uri="{FF2B5EF4-FFF2-40B4-BE49-F238E27FC236}">
                <a16:creationId xmlns:a16="http://schemas.microsoft.com/office/drawing/2014/main" id="{BB0C3086-BD9D-4513-8792-21BE59D49416}"/>
              </a:ext>
            </a:extLst>
          </p:cNvPr>
          <p:cNvSpPr/>
          <p:nvPr/>
        </p:nvSpPr>
        <p:spPr>
          <a:xfrm>
            <a:off x="848905" y="179642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6" name="사각형: 둥근 모서리 235">
            <a:extLst>
              <a:ext uri="{FF2B5EF4-FFF2-40B4-BE49-F238E27FC236}">
                <a16:creationId xmlns:a16="http://schemas.microsoft.com/office/drawing/2014/main" id="{6EB54962-30A6-4FF0-888E-ECACD92034DB}"/>
              </a:ext>
            </a:extLst>
          </p:cNvPr>
          <p:cNvSpPr/>
          <p:nvPr/>
        </p:nvSpPr>
        <p:spPr>
          <a:xfrm>
            <a:off x="856189" y="205314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8" name="사각형: 둥근 모서리 237">
            <a:extLst>
              <a:ext uri="{FF2B5EF4-FFF2-40B4-BE49-F238E27FC236}">
                <a16:creationId xmlns:a16="http://schemas.microsoft.com/office/drawing/2014/main" id="{18FB26E9-7C61-4495-A7CE-9FA4876232A6}"/>
              </a:ext>
            </a:extLst>
          </p:cNvPr>
          <p:cNvSpPr/>
          <p:nvPr/>
        </p:nvSpPr>
        <p:spPr>
          <a:xfrm>
            <a:off x="300704" y="235072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9" name="사각형: 둥근 모서리 238">
            <a:extLst>
              <a:ext uri="{FF2B5EF4-FFF2-40B4-BE49-F238E27FC236}">
                <a16:creationId xmlns:a16="http://schemas.microsoft.com/office/drawing/2014/main" id="{9AA7DA0D-89E5-4884-8439-19CA13C91EA1}"/>
              </a:ext>
            </a:extLst>
          </p:cNvPr>
          <p:cNvSpPr/>
          <p:nvPr/>
        </p:nvSpPr>
        <p:spPr>
          <a:xfrm>
            <a:off x="382468" y="266428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0" name="사각형: 둥근 모서리 239">
            <a:extLst>
              <a:ext uri="{FF2B5EF4-FFF2-40B4-BE49-F238E27FC236}">
                <a16:creationId xmlns:a16="http://schemas.microsoft.com/office/drawing/2014/main" id="{323179D2-EAC5-47F2-9E9D-AC69367025C4}"/>
              </a:ext>
            </a:extLst>
          </p:cNvPr>
          <p:cNvSpPr/>
          <p:nvPr/>
        </p:nvSpPr>
        <p:spPr>
          <a:xfrm>
            <a:off x="864732" y="266151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1" name="사각형: 둥근 모서리 240">
            <a:extLst>
              <a:ext uri="{FF2B5EF4-FFF2-40B4-BE49-F238E27FC236}">
                <a16:creationId xmlns:a16="http://schemas.microsoft.com/office/drawing/2014/main" id="{7D0AF7C1-D495-4F43-B8B9-4A3C47872403}"/>
              </a:ext>
            </a:extLst>
          </p:cNvPr>
          <p:cNvSpPr/>
          <p:nvPr/>
        </p:nvSpPr>
        <p:spPr>
          <a:xfrm>
            <a:off x="972317" y="526484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2" name="사각형: 둥근 모서리 241">
            <a:extLst>
              <a:ext uri="{FF2B5EF4-FFF2-40B4-BE49-F238E27FC236}">
                <a16:creationId xmlns:a16="http://schemas.microsoft.com/office/drawing/2014/main" id="{421615B5-83F2-48F7-97D1-D7C0829C92BA}"/>
              </a:ext>
            </a:extLst>
          </p:cNvPr>
          <p:cNvSpPr/>
          <p:nvPr/>
        </p:nvSpPr>
        <p:spPr>
          <a:xfrm>
            <a:off x="300704" y="49121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3" name="사각형: 둥근 모서리 242">
            <a:extLst>
              <a:ext uri="{FF2B5EF4-FFF2-40B4-BE49-F238E27FC236}">
                <a16:creationId xmlns:a16="http://schemas.microsoft.com/office/drawing/2014/main" id="{30894F83-4DD4-48FB-97EC-AE37621D92C6}"/>
              </a:ext>
            </a:extLst>
          </p:cNvPr>
          <p:cNvSpPr/>
          <p:nvPr/>
        </p:nvSpPr>
        <p:spPr>
          <a:xfrm>
            <a:off x="2483530" y="204234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4" name="사각형: 둥근 모서리 243">
            <a:extLst>
              <a:ext uri="{FF2B5EF4-FFF2-40B4-BE49-F238E27FC236}">
                <a16:creationId xmlns:a16="http://schemas.microsoft.com/office/drawing/2014/main" id="{C0BAF957-EAE4-440D-A741-DF6C98889377}"/>
              </a:ext>
            </a:extLst>
          </p:cNvPr>
          <p:cNvSpPr/>
          <p:nvPr/>
        </p:nvSpPr>
        <p:spPr>
          <a:xfrm>
            <a:off x="5524059" y="20469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5" name="사각형: 둥근 모서리 244">
            <a:extLst>
              <a:ext uri="{FF2B5EF4-FFF2-40B4-BE49-F238E27FC236}">
                <a16:creationId xmlns:a16="http://schemas.microsoft.com/office/drawing/2014/main" id="{0666171D-FF51-4286-B2FE-7C02AF053FC3}"/>
              </a:ext>
            </a:extLst>
          </p:cNvPr>
          <p:cNvSpPr/>
          <p:nvPr/>
        </p:nvSpPr>
        <p:spPr>
          <a:xfrm>
            <a:off x="2483530" y="24990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6" name="사각형: 둥근 모서리 245">
            <a:extLst>
              <a:ext uri="{FF2B5EF4-FFF2-40B4-BE49-F238E27FC236}">
                <a16:creationId xmlns:a16="http://schemas.microsoft.com/office/drawing/2014/main" id="{AE61639A-2F99-4BD0-AEA2-A4F6F4DD79E6}"/>
              </a:ext>
            </a:extLst>
          </p:cNvPr>
          <p:cNvSpPr/>
          <p:nvPr/>
        </p:nvSpPr>
        <p:spPr>
          <a:xfrm>
            <a:off x="5524059" y="24755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7" name="사각형: 둥근 모서리 246">
            <a:extLst>
              <a:ext uri="{FF2B5EF4-FFF2-40B4-BE49-F238E27FC236}">
                <a16:creationId xmlns:a16="http://schemas.microsoft.com/office/drawing/2014/main" id="{D4E5F06C-9112-4F5F-8050-1E1F37C7B2F5}"/>
              </a:ext>
            </a:extLst>
          </p:cNvPr>
          <p:cNvSpPr/>
          <p:nvPr/>
        </p:nvSpPr>
        <p:spPr>
          <a:xfrm>
            <a:off x="2483530" y="24755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8" name="사각형: 둥근 모서리 247">
            <a:extLst>
              <a:ext uri="{FF2B5EF4-FFF2-40B4-BE49-F238E27FC236}">
                <a16:creationId xmlns:a16="http://schemas.microsoft.com/office/drawing/2014/main" id="{D754726C-A883-4406-A553-5970BC980D08}"/>
              </a:ext>
            </a:extLst>
          </p:cNvPr>
          <p:cNvSpPr/>
          <p:nvPr/>
        </p:nvSpPr>
        <p:spPr>
          <a:xfrm>
            <a:off x="2490968" y="275569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52" name="직사각형 251">
            <a:extLst>
              <a:ext uri="{FF2B5EF4-FFF2-40B4-BE49-F238E27FC236}">
                <a16:creationId xmlns:a16="http://schemas.microsoft.com/office/drawing/2014/main" id="{C657A5AF-A35E-43C1-B38B-44ABF64CDB04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 :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실행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2" name="사각형: 둥근 모서리 181">
            <a:extLst>
              <a:ext uri="{FF2B5EF4-FFF2-40B4-BE49-F238E27FC236}">
                <a16:creationId xmlns:a16="http://schemas.microsoft.com/office/drawing/2014/main" id="{5588CD2B-1959-4421-B036-34676D099A9B}"/>
              </a:ext>
            </a:extLst>
          </p:cNvPr>
          <p:cNvSpPr/>
          <p:nvPr/>
        </p:nvSpPr>
        <p:spPr>
          <a:xfrm>
            <a:off x="7495902" y="155965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0" name="사각형: 둥근 모서리 189">
            <a:extLst>
              <a:ext uri="{FF2B5EF4-FFF2-40B4-BE49-F238E27FC236}">
                <a16:creationId xmlns:a16="http://schemas.microsoft.com/office/drawing/2014/main" id="{AC6F26E6-F84A-498D-82F4-F62F8F7BAE09}"/>
              </a:ext>
            </a:extLst>
          </p:cNvPr>
          <p:cNvSpPr/>
          <p:nvPr/>
        </p:nvSpPr>
        <p:spPr>
          <a:xfrm>
            <a:off x="8234706" y="155009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2" name="사각형: 둥근 모서리 191">
            <a:extLst>
              <a:ext uri="{FF2B5EF4-FFF2-40B4-BE49-F238E27FC236}">
                <a16:creationId xmlns:a16="http://schemas.microsoft.com/office/drawing/2014/main" id="{1A3A6BCC-B9EF-41F2-8010-4767C1742381}"/>
              </a:ext>
            </a:extLst>
          </p:cNvPr>
          <p:cNvSpPr/>
          <p:nvPr/>
        </p:nvSpPr>
        <p:spPr>
          <a:xfrm>
            <a:off x="2490996" y="325877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3" name="직사각형 192">
            <a:extLst>
              <a:ext uri="{FF2B5EF4-FFF2-40B4-BE49-F238E27FC236}">
                <a16:creationId xmlns:a16="http://schemas.microsoft.com/office/drawing/2014/main" id="{0AE183DC-317A-4442-BFF7-0684E46A784B}"/>
              </a:ext>
            </a:extLst>
          </p:cNvPr>
          <p:cNvSpPr/>
          <p:nvPr/>
        </p:nvSpPr>
        <p:spPr>
          <a:xfrm>
            <a:off x="12213204" y="5625611"/>
            <a:ext cx="3221778" cy="158060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12. 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회원</a:t>
            </a: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(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그룹</a:t>
            </a: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D)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대상으로만 공개 여부를 </a:t>
            </a:r>
            <a:r>
              <a:rPr lang="ko-KR" altLang="en-US" sz="800" dirty="0" err="1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선택하는게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어떨지</a:t>
            </a: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.</a:t>
            </a:r>
            <a:b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</a:b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A~C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그룹은 기본적으로 관리자</a:t>
            </a: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/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내부이해관계자이기 때문에 모든 컨텐츠를 </a:t>
            </a:r>
            <a:r>
              <a:rPr lang="ko-KR" altLang="en-US" sz="800" dirty="0" err="1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공개하는게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일반적</a:t>
            </a: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.</a:t>
            </a:r>
            <a:b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</a:b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관리자그룹별로 모든 컨텐츠를 조회하면 안되는 제약조건이 있는건지</a:t>
            </a: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(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컨텐츠</a:t>
            </a: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-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회원간 </a:t>
            </a: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Relation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이 많을수록 개발이 복잡하고</a:t>
            </a: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사용관점에서도 거의 쓰지 않을 수 있다는 점이 우려</a:t>
            </a:r>
            <a:r>
              <a:rPr lang="en-US" altLang="ko-KR" sz="8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) </a:t>
            </a:r>
          </a:p>
          <a:p>
            <a:pPr>
              <a:lnSpc>
                <a:spcPct val="100000"/>
              </a:lnSpc>
            </a:pPr>
            <a:endParaRPr lang="en-US" altLang="ko-KR" sz="800" dirty="0">
              <a:solidFill>
                <a:schemeClr val="tx1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8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- </a:t>
            </a:r>
            <a:r>
              <a:rPr lang="ko-KR" altLang="en-US" sz="8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내부 고객도 조회 권한 차별화가 필요함</a:t>
            </a:r>
            <a:endParaRPr lang="en-US" altLang="ko-KR" sz="800" dirty="0">
              <a:solidFill>
                <a:srgbClr val="0070C0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DA2AC645-AF01-40CD-999A-BAC120AF9CBD}"/>
              </a:ext>
            </a:extLst>
          </p:cNvPr>
          <p:cNvSpPr/>
          <p:nvPr/>
        </p:nvSpPr>
        <p:spPr>
          <a:xfrm>
            <a:off x="5632598" y="2583911"/>
            <a:ext cx="3314112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8.22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5" name="직사각형 204">
            <a:extLst>
              <a:ext uri="{FF2B5EF4-FFF2-40B4-BE49-F238E27FC236}">
                <a16:creationId xmlns:a16="http://schemas.microsoft.com/office/drawing/2014/main" id="{93FCCB92-33DE-4A13-A3ED-C893E7A97D44}"/>
              </a:ext>
            </a:extLst>
          </p:cNvPr>
          <p:cNvSpPr/>
          <p:nvPr/>
        </p:nvSpPr>
        <p:spPr>
          <a:xfrm>
            <a:off x="12213204" y="-7566"/>
            <a:ext cx="3218221" cy="55549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&lt;23.08.22&gt;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수정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[12]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일부공개대상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Permission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능 제거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〮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수정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ESG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〮평가〮인증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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〮인증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〮 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〮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[2], [3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능 설명 수정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메뉴 추가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– ‘ESG Tax, ESG Deal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’</a:t>
            </a:r>
          </a:p>
        </p:txBody>
      </p:sp>
      <p:graphicFrame>
        <p:nvGraphicFramePr>
          <p:cNvPr id="147" name="표 22">
            <a:extLst>
              <a:ext uri="{FF2B5EF4-FFF2-40B4-BE49-F238E27FC236}">
                <a16:creationId xmlns:a16="http://schemas.microsoft.com/office/drawing/2014/main" id="{1253BC62-87D2-479A-8BD3-6CB71AC593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6721277"/>
              </p:ext>
            </p:extLst>
          </p:nvPr>
        </p:nvGraphicFramePr>
        <p:xfrm>
          <a:off x="12393166" y="1293393"/>
          <a:ext cx="2858295" cy="29681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1151">
                  <a:extLst>
                    <a:ext uri="{9D8B030D-6E8A-4147-A177-3AD203B41FA5}">
                      <a16:colId xmlns:a16="http://schemas.microsoft.com/office/drawing/2014/main" val="3730816568"/>
                    </a:ext>
                  </a:extLst>
                </a:gridCol>
                <a:gridCol w="616624">
                  <a:extLst>
                    <a:ext uri="{9D8B030D-6E8A-4147-A177-3AD203B41FA5}">
                      <a16:colId xmlns:a16="http://schemas.microsoft.com/office/drawing/2014/main" val="4011765330"/>
                    </a:ext>
                  </a:extLst>
                </a:gridCol>
                <a:gridCol w="1720520">
                  <a:extLst>
                    <a:ext uri="{9D8B030D-6E8A-4147-A177-3AD203B41FA5}">
                      <a16:colId xmlns:a16="http://schemas.microsoft.com/office/drawing/2014/main" val="2073626958"/>
                    </a:ext>
                  </a:extLst>
                </a:gridCol>
              </a:tblGrid>
              <a:tr h="214356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1] </a:t>
                      </a:r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2] </a:t>
                      </a:r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3] </a:t>
                      </a:r>
                      <a:r>
                        <a:rPr lang="ko-KR" altLang="en-US" sz="7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352814"/>
                  </a:ext>
                </a:extLst>
              </a:tr>
              <a:tr h="402530">
                <a:tc rowSpan="6"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</a:p>
                    <a:p>
                      <a:pPr marL="0" algn="ctr" defTabSz="977172" rtl="0" eaLnBrk="1" latinLnBrk="0" hangingPunct="1"/>
                      <a:r>
                        <a:rPr lang="ko-KR" altLang="en-US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행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전환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경제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제품 및 기술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7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711211"/>
                  </a:ext>
                </a:extLst>
              </a:tr>
              <a:tr h="402530">
                <a:tc vMerge="1">
                  <a:txBody>
                    <a:bodyPr/>
                    <a:lstStyle/>
                    <a:p>
                      <a:pPr marL="0" algn="ctr" defTabSz="977172" rtl="0" eaLnBrk="1" latinLnBrk="0" hangingPunct="1"/>
                      <a:endParaRPr lang="ko-KR" altLang="en-US" sz="7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적자원 관리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권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비자 및 고객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급망 관리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사회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44155"/>
                  </a:ext>
                </a:extLst>
              </a:tr>
              <a:tr h="402530">
                <a:tc vMerge="1">
                  <a:txBody>
                    <a:bodyPr/>
                    <a:lstStyle/>
                    <a:p>
                      <a:pPr marL="0" algn="ctr" defTabSz="977172" rtl="0" eaLnBrk="1" latinLnBrk="0" hangingPunct="1"/>
                      <a:endParaRPr lang="ko-KR" altLang="en-US" sz="7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사회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주권리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윤리경영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관리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898307"/>
                  </a:ext>
                </a:extLst>
              </a:tr>
              <a:tr h="402530">
                <a:tc vMerge="1">
                  <a:txBody>
                    <a:bodyPr/>
                    <a:lstStyle/>
                    <a:p>
                      <a:pPr marL="0" algn="ctr" defTabSz="977172" rtl="0" eaLnBrk="1" latinLnBrk="0" hangingPunct="1"/>
                      <a:endParaRPr lang="en-US" altLang="ko-KR" sz="700" b="1" strike="noStrike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700" b="0" strike="noStrike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</a:t>
                      </a:r>
                      <a:endParaRPr lang="en-US" altLang="ko-KR" sz="700" b="0" strike="noStrike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채권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투자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리스크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배출량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05983"/>
                  </a:ext>
                </a:extLst>
              </a:tr>
              <a:tr h="402530">
                <a:tc vMerge="1">
                  <a:txBody>
                    <a:bodyPr/>
                    <a:lstStyle/>
                    <a:p>
                      <a:pPr marL="0" algn="ctr" defTabSz="977172" rtl="0" eaLnBrk="1" latinLnBrk="0" hangingPunct="1"/>
                      <a:endParaRPr lang="ko-KR" altLang="en-US" sz="7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ax</a:t>
                      </a:r>
                      <a:endParaRPr lang="ko-KR" altLang="en-US" sz="7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국경세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세와 세제혜택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무투명성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7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059119"/>
                  </a:ext>
                </a:extLst>
              </a:tr>
              <a:tr h="402530">
                <a:tc vMerge="1">
                  <a:txBody>
                    <a:bodyPr/>
                    <a:lstStyle/>
                    <a:p>
                      <a:pPr marL="0" algn="ctr" defTabSz="977172" rtl="0" eaLnBrk="1" latinLnBrk="0" hangingPunct="1"/>
                      <a:endParaRPr lang="ko-KR" altLang="en-US" sz="7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 </a:t>
                      </a:r>
                      <a:endParaRPr lang="ko-KR" altLang="en-US" sz="700" b="0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책임투자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사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M&amp;A</a:t>
                      </a:r>
                      <a:endParaRPr lang="ko-KR" altLang="en-US" sz="7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774488"/>
                  </a:ext>
                </a:extLst>
              </a:tr>
              <a:tr h="329634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en-US" altLang="ko-KR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인증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700" b="0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, ISSB, CSRD, SEC, TCFD,</a:t>
                      </a:r>
                      <a:r>
                        <a:rPr lang="ko-KR" altLang="en-US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7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</a:t>
                      </a:r>
                      <a:endParaRPr lang="ko-KR" altLang="en-US" sz="7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257166"/>
                  </a:ext>
                </a:extLst>
              </a:tr>
            </a:tbl>
          </a:graphicData>
        </a:graphic>
      </p:graphicFrame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CCE4592E-A90A-4B99-AF93-C8DDB8CA5BFE}"/>
              </a:ext>
            </a:extLst>
          </p:cNvPr>
          <p:cNvSpPr/>
          <p:nvPr/>
        </p:nvSpPr>
        <p:spPr>
          <a:xfrm>
            <a:off x="1392111" y="2737459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53" name="사각형: 둥근 모서리 252">
            <a:extLst>
              <a:ext uri="{FF2B5EF4-FFF2-40B4-BE49-F238E27FC236}">
                <a16:creationId xmlns:a16="http://schemas.microsoft.com/office/drawing/2014/main" id="{A10E6035-9E95-49A7-92BA-BE43A70B5B1E}"/>
              </a:ext>
            </a:extLst>
          </p:cNvPr>
          <p:cNvSpPr/>
          <p:nvPr/>
        </p:nvSpPr>
        <p:spPr>
          <a:xfrm>
            <a:off x="1286295" y="266151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506055BB-0D2B-4A8C-8DB9-C51E1C9AA4EB}"/>
              </a:ext>
            </a:extLst>
          </p:cNvPr>
          <p:cNvSpPr/>
          <p:nvPr/>
        </p:nvSpPr>
        <p:spPr>
          <a:xfrm>
            <a:off x="1392111" y="30544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4" name="직사각형 193">
            <a:extLst>
              <a:ext uri="{FF2B5EF4-FFF2-40B4-BE49-F238E27FC236}">
                <a16:creationId xmlns:a16="http://schemas.microsoft.com/office/drawing/2014/main" id="{D59575F2-216E-4923-A2D5-739E07BEE845}"/>
              </a:ext>
            </a:extLst>
          </p:cNvPr>
          <p:cNvSpPr/>
          <p:nvPr/>
        </p:nvSpPr>
        <p:spPr>
          <a:xfrm>
            <a:off x="1392111" y="33759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5" name="직사각형 194">
            <a:extLst>
              <a:ext uri="{FF2B5EF4-FFF2-40B4-BE49-F238E27FC236}">
                <a16:creationId xmlns:a16="http://schemas.microsoft.com/office/drawing/2014/main" id="{C4E8BCC6-EE9A-48E9-BE92-3F9D5400BC27}"/>
              </a:ext>
            </a:extLst>
          </p:cNvPr>
          <p:cNvSpPr/>
          <p:nvPr/>
        </p:nvSpPr>
        <p:spPr>
          <a:xfrm>
            <a:off x="1388800" y="3701731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1" name="직사각형 200">
            <a:extLst>
              <a:ext uri="{FF2B5EF4-FFF2-40B4-BE49-F238E27FC236}">
                <a16:creationId xmlns:a16="http://schemas.microsoft.com/office/drawing/2014/main" id="{D5E48969-4E87-4A88-966A-0DF9511320AA}"/>
              </a:ext>
            </a:extLst>
          </p:cNvPr>
          <p:cNvSpPr/>
          <p:nvPr/>
        </p:nvSpPr>
        <p:spPr>
          <a:xfrm>
            <a:off x="1386426" y="4021722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3B8F7D45-D9B4-40C9-BC93-ECF188BEE327}"/>
              </a:ext>
            </a:extLst>
          </p:cNvPr>
          <p:cNvSpPr/>
          <p:nvPr/>
        </p:nvSpPr>
        <p:spPr>
          <a:xfrm>
            <a:off x="1386426" y="4335550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3" name="직사각형 222">
            <a:extLst>
              <a:ext uri="{FF2B5EF4-FFF2-40B4-BE49-F238E27FC236}">
                <a16:creationId xmlns:a16="http://schemas.microsoft.com/office/drawing/2014/main" id="{47465031-9AB4-4BA3-8442-416E23C2FCED}"/>
              </a:ext>
            </a:extLst>
          </p:cNvPr>
          <p:cNvSpPr/>
          <p:nvPr/>
        </p:nvSpPr>
        <p:spPr>
          <a:xfrm>
            <a:off x="1381278" y="4662028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4" name="직사각형 223">
            <a:extLst>
              <a:ext uri="{FF2B5EF4-FFF2-40B4-BE49-F238E27FC236}">
                <a16:creationId xmlns:a16="http://schemas.microsoft.com/office/drawing/2014/main" id="{6B88C5B7-D46E-4671-943A-B8CACC0945A2}"/>
              </a:ext>
            </a:extLst>
          </p:cNvPr>
          <p:cNvSpPr/>
          <p:nvPr/>
        </p:nvSpPr>
        <p:spPr>
          <a:xfrm>
            <a:off x="1392111" y="4992768"/>
            <a:ext cx="98129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sp>
        <p:nvSpPr>
          <p:cNvPr id="225" name="직사각형 224">
            <a:extLst>
              <a:ext uri="{FF2B5EF4-FFF2-40B4-BE49-F238E27FC236}">
                <a16:creationId xmlns:a16="http://schemas.microsoft.com/office/drawing/2014/main" id="{6C3C35C2-8B51-4B02-AA7D-744A5F289F96}"/>
              </a:ext>
            </a:extLst>
          </p:cNvPr>
          <p:cNvSpPr/>
          <p:nvPr/>
        </p:nvSpPr>
        <p:spPr>
          <a:xfrm>
            <a:off x="2582443" y="2571173"/>
            <a:ext cx="2908287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148A40-290B-4272-873D-017C35F92C44}"/>
              </a:ext>
            </a:extLst>
          </p:cNvPr>
          <p:cNvSpPr txBox="1"/>
          <p:nvPr/>
        </p:nvSpPr>
        <p:spPr>
          <a:xfrm>
            <a:off x="12369883" y="4238097"/>
            <a:ext cx="2823428" cy="1165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9.06&gt;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〮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[2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메뉴 좌측 전시제어 기능 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〮 좌측 메뉴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화면 정보에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명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입력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수정 기능을 우측 메뉴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화면 조회로 이동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  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전시여부 삭제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좌측 전시여부 기능과 중복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10.20&gt;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〮 삼일 제공 서비스 → 전문가 코멘트로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탭명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수정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227" name="직사각형 226">
            <a:extLst>
              <a:ext uri="{FF2B5EF4-FFF2-40B4-BE49-F238E27FC236}">
                <a16:creationId xmlns:a16="http://schemas.microsoft.com/office/drawing/2014/main" id="{44CAD07C-D09E-429F-BFEB-946800DB6503}"/>
              </a:ext>
            </a:extLst>
          </p:cNvPr>
          <p:cNvSpPr/>
          <p:nvPr/>
        </p:nvSpPr>
        <p:spPr>
          <a:xfrm>
            <a:off x="1615834" y="2132738"/>
            <a:ext cx="770827" cy="16173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03F464E7-DA83-0613-26B5-4FD6E47C0FCB}"/>
              </a:ext>
            </a:extLst>
          </p:cNvPr>
          <p:cNvSpPr/>
          <p:nvPr/>
        </p:nvSpPr>
        <p:spPr>
          <a:xfrm>
            <a:off x="5200122" y="3332186"/>
            <a:ext cx="863177" cy="22501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전문가 코멘트</a:t>
            </a:r>
          </a:p>
        </p:txBody>
      </p:sp>
    </p:spTree>
    <p:extLst>
      <p:ext uri="{BB962C8B-B14F-4D97-AF65-F5344CB8AC3E}">
        <p14:creationId xmlns:p14="http://schemas.microsoft.com/office/powerpoint/2010/main" val="70127621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2380473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01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화면 관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1909606"/>
              </p:ext>
            </p:extLst>
          </p:nvPr>
        </p:nvGraphicFramePr>
        <p:xfrm>
          <a:off x="9268373" y="1002880"/>
          <a:ext cx="2916357" cy="36171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805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830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658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1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ko-KR" altLang="en-US" sz="800" b="1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인증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598244"/>
                  </a:ext>
                </a:extLst>
              </a:tr>
              <a:tr h="2454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[1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인 경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일 메뉴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781801"/>
                  </a:ext>
                </a:extLst>
              </a:tr>
              <a:tr h="2454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토픽 리스트 노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리스트 토픽명이 컨텐츠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 토픽 리스트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공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※ [2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 공시인 경우에 한해서 적용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6310278"/>
                  </a:ext>
                </a:extLst>
              </a:tr>
              <a:tr h="2454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-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 공시인 경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천컨텐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서비스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탭으로 구성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1)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천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각 토픽명으로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매핑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컨텐츠 노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2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3)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4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서비스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02838"/>
                  </a:ext>
                </a:extLst>
              </a:tr>
              <a:tr h="2454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-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가 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증인 경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서비스 탭으로 구성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1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2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서비스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830530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뉴 관리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뉴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큐레이션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5" name="표 5">
            <a:extLst>
              <a:ext uri="{FF2B5EF4-FFF2-40B4-BE49-F238E27FC236}">
                <a16:creationId xmlns:a16="http://schemas.microsoft.com/office/drawing/2014/main" id="{4C2706B8-84BC-4A59-8FBA-C1FED8D59E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9255486"/>
              </p:ext>
            </p:extLst>
          </p:nvPr>
        </p:nvGraphicFramePr>
        <p:xfrm>
          <a:off x="332993" y="1536971"/>
          <a:ext cx="2090599" cy="51323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4000">
                  <a:extLst>
                    <a:ext uri="{9D8B030D-6E8A-4147-A177-3AD203B41FA5}">
                      <a16:colId xmlns:a16="http://schemas.microsoft.com/office/drawing/2014/main" val="255000904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164090594"/>
                    </a:ext>
                  </a:extLst>
                </a:gridCol>
                <a:gridCol w="1082599">
                  <a:extLst>
                    <a:ext uri="{9D8B030D-6E8A-4147-A177-3AD203B41FA5}">
                      <a16:colId xmlns:a16="http://schemas.microsoft.com/office/drawing/2014/main" val="2168184616"/>
                    </a:ext>
                  </a:extLst>
                </a:gridCol>
              </a:tblGrid>
              <a:tr h="287734"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76842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222437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36223550"/>
                  </a:ext>
                </a:extLst>
              </a:tr>
              <a:tr h="74662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67565014"/>
                  </a:ext>
                </a:extLst>
              </a:tr>
              <a:tr h="22389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순서</a:t>
                      </a:r>
                      <a:endParaRPr lang="ko-KR" altLang="en-US" dirty="0"/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58072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FRS / ISSB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344476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/ ESRS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1613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Taxonomy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43913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9656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12337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3104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95673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DDD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82102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43839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 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5119137"/>
                  </a:ext>
                </a:extLst>
              </a:tr>
              <a:tr h="36000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추가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2469197"/>
                  </a:ext>
                </a:extLst>
              </a:tr>
              <a:tr h="42066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389703"/>
                  </a:ext>
                </a:extLst>
              </a:tr>
            </a:tbl>
          </a:graphicData>
        </a:graphic>
      </p:graphicFrame>
      <p:grpSp>
        <p:nvGrpSpPr>
          <p:cNvPr id="72" name="그룹 71">
            <a:extLst>
              <a:ext uri="{FF2B5EF4-FFF2-40B4-BE49-F238E27FC236}">
                <a16:creationId xmlns:a16="http://schemas.microsoft.com/office/drawing/2014/main" id="{2C0E0D1C-CBC6-4DB8-88D2-2BDA852D3554}"/>
              </a:ext>
            </a:extLst>
          </p:cNvPr>
          <p:cNvGrpSpPr/>
          <p:nvPr/>
        </p:nvGrpSpPr>
        <p:grpSpPr>
          <a:xfrm>
            <a:off x="945325" y="1857055"/>
            <a:ext cx="1406259" cy="173836"/>
            <a:chOff x="1510348" y="1778319"/>
            <a:chExt cx="1406259" cy="173836"/>
          </a:xfrm>
        </p:grpSpPr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DC51EBBC-0297-41B2-92C9-2EEB9827F938}"/>
                </a:ext>
              </a:extLst>
            </p:cNvPr>
            <p:cNvSpPr/>
            <p:nvPr/>
          </p:nvSpPr>
          <p:spPr>
            <a:xfrm>
              <a:off x="1510348" y="1778319"/>
              <a:ext cx="119023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인증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EF110769-FE90-4945-9E8E-BDA3CC79D2F7}"/>
                </a:ext>
              </a:extLst>
            </p:cNvPr>
            <p:cNvSpPr/>
            <p:nvPr/>
          </p:nvSpPr>
          <p:spPr>
            <a:xfrm>
              <a:off x="2700583" y="1778319"/>
              <a:ext cx="216024" cy="173836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73F40F39-3216-415E-87C7-7248807A67D8}"/>
              </a:ext>
            </a:extLst>
          </p:cNvPr>
          <p:cNvGrpSpPr/>
          <p:nvPr/>
        </p:nvGrpSpPr>
        <p:grpSpPr>
          <a:xfrm>
            <a:off x="944720" y="2132023"/>
            <a:ext cx="663415" cy="172800"/>
            <a:chOff x="1510349" y="1778319"/>
            <a:chExt cx="663415" cy="172800"/>
          </a:xfrm>
        </p:grpSpPr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41C6D60A-D7C9-4BFC-96F7-E3D74DB49E9E}"/>
                </a:ext>
              </a:extLst>
            </p:cNvPr>
            <p:cNvSpPr/>
            <p:nvPr/>
          </p:nvSpPr>
          <p:spPr>
            <a:xfrm>
              <a:off x="1510349" y="1778319"/>
              <a:ext cx="447391" cy="172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B15CEB20-7575-4128-AEE3-9231822942EF}"/>
                </a:ext>
              </a:extLst>
            </p:cNvPr>
            <p:cNvSpPr/>
            <p:nvPr/>
          </p:nvSpPr>
          <p:spPr>
            <a:xfrm>
              <a:off x="1957740" y="1778319"/>
              <a:ext cx="21602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8480C453-594B-417B-935C-337756BA72DB}"/>
              </a:ext>
            </a:extLst>
          </p:cNvPr>
          <p:cNvSpPr/>
          <p:nvPr/>
        </p:nvSpPr>
        <p:spPr>
          <a:xfrm>
            <a:off x="1764037" y="2146875"/>
            <a:ext cx="587547" cy="144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spc="-5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시 중</a:t>
            </a:r>
            <a:endParaRPr lang="ko-KR" altLang="en-US" sz="8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374349BE-3EAB-4765-9B79-50FC7FBE8EC4}"/>
              </a:ext>
            </a:extLst>
          </p:cNvPr>
          <p:cNvSpPr/>
          <p:nvPr/>
        </p:nvSpPr>
        <p:spPr>
          <a:xfrm>
            <a:off x="1682896" y="2146875"/>
            <a:ext cx="139353" cy="1393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20" name="그림 119">
            <a:extLst>
              <a:ext uri="{FF2B5EF4-FFF2-40B4-BE49-F238E27FC236}">
                <a16:creationId xmlns:a16="http://schemas.microsoft.com/office/drawing/2014/main" id="{4128D526-C8C0-494B-BA54-C9F9C767D0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459" y="2180737"/>
            <a:ext cx="81910" cy="81910"/>
          </a:xfrm>
          <a:prstGeom prst="rect">
            <a:avLst/>
          </a:prstGeom>
        </p:spPr>
      </p:pic>
      <p:grpSp>
        <p:nvGrpSpPr>
          <p:cNvPr id="16" name="그룹 15">
            <a:extLst>
              <a:ext uri="{FF2B5EF4-FFF2-40B4-BE49-F238E27FC236}">
                <a16:creationId xmlns:a16="http://schemas.microsoft.com/office/drawing/2014/main" id="{23C3CE87-ED88-4CAB-ADC8-CCBC1AD81731}"/>
              </a:ext>
            </a:extLst>
          </p:cNvPr>
          <p:cNvGrpSpPr/>
          <p:nvPr/>
        </p:nvGrpSpPr>
        <p:grpSpPr>
          <a:xfrm>
            <a:off x="523544" y="2745884"/>
            <a:ext cx="139353" cy="139353"/>
            <a:chOff x="1996996" y="2755568"/>
            <a:chExt cx="139353" cy="139353"/>
          </a:xfrm>
        </p:grpSpPr>
        <p:sp>
          <p:nvSpPr>
            <p:cNvPr id="123" name="사각형: 둥근 모서리 122">
              <a:extLst>
                <a:ext uri="{FF2B5EF4-FFF2-40B4-BE49-F238E27FC236}">
                  <a16:creationId xmlns:a16="http://schemas.microsoft.com/office/drawing/2014/main" id="{67D05F98-6D76-4575-A497-40CAC4B765FC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24" name="그림 123">
              <a:extLst>
                <a:ext uri="{FF2B5EF4-FFF2-40B4-BE49-F238E27FC236}">
                  <a16:creationId xmlns:a16="http://schemas.microsoft.com/office/drawing/2014/main" id="{F8F98C4C-3A55-4D47-A7ED-4CEFA48F5C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B3367EE5-93CA-419A-ACB8-BC5F1A4C24CD}"/>
              </a:ext>
            </a:extLst>
          </p:cNvPr>
          <p:cNvGrpSpPr/>
          <p:nvPr/>
        </p:nvGrpSpPr>
        <p:grpSpPr>
          <a:xfrm>
            <a:off x="523544" y="3075179"/>
            <a:ext cx="139353" cy="139353"/>
            <a:chOff x="1996996" y="2755568"/>
            <a:chExt cx="139353" cy="139353"/>
          </a:xfrm>
        </p:grpSpPr>
        <p:sp>
          <p:nvSpPr>
            <p:cNvPr id="127" name="사각형: 둥근 모서리 126">
              <a:extLst>
                <a:ext uri="{FF2B5EF4-FFF2-40B4-BE49-F238E27FC236}">
                  <a16:creationId xmlns:a16="http://schemas.microsoft.com/office/drawing/2014/main" id="{A9E21A2F-3345-4975-A22D-DDE0A929F010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28" name="그림 127">
              <a:extLst>
                <a:ext uri="{FF2B5EF4-FFF2-40B4-BE49-F238E27FC236}">
                  <a16:creationId xmlns:a16="http://schemas.microsoft.com/office/drawing/2014/main" id="{CF7D5A01-10C1-4D1D-BAF7-B2349E0F1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2" name="그룹 131">
            <a:extLst>
              <a:ext uri="{FF2B5EF4-FFF2-40B4-BE49-F238E27FC236}">
                <a16:creationId xmlns:a16="http://schemas.microsoft.com/office/drawing/2014/main" id="{303DD5A6-FCB3-4ACE-B377-DD5737A23F88}"/>
              </a:ext>
            </a:extLst>
          </p:cNvPr>
          <p:cNvGrpSpPr/>
          <p:nvPr/>
        </p:nvGrpSpPr>
        <p:grpSpPr>
          <a:xfrm>
            <a:off x="523544" y="3404474"/>
            <a:ext cx="139353" cy="139353"/>
            <a:chOff x="1996996" y="2755568"/>
            <a:chExt cx="139353" cy="139353"/>
          </a:xfrm>
        </p:grpSpPr>
        <p:sp>
          <p:nvSpPr>
            <p:cNvPr id="133" name="사각형: 둥근 모서리 132">
              <a:extLst>
                <a:ext uri="{FF2B5EF4-FFF2-40B4-BE49-F238E27FC236}">
                  <a16:creationId xmlns:a16="http://schemas.microsoft.com/office/drawing/2014/main" id="{3BAFCB34-3179-4EEE-934C-DF276782AB31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4" name="그림 133">
              <a:extLst>
                <a:ext uri="{FF2B5EF4-FFF2-40B4-BE49-F238E27FC236}">
                  <a16:creationId xmlns:a16="http://schemas.microsoft.com/office/drawing/2014/main" id="{B9563A73-1212-4A13-BD67-1B040BA21D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5" name="그룹 134">
            <a:extLst>
              <a:ext uri="{FF2B5EF4-FFF2-40B4-BE49-F238E27FC236}">
                <a16:creationId xmlns:a16="http://schemas.microsoft.com/office/drawing/2014/main" id="{E6E37C62-9631-4616-ACC5-037BCC55C395}"/>
              </a:ext>
            </a:extLst>
          </p:cNvPr>
          <p:cNvGrpSpPr/>
          <p:nvPr/>
        </p:nvGrpSpPr>
        <p:grpSpPr>
          <a:xfrm>
            <a:off x="523544" y="3727784"/>
            <a:ext cx="139353" cy="139353"/>
            <a:chOff x="1996996" y="2755568"/>
            <a:chExt cx="139353" cy="139353"/>
          </a:xfrm>
        </p:grpSpPr>
        <p:sp>
          <p:nvSpPr>
            <p:cNvPr id="136" name="사각형: 둥근 모서리 135">
              <a:extLst>
                <a:ext uri="{FF2B5EF4-FFF2-40B4-BE49-F238E27FC236}">
                  <a16:creationId xmlns:a16="http://schemas.microsoft.com/office/drawing/2014/main" id="{8104AA14-2EE2-46B3-83E5-501B7ED6AE7E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7" name="그림 136">
              <a:extLst>
                <a:ext uri="{FF2B5EF4-FFF2-40B4-BE49-F238E27FC236}">
                  <a16:creationId xmlns:a16="http://schemas.microsoft.com/office/drawing/2014/main" id="{B645B971-0C81-4C01-84B4-7BC8EBCF34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A322992C-55B1-4C21-B271-C9BC0B340E25}"/>
              </a:ext>
            </a:extLst>
          </p:cNvPr>
          <p:cNvGrpSpPr/>
          <p:nvPr/>
        </p:nvGrpSpPr>
        <p:grpSpPr>
          <a:xfrm>
            <a:off x="523544" y="4034514"/>
            <a:ext cx="139353" cy="139353"/>
            <a:chOff x="1996996" y="2755568"/>
            <a:chExt cx="139353" cy="139353"/>
          </a:xfrm>
        </p:grpSpPr>
        <p:sp>
          <p:nvSpPr>
            <p:cNvPr id="139" name="사각형: 둥근 모서리 138">
              <a:extLst>
                <a:ext uri="{FF2B5EF4-FFF2-40B4-BE49-F238E27FC236}">
                  <a16:creationId xmlns:a16="http://schemas.microsoft.com/office/drawing/2014/main" id="{E9094470-99B6-46D9-8C95-EA77DA141CE3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40" name="그림 139">
              <a:extLst>
                <a:ext uri="{FF2B5EF4-FFF2-40B4-BE49-F238E27FC236}">
                  <a16:creationId xmlns:a16="http://schemas.microsoft.com/office/drawing/2014/main" id="{DD71BBF5-453F-46D6-9552-EA3593EE4F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41" name="그룹 140">
            <a:extLst>
              <a:ext uri="{FF2B5EF4-FFF2-40B4-BE49-F238E27FC236}">
                <a16:creationId xmlns:a16="http://schemas.microsoft.com/office/drawing/2014/main" id="{66A7C12D-2469-4CFE-AD78-9CB2A2726BAD}"/>
              </a:ext>
            </a:extLst>
          </p:cNvPr>
          <p:cNvGrpSpPr/>
          <p:nvPr/>
        </p:nvGrpSpPr>
        <p:grpSpPr>
          <a:xfrm>
            <a:off x="523544" y="4372300"/>
            <a:ext cx="139353" cy="139353"/>
            <a:chOff x="1996996" y="2755568"/>
            <a:chExt cx="139353" cy="139353"/>
          </a:xfrm>
        </p:grpSpPr>
        <p:sp>
          <p:nvSpPr>
            <p:cNvPr id="142" name="사각형: 둥근 모서리 141">
              <a:extLst>
                <a:ext uri="{FF2B5EF4-FFF2-40B4-BE49-F238E27FC236}">
                  <a16:creationId xmlns:a16="http://schemas.microsoft.com/office/drawing/2014/main" id="{537A5D7D-E74B-4535-B635-8BF0CE6E6464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43" name="그림 142">
              <a:extLst>
                <a:ext uri="{FF2B5EF4-FFF2-40B4-BE49-F238E27FC236}">
                  <a16:creationId xmlns:a16="http://schemas.microsoft.com/office/drawing/2014/main" id="{790E4EEC-1413-437B-9B68-A869206484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3" name="그룹 2">
            <a:extLst>
              <a:ext uri="{FF2B5EF4-FFF2-40B4-BE49-F238E27FC236}">
                <a16:creationId xmlns:a16="http://schemas.microsoft.com/office/drawing/2014/main" id="{E526C1B6-C6CB-4AA0-9658-61F0B625F5AB}"/>
              </a:ext>
            </a:extLst>
          </p:cNvPr>
          <p:cNvGrpSpPr/>
          <p:nvPr/>
        </p:nvGrpSpPr>
        <p:grpSpPr>
          <a:xfrm>
            <a:off x="521524" y="4695625"/>
            <a:ext cx="139353" cy="139353"/>
            <a:chOff x="521524" y="4866824"/>
            <a:chExt cx="139353" cy="139353"/>
          </a:xfrm>
        </p:grpSpPr>
        <p:sp>
          <p:nvSpPr>
            <p:cNvPr id="154" name="사각형: 둥근 모서리 153">
              <a:extLst>
                <a:ext uri="{FF2B5EF4-FFF2-40B4-BE49-F238E27FC236}">
                  <a16:creationId xmlns:a16="http://schemas.microsoft.com/office/drawing/2014/main" id="{2DEC2F40-CA50-451F-95FF-3375B5539A28}"/>
                </a:ext>
              </a:extLst>
            </p:cNvPr>
            <p:cNvSpPr/>
            <p:nvPr/>
          </p:nvSpPr>
          <p:spPr>
            <a:xfrm>
              <a:off x="521524" y="4866824"/>
              <a:ext cx="139353" cy="13935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55" name="그림 154">
              <a:extLst>
                <a:ext uri="{FF2B5EF4-FFF2-40B4-BE49-F238E27FC236}">
                  <a16:creationId xmlns:a16="http://schemas.microsoft.com/office/drawing/2014/main" id="{293C5B11-333B-441B-ACF9-F308ED7A66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7087" y="4900686"/>
              <a:ext cx="81910" cy="81910"/>
            </a:xfrm>
            <a:prstGeom prst="rect">
              <a:avLst/>
            </a:prstGeom>
          </p:spPr>
        </p:pic>
      </p:grpSp>
      <p:graphicFrame>
        <p:nvGraphicFramePr>
          <p:cNvPr id="156" name="표 12">
            <a:extLst>
              <a:ext uri="{FF2B5EF4-FFF2-40B4-BE49-F238E27FC236}">
                <a16:creationId xmlns:a16="http://schemas.microsoft.com/office/drawing/2014/main" id="{5F95975E-7DF1-439B-BB88-4163D7B44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4345220"/>
              </p:ext>
            </p:extLst>
          </p:nvPr>
        </p:nvGraphicFramePr>
        <p:xfrm>
          <a:off x="2504734" y="1536304"/>
          <a:ext cx="6472017" cy="51367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962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205261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713785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269800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78629">
                <a:tc gridSpan="4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정보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737220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8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ko-KR" altLang="en-US" sz="8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인증</a:t>
                      </a:r>
                      <a:endParaRPr lang="ko-KR" altLang="en-US" sz="8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구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4515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번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1002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 대상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8766979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488357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39761"/>
                  </a:ext>
                </a:extLst>
              </a:tr>
              <a:tr h="3134566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201170"/>
                  </a:ext>
                </a:extLst>
              </a:tr>
            </a:tbl>
          </a:graphicData>
        </a:graphic>
      </p:graphicFrame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E3AF41FD-25CD-4F57-9D65-401770E22C4E}"/>
              </a:ext>
            </a:extLst>
          </p:cNvPr>
          <p:cNvSpPr/>
          <p:nvPr/>
        </p:nvSpPr>
        <p:spPr>
          <a:xfrm>
            <a:off x="3431617" y="2139643"/>
            <a:ext cx="1768472" cy="3198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grpSp>
        <p:nvGrpSpPr>
          <p:cNvPr id="158" name="그룹 157">
            <a:extLst>
              <a:ext uri="{FF2B5EF4-FFF2-40B4-BE49-F238E27FC236}">
                <a16:creationId xmlns:a16="http://schemas.microsoft.com/office/drawing/2014/main" id="{3BF52A46-312E-462A-9503-ED25081A613B}"/>
              </a:ext>
            </a:extLst>
          </p:cNvPr>
          <p:cNvGrpSpPr/>
          <p:nvPr/>
        </p:nvGrpSpPr>
        <p:grpSpPr>
          <a:xfrm>
            <a:off x="3372381" y="2834648"/>
            <a:ext cx="3711546" cy="175761"/>
            <a:chOff x="4535523" y="2896789"/>
            <a:chExt cx="3711546" cy="175761"/>
          </a:xfrm>
        </p:grpSpPr>
        <p:grpSp>
          <p:nvGrpSpPr>
            <p:cNvPr id="159" name="그룹 158">
              <a:extLst>
                <a:ext uri="{FF2B5EF4-FFF2-40B4-BE49-F238E27FC236}">
                  <a16:creationId xmlns:a16="http://schemas.microsoft.com/office/drawing/2014/main" id="{26FB6490-60F9-4BA7-B4BB-29083F12B9FF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2" name="그룹 171">
                <a:extLst>
                  <a:ext uri="{FF2B5EF4-FFF2-40B4-BE49-F238E27FC236}">
                    <a16:creationId xmlns:a16="http://schemas.microsoft.com/office/drawing/2014/main" id="{0C932875-16D8-40CB-8244-420BC5CE42B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78" name="직사각형 177">
                  <a:extLst>
                    <a:ext uri="{FF2B5EF4-FFF2-40B4-BE49-F238E27FC236}">
                      <a16:creationId xmlns:a16="http://schemas.microsoft.com/office/drawing/2014/main" id="{5084D078-F3C6-409A-A203-3EBFB76A00E4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9" name="직사각형 178">
                  <a:extLst>
                    <a:ext uri="{FF2B5EF4-FFF2-40B4-BE49-F238E27FC236}">
                      <a16:creationId xmlns:a16="http://schemas.microsoft.com/office/drawing/2014/main" id="{8C0D6BCB-D5F9-4579-BFD4-C1E0F8E3088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80" name="그림 179">
                  <a:extLst>
                    <a:ext uri="{FF2B5EF4-FFF2-40B4-BE49-F238E27FC236}">
                      <a16:creationId xmlns:a16="http://schemas.microsoft.com/office/drawing/2014/main" id="{4CA43B7D-2CB7-4D7B-A729-116BB1AED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3" name="직사각형 172">
                <a:extLst>
                  <a:ext uri="{FF2B5EF4-FFF2-40B4-BE49-F238E27FC236}">
                    <a16:creationId xmlns:a16="http://schemas.microsoft.com/office/drawing/2014/main" id="{8E013F32-7D67-4CBD-9321-185E00C6FAE2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4" name="직사각형 173">
                <a:extLst>
                  <a:ext uri="{FF2B5EF4-FFF2-40B4-BE49-F238E27FC236}">
                    <a16:creationId xmlns:a16="http://schemas.microsoft.com/office/drawing/2014/main" id="{0BD01E49-1337-49BB-B1FB-35919E18FBB1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5" name="직사각형 174">
                <a:extLst>
                  <a:ext uri="{FF2B5EF4-FFF2-40B4-BE49-F238E27FC236}">
                    <a16:creationId xmlns:a16="http://schemas.microsoft.com/office/drawing/2014/main" id="{9E75524E-2E8B-45EA-9440-78878249B42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BE807613-252A-4267-BE59-A56AC71C4CA2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7" name="직사각형 176">
                <a:extLst>
                  <a:ext uri="{FF2B5EF4-FFF2-40B4-BE49-F238E27FC236}">
                    <a16:creationId xmlns:a16="http://schemas.microsoft.com/office/drawing/2014/main" id="{D42CCB93-8122-42E9-A320-A0BFF14992F1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60" name="그룹 159">
              <a:extLst>
                <a:ext uri="{FF2B5EF4-FFF2-40B4-BE49-F238E27FC236}">
                  <a16:creationId xmlns:a16="http://schemas.microsoft.com/office/drawing/2014/main" id="{F045369D-BFE3-4B72-B6A9-40239ECFF60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64" name="그룹 163">
                <a:extLst>
                  <a:ext uri="{FF2B5EF4-FFF2-40B4-BE49-F238E27FC236}">
                    <a16:creationId xmlns:a16="http://schemas.microsoft.com/office/drawing/2014/main" id="{5F3D3D97-8DD5-4E51-AE1A-F5809F22B4A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69" name="직사각형 168">
                  <a:extLst>
                    <a:ext uri="{FF2B5EF4-FFF2-40B4-BE49-F238E27FC236}">
                      <a16:creationId xmlns:a16="http://schemas.microsoft.com/office/drawing/2014/main" id="{1C01D335-E17B-4BBA-81EB-B59340A6884A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0" name="직사각형 169">
                  <a:extLst>
                    <a:ext uri="{FF2B5EF4-FFF2-40B4-BE49-F238E27FC236}">
                      <a16:creationId xmlns:a16="http://schemas.microsoft.com/office/drawing/2014/main" id="{3A1EF9C6-5A69-4D25-BB1B-9EA52DAEFE4F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pic>
              <p:nvPicPr>
                <p:cNvPr id="171" name="그림 170">
                  <a:extLst>
                    <a:ext uri="{FF2B5EF4-FFF2-40B4-BE49-F238E27FC236}">
                      <a16:creationId xmlns:a16="http://schemas.microsoft.com/office/drawing/2014/main" id="{34D22EBD-32AD-4E0C-AEA5-1CF5A1D5ED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FA7F6FAD-529F-4BEF-A815-E6DA259F82C4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1F11FCC0-BDF7-4E9B-B1D3-4559D2B27CB2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7F9FCE39-5403-49F5-A2E3-CEB32C9323D8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AAF6A227-884A-41E8-A05C-DC6A2F4416D8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6D5424BC-CEBD-4A0B-A88E-1A9F3FDE0E72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FDE15947-BAAA-4A39-B39F-43A8129B6400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63" name="그림 162">
              <a:extLst>
                <a:ext uri="{FF2B5EF4-FFF2-40B4-BE49-F238E27FC236}">
                  <a16:creationId xmlns:a16="http://schemas.microsoft.com/office/drawing/2014/main" id="{52B99A8E-CAA2-4643-A6A5-D34C71ABF8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sp>
        <p:nvSpPr>
          <p:cNvPr id="189" name="사각형: 둥근 모서리 188">
            <a:extLst>
              <a:ext uri="{FF2B5EF4-FFF2-40B4-BE49-F238E27FC236}">
                <a16:creationId xmlns:a16="http://schemas.microsoft.com/office/drawing/2014/main" id="{0A76E21B-65A9-4ED6-BD24-5C88ABF8BBA4}"/>
              </a:ext>
            </a:extLst>
          </p:cNvPr>
          <p:cNvSpPr/>
          <p:nvPr/>
        </p:nvSpPr>
        <p:spPr>
          <a:xfrm>
            <a:off x="8279693" y="1589229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91" name="사각형: 둥근 모서리 190">
            <a:extLst>
              <a:ext uri="{FF2B5EF4-FFF2-40B4-BE49-F238E27FC236}">
                <a16:creationId xmlns:a16="http://schemas.microsoft.com/office/drawing/2014/main" id="{5F00F150-2555-4009-B889-4DF9E926D537}"/>
              </a:ext>
            </a:extLst>
          </p:cNvPr>
          <p:cNvSpPr/>
          <p:nvPr/>
        </p:nvSpPr>
        <p:spPr>
          <a:xfrm>
            <a:off x="7568383" y="159091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리보기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6BFDB6B6-BFDE-4F62-80AD-9C794B6B7819}"/>
              </a:ext>
            </a:extLst>
          </p:cNvPr>
          <p:cNvGrpSpPr/>
          <p:nvPr/>
        </p:nvGrpSpPr>
        <p:grpSpPr>
          <a:xfrm>
            <a:off x="2509937" y="3306316"/>
            <a:ext cx="3898853" cy="231819"/>
            <a:chOff x="3863750" y="3221656"/>
            <a:chExt cx="3898853" cy="231819"/>
          </a:xfrm>
        </p:grpSpPr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B47A7E64-D89C-458A-9241-4FE4A7D57DEA}"/>
                </a:ext>
              </a:extLst>
            </p:cNvPr>
            <p:cNvSpPr/>
            <p:nvPr/>
          </p:nvSpPr>
          <p:spPr>
            <a:xfrm>
              <a:off x="5159750" y="3245080"/>
              <a:ext cx="1302307" cy="206889"/>
            </a:xfrm>
            <a:prstGeom prst="rect">
              <a:avLst/>
            </a:prstGeom>
            <a:solidFill>
              <a:srgbClr val="F2F2F2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latinLnBrk="1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핵심 개념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5" name="직사각형 184">
              <a:extLst>
                <a:ext uri="{FF2B5EF4-FFF2-40B4-BE49-F238E27FC236}">
                  <a16:creationId xmlns:a16="http://schemas.microsoft.com/office/drawing/2014/main" id="{39228AB4-5956-4E22-B231-795E8B9ECFDB}"/>
                </a:ext>
              </a:extLst>
            </p:cNvPr>
            <p:cNvSpPr/>
            <p:nvPr/>
          </p:nvSpPr>
          <p:spPr>
            <a:xfrm>
              <a:off x="6466603" y="3245081"/>
              <a:ext cx="1296000" cy="2083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프레임워크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8" name="직사각형 187">
              <a:extLst>
                <a:ext uri="{FF2B5EF4-FFF2-40B4-BE49-F238E27FC236}">
                  <a16:creationId xmlns:a16="http://schemas.microsoft.com/office/drawing/2014/main" id="{76873261-A12B-4D25-A3EF-6B7009749677}"/>
                </a:ext>
              </a:extLst>
            </p:cNvPr>
            <p:cNvSpPr/>
            <p:nvPr/>
          </p:nvSpPr>
          <p:spPr>
            <a:xfrm>
              <a:off x="3863750" y="3221656"/>
              <a:ext cx="1296000" cy="230632"/>
            </a:xfrm>
            <a:prstGeom prst="rect">
              <a:avLst/>
            </a:prstGeom>
            <a:solidFill>
              <a:srgbClr val="404040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추천 컨텐츠</a:t>
              </a:r>
            </a:p>
          </p:txBody>
        </p:sp>
      </p:grp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B624D51E-B269-4447-9B40-5D08D734D94E}"/>
              </a:ext>
            </a:extLst>
          </p:cNvPr>
          <p:cNvSpPr/>
          <p:nvPr/>
        </p:nvSpPr>
        <p:spPr>
          <a:xfrm>
            <a:off x="964843" y="27435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B778FCFE-A15F-4C13-85BE-938192439986}"/>
              </a:ext>
            </a:extLst>
          </p:cNvPr>
          <p:cNvSpPr/>
          <p:nvPr/>
        </p:nvSpPr>
        <p:spPr>
          <a:xfrm>
            <a:off x="964843" y="3066631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6B50E926-2C35-4EA4-A8FA-4FB90EFC0F93}"/>
              </a:ext>
            </a:extLst>
          </p:cNvPr>
          <p:cNvSpPr/>
          <p:nvPr/>
        </p:nvSpPr>
        <p:spPr>
          <a:xfrm>
            <a:off x="964843" y="3382212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D7A49F2F-3E76-4495-BED0-E66280ACBAF2}"/>
              </a:ext>
            </a:extLst>
          </p:cNvPr>
          <p:cNvSpPr/>
          <p:nvPr/>
        </p:nvSpPr>
        <p:spPr>
          <a:xfrm>
            <a:off x="964843" y="3696484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1C1930D8-8CC6-4C40-BDBD-D85947B9449B}"/>
              </a:ext>
            </a:extLst>
          </p:cNvPr>
          <p:cNvSpPr/>
          <p:nvPr/>
        </p:nvSpPr>
        <p:spPr>
          <a:xfrm>
            <a:off x="964843" y="4031959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5D93C225-CFEE-460B-9EEC-DB7A3D1D8963}"/>
              </a:ext>
            </a:extLst>
          </p:cNvPr>
          <p:cNvSpPr/>
          <p:nvPr/>
        </p:nvSpPr>
        <p:spPr>
          <a:xfrm>
            <a:off x="964843" y="4359826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3551AA2B-D373-4574-8BA3-55103C822743}"/>
              </a:ext>
            </a:extLst>
          </p:cNvPr>
          <p:cNvSpPr/>
          <p:nvPr/>
        </p:nvSpPr>
        <p:spPr>
          <a:xfrm>
            <a:off x="964843" y="4697559"/>
            <a:ext cx="2659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B73214A8-9928-424B-B98D-970B67A6BE2A}"/>
              </a:ext>
            </a:extLst>
          </p:cNvPr>
          <p:cNvGrpSpPr/>
          <p:nvPr/>
        </p:nvGrpSpPr>
        <p:grpSpPr>
          <a:xfrm>
            <a:off x="518365" y="5019855"/>
            <a:ext cx="139353" cy="139353"/>
            <a:chOff x="1996996" y="2755568"/>
            <a:chExt cx="139353" cy="139353"/>
          </a:xfrm>
        </p:grpSpPr>
        <p:sp>
          <p:nvSpPr>
            <p:cNvPr id="98" name="사각형: 둥근 모서리 97">
              <a:extLst>
                <a:ext uri="{FF2B5EF4-FFF2-40B4-BE49-F238E27FC236}">
                  <a16:creationId xmlns:a16="http://schemas.microsoft.com/office/drawing/2014/main" id="{7D040AD8-33B8-4FA9-94FA-C8765625233C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99" name="그림 98">
              <a:extLst>
                <a:ext uri="{FF2B5EF4-FFF2-40B4-BE49-F238E27FC236}">
                  <a16:creationId xmlns:a16="http://schemas.microsoft.com/office/drawing/2014/main" id="{5B0EAF7A-DBF0-4926-812A-F54AE1C44B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70972BDD-DB0B-4892-8164-6E9403635120}"/>
              </a:ext>
            </a:extLst>
          </p:cNvPr>
          <p:cNvSpPr/>
          <p:nvPr/>
        </p:nvSpPr>
        <p:spPr>
          <a:xfrm>
            <a:off x="964843" y="5004442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6" name="사각형: 둥근 모서리 205">
            <a:extLst>
              <a:ext uri="{FF2B5EF4-FFF2-40B4-BE49-F238E27FC236}">
                <a16:creationId xmlns:a16="http://schemas.microsoft.com/office/drawing/2014/main" id="{4AB6D8E5-F9A2-44C0-A8B7-9029345840FE}"/>
              </a:ext>
            </a:extLst>
          </p:cNvPr>
          <p:cNvSpPr/>
          <p:nvPr/>
        </p:nvSpPr>
        <p:spPr>
          <a:xfrm>
            <a:off x="2469181" y="327825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F06A044D-A5C5-4995-A7BE-4676C792D2EB}"/>
              </a:ext>
            </a:extLst>
          </p:cNvPr>
          <p:cNvSpPr/>
          <p:nvPr/>
        </p:nvSpPr>
        <p:spPr>
          <a:xfrm>
            <a:off x="9303999" y="776136"/>
            <a:ext cx="2862495" cy="1898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B :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〮인증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6" name="사각형: 둥근 모서리 95">
            <a:extLst>
              <a:ext uri="{FF2B5EF4-FFF2-40B4-BE49-F238E27FC236}">
                <a16:creationId xmlns:a16="http://schemas.microsoft.com/office/drawing/2014/main" id="{135E636A-C77C-4606-9AF9-64026C95FE5B}"/>
              </a:ext>
            </a:extLst>
          </p:cNvPr>
          <p:cNvSpPr/>
          <p:nvPr/>
        </p:nvSpPr>
        <p:spPr>
          <a:xfrm>
            <a:off x="848905" y="179642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CDE5F9EB-CD81-48C4-8BF3-16FB313FD774}"/>
              </a:ext>
            </a:extLst>
          </p:cNvPr>
          <p:cNvSpPr/>
          <p:nvPr/>
        </p:nvSpPr>
        <p:spPr>
          <a:xfrm>
            <a:off x="856189" y="205314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2" name="표 66">
            <a:extLst>
              <a:ext uri="{FF2B5EF4-FFF2-40B4-BE49-F238E27FC236}">
                <a16:creationId xmlns:a16="http://schemas.microsoft.com/office/drawing/2014/main" id="{4DF1AB93-FB1C-40FC-906C-8022E7FD2D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0720583"/>
              </p:ext>
            </p:extLst>
          </p:nvPr>
        </p:nvGraphicFramePr>
        <p:xfrm>
          <a:off x="2511261" y="3977894"/>
          <a:ext cx="6458961" cy="143250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5859">
                  <a:extLst>
                    <a:ext uri="{9D8B030D-6E8A-4147-A177-3AD203B41FA5}">
                      <a16:colId xmlns:a16="http://schemas.microsoft.com/office/drawing/2014/main" val="3829246906"/>
                    </a:ext>
                  </a:extLst>
                </a:gridCol>
                <a:gridCol w="525440">
                  <a:extLst>
                    <a:ext uri="{9D8B030D-6E8A-4147-A177-3AD203B41FA5}">
                      <a16:colId xmlns:a16="http://schemas.microsoft.com/office/drawing/2014/main" val="2001156244"/>
                    </a:ext>
                  </a:extLst>
                </a:gridCol>
                <a:gridCol w="834710">
                  <a:extLst>
                    <a:ext uri="{9D8B030D-6E8A-4147-A177-3AD203B41FA5}">
                      <a16:colId xmlns:a16="http://schemas.microsoft.com/office/drawing/2014/main" val="3720779250"/>
                    </a:ext>
                  </a:extLst>
                </a:gridCol>
                <a:gridCol w="531179">
                  <a:extLst>
                    <a:ext uri="{9D8B030D-6E8A-4147-A177-3AD203B41FA5}">
                      <a16:colId xmlns:a16="http://schemas.microsoft.com/office/drawing/2014/main" val="2017557378"/>
                    </a:ext>
                  </a:extLst>
                </a:gridCol>
                <a:gridCol w="772785">
                  <a:extLst>
                    <a:ext uri="{9D8B030D-6E8A-4147-A177-3AD203B41FA5}">
                      <a16:colId xmlns:a16="http://schemas.microsoft.com/office/drawing/2014/main" val="3243612300"/>
                    </a:ext>
                  </a:extLst>
                </a:gridCol>
                <a:gridCol w="748119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1664723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52131">
                  <a:extLst>
                    <a:ext uri="{9D8B030D-6E8A-4147-A177-3AD203B41FA5}">
                      <a16:colId xmlns:a16="http://schemas.microsoft.com/office/drawing/2014/main" val="1602765021"/>
                    </a:ext>
                  </a:extLst>
                </a:gridCol>
                <a:gridCol w="454015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</a:tblGrid>
              <a:tr h="360000">
                <a:tc gridSpan="9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740681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렬방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순서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종류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A00012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P00005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102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탄소중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MOA00120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경영보고서 작성 지침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.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03" name="그룹 102">
            <a:extLst>
              <a:ext uri="{FF2B5EF4-FFF2-40B4-BE49-F238E27FC236}">
                <a16:creationId xmlns:a16="http://schemas.microsoft.com/office/drawing/2014/main" id="{C011A57E-1252-48A1-A250-E03A781A57DE}"/>
              </a:ext>
            </a:extLst>
          </p:cNvPr>
          <p:cNvGrpSpPr/>
          <p:nvPr/>
        </p:nvGrpSpPr>
        <p:grpSpPr>
          <a:xfrm>
            <a:off x="2557144" y="4074781"/>
            <a:ext cx="696669" cy="172800"/>
            <a:chOff x="1260033" y="1778319"/>
            <a:chExt cx="696669" cy="172800"/>
          </a:xfrm>
        </p:grpSpPr>
        <p:sp>
          <p:nvSpPr>
            <p:cNvPr id="104" name="직사각형 103">
              <a:extLst>
                <a:ext uri="{FF2B5EF4-FFF2-40B4-BE49-F238E27FC236}">
                  <a16:creationId xmlns:a16="http://schemas.microsoft.com/office/drawing/2014/main" id="{CCA96C8F-7A12-4735-B8D5-CD16F32ED671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105" name="직사각형 104">
              <a:extLst>
                <a:ext uri="{FF2B5EF4-FFF2-40B4-BE49-F238E27FC236}">
                  <a16:creationId xmlns:a16="http://schemas.microsoft.com/office/drawing/2014/main" id="{D95046DE-9736-4D5B-88FD-645391242D8E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CF2F2EEE-AB55-4410-A059-7CB0B4667D8C}"/>
              </a:ext>
            </a:extLst>
          </p:cNvPr>
          <p:cNvSpPr/>
          <p:nvPr/>
        </p:nvSpPr>
        <p:spPr>
          <a:xfrm>
            <a:off x="8279693" y="4074781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07" name="사각형: 둥근 모서리 106">
            <a:extLst>
              <a:ext uri="{FF2B5EF4-FFF2-40B4-BE49-F238E27FC236}">
                <a16:creationId xmlns:a16="http://schemas.microsoft.com/office/drawing/2014/main" id="{ED061D22-B8AC-49AF-BA1E-92C83A29B4C8}"/>
              </a:ext>
            </a:extLst>
          </p:cNvPr>
          <p:cNvSpPr/>
          <p:nvPr/>
        </p:nvSpPr>
        <p:spPr>
          <a:xfrm>
            <a:off x="7579079" y="4071094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8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삭제</a:t>
            </a:r>
          </a:p>
        </p:txBody>
      </p:sp>
      <p:sp>
        <p:nvSpPr>
          <p:cNvPr id="108" name="사각형: 둥근 모서리 107">
            <a:extLst>
              <a:ext uri="{FF2B5EF4-FFF2-40B4-BE49-F238E27FC236}">
                <a16:creationId xmlns:a16="http://schemas.microsoft.com/office/drawing/2014/main" id="{B7278BB4-F2FE-403F-B9EF-169A5B702E3E}"/>
              </a:ext>
            </a:extLst>
          </p:cNvPr>
          <p:cNvSpPr/>
          <p:nvPr/>
        </p:nvSpPr>
        <p:spPr>
          <a:xfrm>
            <a:off x="6881209" y="4071094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8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추가</a:t>
            </a:r>
          </a:p>
        </p:txBody>
      </p:sp>
      <p:graphicFrame>
        <p:nvGraphicFramePr>
          <p:cNvPr id="109" name="표 66">
            <a:extLst>
              <a:ext uri="{FF2B5EF4-FFF2-40B4-BE49-F238E27FC236}">
                <a16:creationId xmlns:a16="http://schemas.microsoft.com/office/drawing/2014/main" id="{DA5E6D15-81CC-46EA-8E1B-784942BF6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979215"/>
              </p:ext>
            </p:extLst>
          </p:nvPr>
        </p:nvGraphicFramePr>
        <p:xfrm>
          <a:off x="4034928" y="5554913"/>
          <a:ext cx="4941824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6770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604654">
                  <a:extLst>
                    <a:ext uri="{9D8B030D-6E8A-4147-A177-3AD203B41FA5}">
                      <a16:colId xmlns:a16="http://schemas.microsoft.com/office/drawing/2014/main" val="3569582593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  <a:gridCol w="784552">
                  <a:extLst>
                    <a:ext uri="{9D8B030D-6E8A-4147-A177-3AD203B41FA5}">
                      <a16:colId xmlns:a16="http://schemas.microsoft.com/office/drawing/2014/main" val="3980714550"/>
                    </a:ext>
                  </a:extLst>
                </a:gridCol>
                <a:gridCol w="367576">
                  <a:extLst>
                    <a:ext uri="{9D8B030D-6E8A-4147-A177-3AD203B41FA5}">
                      <a16:colId xmlns:a16="http://schemas.microsoft.com/office/drawing/2014/main" val="3630009978"/>
                    </a:ext>
                  </a:extLst>
                </a:gridCol>
                <a:gridCol w="692664">
                  <a:extLst>
                    <a:ext uri="{9D8B030D-6E8A-4147-A177-3AD203B41FA5}">
                      <a16:colId xmlns:a16="http://schemas.microsoft.com/office/drawing/2014/main" val="2993871931"/>
                    </a:ext>
                  </a:extLst>
                </a:gridCol>
                <a:gridCol w="675488">
                  <a:extLst>
                    <a:ext uri="{9D8B030D-6E8A-4147-A177-3AD203B41FA5}">
                      <a16:colId xmlns:a16="http://schemas.microsoft.com/office/drawing/2014/main" val="164872419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36518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11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P4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11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EB8E30B2-B31B-406B-8610-4A19FD3E7D4A}"/>
              </a:ext>
            </a:extLst>
          </p:cNvPr>
          <p:cNvSpPr/>
          <p:nvPr/>
        </p:nvSpPr>
        <p:spPr>
          <a:xfrm>
            <a:off x="2645186" y="4613877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1" name="사각형: 둥근 모서리 110">
            <a:extLst>
              <a:ext uri="{FF2B5EF4-FFF2-40B4-BE49-F238E27FC236}">
                <a16:creationId xmlns:a16="http://schemas.microsoft.com/office/drawing/2014/main" id="{4AD0E43E-6B7B-4374-AB04-83D5A66A77CD}"/>
              </a:ext>
            </a:extLst>
          </p:cNvPr>
          <p:cNvSpPr/>
          <p:nvPr/>
        </p:nvSpPr>
        <p:spPr>
          <a:xfrm>
            <a:off x="2645186" y="503416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4EA4A4D3-82A8-4F74-B54C-1B6D9ED363A9}"/>
              </a:ext>
            </a:extLst>
          </p:cNvPr>
          <p:cNvSpPr/>
          <p:nvPr/>
        </p:nvSpPr>
        <p:spPr>
          <a:xfrm>
            <a:off x="2645186" y="4828472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84FC3D8C-1F51-4D28-8E3E-5E627A45BD19}"/>
              </a:ext>
            </a:extLst>
          </p:cNvPr>
          <p:cNvSpPr/>
          <p:nvPr/>
        </p:nvSpPr>
        <p:spPr>
          <a:xfrm>
            <a:off x="2647942" y="5254045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414FEC64-BC6D-4562-9AB2-A6CE9BBAC779}"/>
              </a:ext>
            </a:extLst>
          </p:cNvPr>
          <p:cNvSpPr/>
          <p:nvPr/>
        </p:nvSpPr>
        <p:spPr>
          <a:xfrm>
            <a:off x="3066241" y="4592404"/>
            <a:ext cx="115772" cy="1157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16" name="그림 115">
            <a:extLst>
              <a:ext uri="{FF2B5EF4-FFF2-40B4-BE49-F238E27FC236}">
                <a16:creationId xmlns:a16="http://schemas.microsoft.com/office/drawing/2014/main" id="{BE53C7F3-B854-4073-8E9F-C4EF532223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83172" y="4612058"/>
            <a:ext cx="81910" cy="81910"/>
          </a:xfrm>
          <a:prstGeom prst="rect">
            <a:avLst/>
          </a:prstGeom>
        </p:spPr>
      </p:pic>
      <p:sp>
        <p:nvSpPr>
          <p:cNvPr id="118" name="사각형: 둥근 모서리 117">
            <a:extLst>
              <a:ext uri="{FF2B5EF4-FFF2-40B4-BE49-F238E27FC236}">
                <a16:creationId xmlns:a16="http://schemas.microsoft.com/office/drawing/2014/main" id="{4B4B95A1-02CF-45C7-833E-8C8228708CCC}"/>
              </a:ext>
            </a:extLst>
          </p:cNvPr>
          <p:cNvSpPr/>
          <p:nvPr/>
        </p:nvSpPr>
        <p:spPr>
          <a:xfrm>
            <a:off x="3066527" y="4808862"/>
            <a:ext cx="115200" cy="1152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21" name="그림 120">
            <a:extLst>
              <a:ext uri="{FF2B5EF4-FFF2-40B4-BE49-F238E27FC236}">
                <a16:creationId xmlns:a16="http://schemas.microsoft.com/office/drawing/2014/main" id="{341790B7-C934-4F5A-8F18-E5218533F1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83743" y="4820693"/>
            <a:ext cx="80768" cy="80768"/>
          </a:xfrm>
          <a:prstGeom prst="rect">
            <a:avLst/>
          </a:prstGeom>
        </p:spPr>
      </p:pic>
      <p:grpSp>
        <p:nvGrpSpPr>
          <p:cNvPr id="122" name="그룹 121">
            <a:extLst>
              <a:ext uri="{FF2B5EF4-FFF2-40B4-BE49-F238E27FC236}">
                <a16:creationId xmlns:a16="http://schemas.microsoft.com/office/drawing/2014/main" id="{6190122D-0671-4434-ADD5-027CEE5CFB34}"/>
              </a:ext>
            </a:extLst>
          </p:cNvPr>
          <p:cNvGrpSpPr/>
          <p:nvPr/>
        </p:nvGrpSpPr>
        <p:grpSpPr>
          <a:xfrm>
            <a:off x="3066527" y="5015626"/>
            <a:ext cx="115200" cy="115200"/>
            <a:chOff x="3438262" y="4506798"/>
            <a:chExt cx="115200" cy="115200"/>
          </a:xfrm>
        </p:grpSpPr>
        <p:sp>
          <p:nvSpPr>
            <p:cNvPr id="125" name="사각형: 둥근 모서리 124">
              <a:extLst>
                <a:ext uri="{FF2B5EF4-FFF2-40B4-BE49-F238E27FC236}">
                  <a16:creationId xmlns:a16="http://schemas.microsoft.com/office/drawing/2014/main" id="{98E5113C-445E-43E1-A023-6C1E4F8ECB0B}"/>
                </a:ext>
              </a:extLst>
            </p:cNvPr>
            <p:cNvSpPr/>
            <p:nvPr/>
          </p:nvSpPr>
          <p:spPr>
            <a:xfrm>
              <a:off x="3438262" y="4506798"/>
              <a:ext cx="115200" cy="1152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29" name="그림 128">
              <a:extLst>
                <a:ext uri="{FF2B5EF4-FFF2-40B4-BE49-F238E27FC236}">
                  <a16:creationId xmlns:a16="http://schemas.microsoft.com/office/drawing/2014/main" id="{F0D001D6-D7B5-4596-9AFB-05385F8E30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56868" y="4526239"/>
              <a:ext cx="77989" cy="77989"/>
            </a:xfrm>
            <a:prstGeom prst="rect">
              <a:avLst/>
            </a:prstGeom>
          </p:spPr>
        </p:pic>
      </p:grpSp>
      <p:grpSp>
        <p:nvGrpSpPr>
          <p:cNvPr id="130" name="그룹 129">
            <a:extLst>
              <a:ext uri="{FF2B5EF4-FFF2-40B4-BE49-F238E27FC236}">
                <a16:creationId xmlns:a16="http://schemas.microsoft.com/office/drawing/2014/main" id="{4A849B42-7CEA-4282-9D63-3D55124142DC}"/>
              </a:ext>
            </a:extLst>
          </p:cNvPr>
          <p:cNvGrpSpPr/>
          <p:nvPr/>
        </p:nvGrpSpPr>
        <p:grpSpPr>
          <a:xfrm>
            <a:off x="3066527" y="5230500"/>
            <a:ext cx="115200" cy="115200"/>
            <a:chOff x="3438262" y="4506798"/>
            <a:chExt cx="115200" cy="115200"/>
          </a:xfrm>
        </p:grpSpPr>
        <p:sp>
          <p:nvSpPr>
            <p:cNvPr id="131" name="사각형: 둥근 모서리 130">
              <a:extLst>
                <a:ext uri="{FF2B5EF4-FFF2-40B4-BE49-F238E27FC236}">
                  <a16:creationId xmlns:a16="http://schemas.microsoft.com/office/drawing/2014/main" id="{7E8EC718-1B29-472E-AF60-15B071F30572}"/>
                </a:ext>
              </a:extLst>
            </p:cNvPr>
            <p:cNvSpPr/>
            <p:nvPr/>
          </p:nvSpPr>
          <p:spPr>
            <a:xfrm>
              <a:off x="3438262" y="4506798"/>
              <a:ext cx="115200" cy="1152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44" name="그림 143">
              <a:extLst>
                <a:ext uri="{FF2B5EF4-FFF2-40B4-BE49-F238E27FC236}">
                  <a16:creationId xmlns:a16="http://schemas.microsoft.com/office/drawing/2014/main" id="{F1AE6559-D6F4-42B7-9918-8DC70EBE5A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56868" y="4526239"/>
              <a:ext cx="77989" cy="77989"/>
            </a:xfrm>
            <a:prstGeom prst="rect">
              <a:avLst/>
            </a:prstGeom>
          </p:spPr>
        </p:pic>
      </p:grpSp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730DBD3A-DE7A-4C04-BCDD-82862C46EA89}"/>
              </a:ext>
            </a:extLst>
          </p:cNvPr>
          <p:cNvSpPr/>
          <p:nvPr/>
        </p:nvSpPr>
        <p:spPr>
          <a:xfrm>
            <a:off x="4328237" y="4589050"/>
            <a:ext cx="353873" cy="12165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6" name="화살표: 오른쪽 145">
            <a:extLst>
              <a:ext uri="{FF2B5EF4-FFF2-40B4-BE49-F238E27FC236}">
                <a16:creationId xmlns:a16="http://schemas.microsoft.com/office/drawing/2014/main" id="{79FAE974-E3A4-462B-87F8-D206091DFFD4}"/>
              </a:ext>
            </a:extLst>
          </p:cNvPr>
          <p:cNvSpPr/>
          <p:nvPr/>
        </p:nvSpPr>
        <p:spPr>
          <a:xfrm>
            <a:off x="3672039" y="5686515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0" name="직사각형 149">
            <a:extLst>
              <a:ext uri="{FF2B5EF4-FFF2-40B4-BE49-F238E27FC236}">
                <a16:creationId xmlns:a16="http://schemas.microsoft.com/office/drawing/2014/main" id="{F38DE939-14CE-4D9D-BF1D-EDAC93325580}"/>
              </a:ext>
            </a:extLst>
          </p:cNvPr>
          <p:cNvSpPr/>
          <p:nvPr/>
        </p:nvSpPr>
        <p:spPr>
          <a:xfrm>
            <a:off x="4325174" y="4805920"/>
            <a:ext cx="353873" cy="12165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C54D3925-CEE0-4AE0-A1F5-C31D5E432074}"/>
              </a:ext>
            </a:extLst>
          </p:cNvPr>
          <p:cNvSpPr/>
          <p:nvPr/>
        </p:nvSpPr>
        <p:spPr>
          <a:xfrm>
            <a:off x="4326629" y="5018341"/>
            <a:ext cx="353873" cy="12165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2A69C228-DF6D-49BF-8842-6C2CE609B112}"/>
              </a:ext>
            </a:extLst>
          </p:cNvPr>
          <p:cNvSpPr/>
          <p:nvPr/>
        </p:nvSpPr>
        <p:spPr>
          <a:xfrm>
            <a:off x="4326629" y="5236568"/>
            <a:ext cx="353873" cy="12165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3" name="그룹 152">
            <a:extLst>
              <a:ext uri="{FF2B5EF4-FFF2-40B4-BE49-F238E27FC236}">
                <a16:creationId xmlns:a16="http://schemas.microsoft.com/office/drawing/2014/main" id="{0256F189-DCB9-4141-BBCA-77F9AF6C754C}"/>
              </a:ext>
            </a:extLst>
          </p:cNvPr>
          <p:cNvGrpSpPr/>
          <p:nvPr/>
        </p:nvGrpSpPr>
        <p:grpSpPr>
          <a:xfrm>
            <a:off x="6058584" y="4077976"/>
            <a:ext cx="760056" cy="168738"/>
            <a:chOff x="8101523" y="4105249"/>
            <a:chExt cx="760056" cy="168738"/>
          </a:xfrm>
        </p:grpSpPr>
        <p:sp>
          <p:nvSpPr>
            <p:cNvPr id="181" name="사각형: 둥근 모서리 180">
              <a:extLst>
                <a:ext uri="{FF2B5EF4-FFF2-40B4-BE49-F238E27FC236}">
                  <a16:creationId xmlns:a16="http://schemas.microsoft.com/office/drawing/2014/main" id="{D0EF04ED-5C55-48A4-8A45-F2E2DFFAB5BF}"/>
                </a:ext>
              </a:extLst>
            </p:cNvPr>
            <p:cNvSpPr/>
            <p:nvPr/>
          </p:nvSpPr>
          <p:spPr>
            <a:xfrm>
              <a:off x="8101523" y="4105249"/>
              <a:ext cx="760056" cy="16873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다운로드</a:t>
              </a:r>
            </a:p>
          </p:txBody>
        </p:sp>
        <p:pic>
          <p:nvPicPr>
            <p:cNvPr id="182" name="그림 181">
              <a:extLst>
                <a:ext uri="{FF2B5EF4-FFF2-40B4-BE49-F238E27FC236}">
                  <a16:creationId xmlns:a16="http://schemas.microsoft.com/office/drawing/2014/main" id="{41AC2645-C993-4EB8-974C-32FC59F7C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4232" y="4135768"/>
              <a:ext cx="105940" cy="105940"/>
            </a:xfrm>
            <a:prstGeom prst="rect">
              <a:avLst/>
            </a:prstGeom>
          </p:spPr>
        </p:pic>
      </p:grpSp>
      <p:grpSp>
        <p:nvGrpSpPr>
          <p:cNvPr id="183" name="그룹 182">
            <a:extLst>
              <a:ext uri="{FF2B5EF4-FFF2-40B4-BE49-F238E27FC236}">
                <a16:creationId xmlns:a16="http://schemas.microsoft.com/office/drawing/2014/main" id="{5A3D994C-DE18-48A2-B325-07F490896AEF}"/>
              </a:ext>
            </a:extLst>
          </p:cNvPr>
          <p:cNvGrpSpPr/>
          <p:nvPr/>
        </p:nvGrpSpPr>
        <p:grpSpPr>
          <a:xfrm>
            <a:off x="3455477" y="4594081"/>
            <a:ext cx="696670" cy="123331"/>
            <a:chOff x="1260032" y="1778319"/>
            <a:chExt cx="696670" cy="123331"/>
          </a:xfrm>
        </p:grpSpPr>
        <p:sp>
          <p:nvSpPr>
            <p:cNvPr id="186" name="직사각형 185">
              <a:extLst>
                <a:ext uri="{FF2B5EF4-FFF2-40B4-BE49-F238E27FC236}">
                  <a16:creationId xmlns:a16="http://schemas.microsoft.com/office/drawing/2014/main" id="{E62A09F5-8D87-4CC6-A4F9-4ED7FBFD63B7}"/>
                </a:ext>
              </a:extLst>
            </p:cNvPr>
            <p:cNvSpPr/>
            <p:nvPr/>
          </p:nvSpPr>
          <p:spPr>
            <a:xfrm>
              <a:off x="1260032" y="1778319"/>
              <a:ext cx="556619" cy="12165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순</a:t>
              </a:r>
              <a:endPara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7" name="직사각형 186">
              <a:extLst>
                <a:ext uri="{FF2B5EF4-FFF2-40B4-BE49-F238E27FC236}">
                  <a16:creationId xmlns:a16="http://schemas.microsoft.com/office/drawing/2014/main" id="{7F1141CA-D443-4551-88B5-B63C1D30DA99}"/>
                </a:ext>
              </a:extLst>
            </p:cNvPr>
            <p:cNvSpPr/>
            <p:nvPr/>
          </p:nvSpPr>
          <p:spPr>
            <a:xfrm>
              <a:off x="1815800" y="1778319"/>
              <a:ext cx="140902" cy="12333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90" name="그룹 189">
            <a:extLst>
              <a:ext uri="{FF2B5EF4-FFF2-40B4-BE49-F238E27FC236}">
                <a16:creationId xmlns:a16="http://schemas.microsoft.com/office/drawing/2014/main" id="{F65F1C76-5B67-4CA0-AC71-74BD00A3C998}"/>
              </a:ext>
            </a:extLst>
          </p:cNvPr>
          <p:cNvGrpSpPr/>
          <p:nvPr/>
        </p:nvGrpSpPr>
        <p:grpSpPr>
          <a:xfrm>
            <a:off x="3455477" y="4807293"/>
            <a:ext cx="696669" cy="121654"/>
            <a:chOff x="1260033" y="1778319"/>
            <a:chExt cx="696669" cy="121654"/>
          </a:xfrm>
        </p:grpSpPr>
        <p:sp>
          <p:nvSpPr>
            <p:cNvPr id="192" name="직사각형 191">
              <a:extLst>
                <a:ext uri="{FF2B5EF4-FFF2-40B4-BE49-F238E27FC236}">
                  <a16:creationId xmlns:a16="http://schemas.microsoft.com/office/drawing/2014/main" id="{0B56C482-2B1D-4998-BCA6-F8CA30BC549D}"/>
                </a:ext>
              </a:extLst>
            </p:cNvPr>
            <p:cNvSpPr/>
            <p:nvPr/>
          </p:nvSpPr>
          <p:spPr>
            <a:xfrm>
              <a:off x="1260033" y="1778319"/>
              <a:ext cx="555766" cy="12165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순</a:t>
              </a:r>
              <a:endPara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93" name="직사각형 192">
              <a:extLst>
                <a:ext uri="{FF2B5EF4-FFF2-40B4-BE49-F238E27FC236}">
                  <a16:creationId xmlns:a16="http://schemas.microsoft.com/office/drawing/2014/main" id="{28DEE719-392B-4A2A-AFEC-0A00C3C53E27}"/>
                </a:ext>
              </a:extLst>
            </p:cNvPr>
            <p:cNvSpPr/>
            <p:nvPr/>
          </p:nvSpPr>
          <p:spPr>
            <a:xfrm>
              <a:off x="1815800" y="1779692"/>
              <a:ext cx="140902" cy="118908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94" name="그룹 193">
            <a:extLst>
              <a:ext uri="{FF2B5EF4-FFF2-40B4-BE49-F238E27FC236}">
                <a16:creationId xmlns:a16="http://schemas.microsoft.com/office/drawing/2014/main" id="{BE80857E-9AB0-4742-BF66-E8712521D853}"/>
              </a:ext>
            </a:extLst>
          </p:cNvPr>
          <p:cNvGrpSpPr/>
          <p:nvPr/>
        </p:nvGrpSpPr>
        <p:grpSpPr>
          <a:xfrm>
            <a:off x="3455477" y="5021524"/>
            <a:ext cx="696669" cy="121654"/>
            <a:chOff x="1260033" y="1778319"/>
            <a:chExt cx="696669" cy="121654"/>
          </a:xfrm>
        </p:grpSpPr>
        <p:sp>
          <p:nvSpPr>
            <p:cNvPr id="195" name="직사각형 194">
              <a:extLst>
                <a:ext uri="{FF2B5EF4-FFF2-40B4-BE49-F238E27FC236}">
                  <a16:creationId xmlns:a16="http://schemas.microsoft.com/office/drawing/2014/main" id="{32767648-71A1-4228-9305-F8B3C1A5900C}"/>
                </a:ext>
              </a:extLst>
            </p:cNvPr>
            <p:cNvSpPr/>
            <p:nvPr/>
          </p:nvSpPr>
          <p:spPr>
            <a:xfrm>
              <a:off x="1260033" y="1778319"/>
              <a:ext cx="555766" cy="12165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우선배치</a:t>
              </a:r>
            </a:p>
          </p:txBody>
        </p:sp>
        <p:sp>
          <p:nvSpPr>
            <p:cNvPr id="196" name="직사각형 195">
              <a:extLst>
                <a:ext uri="{FF2B5EF4-FFF2-40B4-BE49-F238E27FC236}">
                  <a16:creationId xmlns:a16="http://schemas.microsoft.com/office/drawing/2014/main" id="{423DA8B4-B369-4BFF-AD4C-9662F31161AA}"/>
                </a:ext>
              </a:extLst>
            </p:cNvPr>
            <p:cNvSpPr/>
            <p:nvPr/>
          </p:nvSpPr>
          <p:spPr>
            <a:xfrm>
              <a:off x="1815800" y="1778319"/>
              <a:ext cx="140902" cy="121654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97" name="그룹 196">
            <a:extLst>
              <a:ext uri="{FF2B5EF4-FFF2-40B4-BE49-F238E27FC236}">
                <a16:creationId xmlns:a16="http://schemas.microsoft.com/office/drawing/2014/main" id="{DAE18A80-6592-4B1E-A07A-C0C41FF3A7E8}"/>
              </a:ext>
            </a:extLst>
          </p:cNvPr>
          <p:cNvGrpSpPr/>
          <p:nvPr/>
        </p:nvGrpSpPr>
        <p:grpSpPr>
          <a:xfrm>
            <a:off x="3454625" y="5236568"/>
            <a:ext cx="696669" cy="121654"/>
            <a:chOff x="1260033" y="1778319"/>
            <a:chExt cx="696669" cy="121654"/>
          </a:xfrm>
        </p:grpSpPr>
        <p:sp>
          <p:nvSpPr>
            <p:cNvPr id="198" name="직사각형 197">
              <a:extLst>
                <a:ext uri="{FF2B5EF4-FFF2-40B4-BE49-F238E27FC236}">
                  <a16:creationId xmlns:a16="http://schemas.microsoft.com/office/drawing/2014/main" id="{07F34088-A775-4F32-AFC1-6292FCA13279}"/>
                </a:ext>
              </a:extLst>
            </p:cNvPr>
            <p:cNvSpPr/>
            <p:nvPr/>
          </p:nvSpPr>
          <p:spPr>
            <a:xfrm>
              <a:off x="1260033" y="1778319"/>
              <a:ext cx="555766" cy="12165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우선배치</a:t>
              </a:r>
            </a:p>
          </p:txBody>
        </p:sp>
        <p:sp>
          <p:nvSpPr>
            <p:cNvPr id="199" name="직사각형 198">
              <a:extLst>
                <a:ext uri="{FF2B5EF4-FFF2-40B4-BE49-F238E27FC236}">
                  <a16:creationId xmlns:a16="http://schemas.microsoft.com/office/drawing/2014/main" id="{C9CC131F-DBAE-4720-ABD5-C7970041CD66}"/>
                </a:ext>
              </a:extLst>
            </p:cNvPr>
            <p:cNvSpPr/>
            <p:nvPr/>
          </p:nvSpPr>
          <p:spPr>
            <a:xfrm>
              <a:off x="1815800" y="1778319"/>
              <a:ext cx="140902" cy="121654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00" name="표 26">
            <a:extLst>
              <a:ext uri="{FF2B5EF4-FFF2-40B4-BE49-F238E27FC236}">
                <a16:creationId xmlns:a16="http://schemas.microsoft.com/office/drawing/2014/main" id="{21DA396E-0A97-4DED-BEA1-6365A987D1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771547"/>
              </p:ext>
            </p:extLst>
          </p:nvPr>
        </p:nvGraphicFramePr>
        <p:xfrm>
          <a:off x="2511261" y="3617193"/>
          <a:ext cx="6477874" cy="25312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76427">
                  <a:extLst>
                    <a:ext uri="{9D8B030D-6E8A-4147-A177-3AD203B41FA5}">
                      <a16:colId xmlns:a16="http://schemas.microsoft.com/office/drawing/2014/main" val="461667154"/>
                    </a:ext>
                  </a:extLst>
                </a:gridCol>
                <a:gridCol w="517447">
                  <a:extLst>
                    <a:ext uri="{9D8B030D-6E8A-4147-A177-3AD203B41FA5}">
                      <a16:colId xmlns:a16="http://schemas.microsoft.com/office/drawing/2014/main" val="1442447338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3543748879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2247690133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4105166867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3943167023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3535916089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2244271763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2027467658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1133274421"/>
                    </a:ext>
                  </a:extLst>
                </a:gridCol>
              </a:tblGrid>
              <a:tr h="2531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합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6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endParaRPr lang="en-US" altLang="ko-KR" sz="800" b="1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동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-tube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모음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6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60551"/>
                  </a:ext>
                </a:extLst>
              </a:tr>
            </a:tbl>
          </a:graphicData>
        </a:graphic>
      </p:graphicFrame>
      <p:sp>
        <p:nvSpPr>
          <p:cNvPr id="212" name="사각형: 둥근 모서리 211">
            <a:extLst>
              <a:ext uri="{FF2B5EF4-FFF2-40B4-BE49-F238E27FC236}">
                <a16:creationId xmlns:a16="http://schemas.microsoft.com/office/drawing/2014/main" id="{1E912278-10DE-4F74-96E5-1118FF8FD10B}"/>
              </a:ext>
            </a:extLst>
          </p:cNvPr>
          <p:cNvSpPr/>
          <p:nvPr/>
        </p:nvSpPr>
        <p:spPr>
          <a:xfrm>
            <a:off x="287404" y="23649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3" name="직사각형 212">
            <a:extLst>
              <a:ext uri="{FF2B5EF4-FFF2-40B4-BE49-F238E27FC236}">
                <a16:creationId xmlns:a16="http://schemas.microsoft.com/office/drawing/2014/main" id="{FF6D70A2-79C3-4E12-AD19-E8AC369C95A1}"/>
              </a:ext>
            </a:extLst>
          </p:cNvPr>
          <p:cNvSpPr/>
          <p:nvPr/>
        </p:nvSpPr>
        <p:spPr>
          <a:xfrm>
            <a:off x="6413336" y="3325791"/>
            <a:ext cx="1296000" cy="21234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제공 서비스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*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E4497705-A804-4017-960B-3A419398523F}"/>
              </a:ext>
            </a:extLst>
          </p:cNvPr>
          <p:cNvSpPr/>
          <p:nvPr/>
        </p:nvSpPr>
        <p:spPr>
          <a:xfrm>
            <a:off x="5635226" y="2577042"/>
            <a:ext cx="3314112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8.22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49" name="그룹 148">
            <a:extLst>
              <a:ext uri="{FF2B5EF4-FFF2-40B4-BE49-F238E27FC236}">
                <a16:creationId xmlns:a16="http://schemas.microsoft.com/office/drawing/2014/main" id="{3BAC0DE7-242E-47D6-BCCE-C2BFD14D3D13}"/>
              </a:ext>
            </a:extLst>
          </p:cNvPr>
          <p:cNvGrpSpPr/>
          <p:nvPr/>
        </p:nvGrpSpPr>
        <p:grpSpPr>
          <a:xfrm>
            <a:off x="518365" y="5351006"/>
            <a:ext cx="139353" cy="139353"/>
            <a:chOff x="1996996" y="2755568"/>
            <a:chExt cx="139353" cy="139353"/>
          </a:xfrm>
        </p:grpSpPr>
        <p:sp>
          <p:nvSpPr>
            <p:cNvPr id="201" name="사각형: 둥근 모서리 200">
              <a:extLst>
                <a:ext uri="{FF2B5EF4-FFF2-40B4-BE49-F238E27FC236}">
                  <a16:creationId xmlns:a16="http://schemas.microsoft.com/office/drawing/2014/main" id="{EFBE4CEB-11A9-4F63-BA97-AEF916FAC58D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02" name="그림 201">
              <a:extLst>
                <a:ext uri="{FF2B5EF4-FFF2-40B4-BE49-F238E27FC236}">
                  <a16:creationId xmlns:a16="http://schemas.microsoft.com/office/drawing/2014/main" id="{A98FCF83-AB2F-4EB1-A6F0-EEB987D999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203" name="직사각형 202">
            <a:extLst>
              <a:ext uri="{FF2B5EF4-FFF2-40B4-BE49-F238E27FC236}">
                <a16:creationId xmlns:a16="http://schemas.microsoft.com/office/drawing/2014/main" id="{3E0CEC04-7121-4E15-AA33-15D9FA8317D5}"/>
              </a:ext>
            </a:extLst>
          </p:cNvPr>
          <p:cNvSpPr/>
          <p:nvPr/>
        </p:nvSpPr>
        <p:spPr>
          <a:xfrm>
            <a:off x="964843" y="5335593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4" name="그룹 203">
            <a:extLst>
              <a:ext uri="{FF2B5EF4-FFF2-40B4-BE49-F238E27FC236}">
                <a16:creationId xmlns:a16="http://schemas.microsoft.com/office/drawing/2014/main" id="{6F21B06E-A032-4B13-8518-9DB8BBE7C020}"/>
              </a:ext>
            </a:extLst>
          </p:cNvPr>
          <p:cNvGrpSpPr/>
          <p:nvPr/>
        </p:nvGrpSpPr>
        <p:grpSpPr>
          <a:xfrm>
            <a:off x="518365" y="5661551"/>
            <a:ext cx="139353" cy="139353"/>
            <a:chOff x="1996996" y="2755568"/>
            <a:chExt cx="139353" cy="139353"/>
          </a:xfrm>
        </p:grpSpPr>
        <p:sp>
          <p:nvSpPr>
            <p:cNvPr id="205" name="사각형: 둥근 모서리 204">
              <a:extLst>
                <a:ext uri="{FF2B5EF4-FFF2-40B4-BE49-F238E27FC236}">
                  <a16:creationId xmlns:a16="http://schemas.microsoft.com/office/drawing/2014/main" id="{7B806A62-9CC8-41C1-9D41-6435150C2B40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07" name="그림 206">
              <a:extLst>
                <a:ext uri="{FF2B5EF4-FFF2-40B4-BE49-F238E27FC236}">
                  <a16:creationId xmlns:a16="http://schemas.microsoft.com/office/drawing/2014/main" id="{E0C945FB-3516-4391-9B00-5618ED5B52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208" name="직사각형 207">
            <a:extLst>
              <a:ext uri="{FF2B5EF4-FFF2-40B4-BE49-F238E27FC236}">
                <a16:creationId xmlns:a16="http://schemas.microsoft.com/office/drawing/2014/main" id="{FB2C6999-50DC-4ADE-AB76-080864D67D81}"/>
              </a:ext>
            </a:extLst>
          </p:cNvPr>
          <p:cNvSpPr/>
          <p:nvPr/>
        </p:nvSpPr>
        <p:spPr>
          <a:xfrm>
            <a:off x="964843" y="5646138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9" name="직사각형 208">
            <a:extLst>
              <a:ext uri="{FF2B5EF4-FFF2-40B4-BE49-F238E27FC236}">
                <a16:creationId xmlns:a16="http://schemas.microsoft.com/office/drawing/2014/main" id="{AB6180B2-E05F-4171-8D85-92156081546E}"/>
              </a:ext>
            </a:extLst>
          </p:cNvPr>
          <p:cNvSpPr/>
          <p:nvPr/>
        </p:nvSpPr>
        <p:spPr>
          <a:xfrm>
            <a:off x="8973779" y="1"/>
            <a:ext cx="3218221" cy="8786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+mn-ea"/>
                <a:cs typeface="Arial"/>
              </a:rPr>
              <a:t>〮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수정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ESG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〮평가〮인증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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〮인증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〮 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〮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인증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삼일제공서비스 삭제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23.08.29)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6944C905-BA8F-4722-BF61-6CBA67B07B14}"/>
              </a:ext>
            </a:extLst>
          </p:cNvPr>
          <p:cNvSpPr/>
          <p:nvPr/>
        </p:nvSpPr>
        <p:spPr>
          <a:xfrm>
            <a:off x="6408790" y="3292794"/>
            <a:ext cx="1306853" cy="244154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785E29B-829A-4CFA-BA8E-0AEB4124F06C}"/>
              </a:ext>
            </a:extLst>
          </p:cNvPr>
          <p:cNvSpPr/>
          <p:nvPr/>
        </p:nvSpPr>
        <p:spPr>
          <a:xfrm>
            <a:off x="6301046" y="3209160"/>
            <a:ext cx="2027142" cy="2638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인증 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제공서비스 삭제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8.29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A272CC63-6F57-46E4-8C1F-6803A7473521}"/>
              </a:ext>
            </a:extLst>
          </p:cNvPr>
          <p:cNvSpPr/>
          <p:nvPr/>
        </p:nvSpPr>
        <p:spPr>
          <a:xfrm>
            <a:off x="1392111" y="2729160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0" name="직사각형 209">
            <a:extLst>
              <a:ext uri="{FF2B5EF4-FFF2-40B4-BE49-F238E27FC236}">
                <a16:creationId xmlns:a16="http://schemas.microsoft.com/office/drawing/2014/main" id="{922873B8-4A61-4035-B1D7-14E22356F0E5}"/>
              </a:ext>
            </a:extLst>
          </p:cNvPr>
          <p:cNvSpPr/>
          <p:nvPr/>
        </p:nvSpPr>
        <p:spPr>
          <a:xfrm>
            <a:off x="1379407" y="3054360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1" name="직사각형 210">
            <a:extLst>
              <a:ext uri="{FF2B5EF4-FFF2-40B4-BE49-F238E27FC236}">
                <a16:creationId xmlns:a16="http://schemas.microsoft.com/office/drawing/2014/main" id="{692D3F30-8583-495E-A8C7-0CED62E88D45}"/>
              </a:ext>
            </a:extLst>
          </p:cNvPr>
          <p:cNvSpPr/>
          <p:nvPr/>
        </p:nvSpPr>
        <p:spPr>
          <a:xfrm>
            <a:off x="1379407" y="3379560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4" name="직사각형 213">
            <a:extLst>
              <a:ext uri="{FF2B5EF4-FFF2-40B4-BE49-F238E27FC236}">
                <a16:creationId xmlns:a16="http://schemas.microsoft.com/office/drawing/2014/main" id="{911D1E03-6310-4756-8B5F-92ACC34A33BC}"/>
              </a:ext>
            </a:extLst>
          </p:cNvPr>
          <p:cNvSpPr/>
          <p:nvPr/>
        </p:nvSpPr>
        <p:spPr>
          <a:xfrm>
            <a:off x="1379407" y="368453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5" name="직사각형 214">
            <a:extLst>
              <a:ext uri="{FF2B5EF4-FFF2-40B4-BE49-F238E27FC236}">
                <a16:creationId xmlns:a16="http://schemas.microsoft.com/office/drawing/2014/main" id="{73BF8E43-1992-404D-A1DE-06DD872A8770}"/>
              </a:ext>
            </a:extLst>
          </p:cNvPr>
          <p:cNvSpPr/>
          <p:nvPr/>
        </p:nvSpPr>
        <p:spPr>
          <a:xfrm>
            <a:off x="1379407" y="400973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6" name="직사각형 215">
            <a:extLst>
              <a:ext uri="{FF2B5EF4-FFF2-40B4-BE49-F238E27FC236}">
                <a16:creationId xmlns:a16="http://schemas.microsoft.com/office/drawing/2014/main" id="{3BE918E6-09D1-4D40-B802-541733DCCFA9}"/>
              </a:ext>
            </a:extLst>
          </p:cNvPr>
          <p:cNvSpPr/>
          <p:nvPr/>
        </p:nvSpPr>
        <p:spPr>
          <a:xfrm>
            <a:off x="1379407" y="4355576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3ABDC8DE-6250-47E0-B43B-6E869B79ABC7}"/>
              </a:ext>
            </a:extLst>
          </p:cNvPr>
          <p:cNvSpPr/>
          <p:nvPr/>
        </p:nvSpPr>
        <p:spPr>
          <a:xfrm>
            <a:off x="1389916" y="4680776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8" name="직사각형 217">
            <a:extLst>
              <a:ext uri="{FF2B5EF4-FFF2-40B4-BE49-F238E27FC236}">
                <a16:creationId xmlns:a16="http://schemas.microsoft.com/office/drawing/2014/main" id="{F591A4A0-A1A5-42F9-9FA4-450C01408841}"/>
              </a:ext>
            </a:extLst>
          </p:cNvPr>
          <p:cNvSpPr/>
          <p:nvPr/>
        </p:nvSpPr>
        <p:spPr>
          <a:xfrm>
            <a:off x="1379407" y="4993827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285225B3-B349-4DD0-A3A9-1D10E2A2B2C7}"/>
              </a:ext>
            </a:extLst>
          </p:cNvPr>
          <p:cNvSpPr/>
          <p:nvPr/>
        </p:nvSpPr>
        <p:spPr>
          <a:xfrm>
            <a:off x="1379407" y="5308242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0" name="직사각형 219">
            <a:extLst>
              <a:ext uri="{FF2B5EF4-FFF2-40B4-BE49-F238E27FC236}">
                <a16:creationId xmlns:a16="http://schemas.microsoft.com/office/drawing/2014/main" id="{DF11D900-BE0E-4F36-9C1A-27611708E189}"/>
              </a:ext>
            </a:extLst>
          </p:cNvPr>
          <p:cNvSpPr/>
          <p:nvPr/>
        </p:nvSpPr>
        <p:spPr>
          <a:xfrm>
            <a:off x="1379407" y="5656256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1" name="직사각형 220">
            <a:extLst>
              <a:ext uri="{FF2B5EF4-FFF2-40B4-BE49-F238E27FC236}">
                <a16:creationId xmlns:a16="http://schemas.microsoft.com/office/drawing/2014/main" id="{4C2B1265-3E89-440E-B47D-2AB28F8E6A66}"/>
              </a:ext>
            </a:extLst>
          </p:cNvPr>
          <p:cNvSpPr/>
          <p:nvPr/>
        </p:nvSpPr>
        <p:spPr>
          <a:xfrm>
            <a:off x="2584895" y="2584507"/>
            <a:ext cx="2908287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2" name="직사각형 221">
            <a:extLst>
              <a:ext uri="{FF2B5EF4-FFF2-40B4-BE49-F238E27FC236}">
                <a16:creationId xmlns:a16="http://schemas.microsoft.com/office/drawing/2014/main" id="{57BAFA7F-B70E-4C3F-81BA-556EE1BA94E1}"/>
              </a:ext>
            </a:extLst>
          </p:cNvPr>
          <p:cNvSpPr/>
          <p:nvPr/>
        </p:nvSpPr>
        <p:spPr>
          <a:xfrm>
            <a:off x="1615834" y="2132738"/>
            <a:ext cx="770827" cy="16173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203532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5598728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2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천 컨텐츠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9008857"/>
              </p:ext>
            </p:extLst>
          </p:nvPr>
        </p:nvGraphicFramePr>
        <p:xfrm>
          <a:off x="9275643" y="759175"/>
          <a:ext cx="2916357" cy="54299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805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830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98766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천 컨텐츠 탭 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천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b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61595"/>
                  </a:ext>
                </a:extLst>
              </a:tr>
              <a:tr h="209136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토픽으로 매핑 된 컨텐츠 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598244"/>
                  </a:ext>
                </a:extLst>
              </a:tr>
              <a:tr h="4066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 필터 기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인사이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동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-tube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료모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781801"/>
                  </a:ext>
                </a:extLst>
              </a:tr>
              <a:tr h="267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하단 리스트 엑셀 다운로드 기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8548398"/>
                  </a:ext>
                </a:extLst>
              </a:tr>
              <a:tr h="267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검색 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ID:M027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6756334"/>
                  </a:ext>
                </a:extLst>
              </a:tr>
              <a:tr h="4066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체크 후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컨텐츠 삭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컨텐츠 등록정보에도 토픽 체크 해제됨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1920553"/>
                  </a:ext>
                </a:extLst>
              </a:tr>
              <a:tr h="267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장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 내 변경 사항 저장 완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7048354"/>
                  </a:ext>
                </a:extLst>
              </a:tr>
              <a:tr h="4066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 체크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체크 해제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화면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내에서만 전시되지 않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1002505"/>
                  </a:ext>
                </a:extLst>
              </a:tr>
              <a:tr h="4066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신순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최신 순으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렬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우선 배치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[25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순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역 활성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558478"/>
                  </a:ext>
                </a:extLst>
              </a:tr>
              <a:tr h="61215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24.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정렬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을 최우선배치로 변경한 경우 활성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동일 숫자 입력한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수정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&gt;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 순으로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입력한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경우 가장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순서로 배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06279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화면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시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큐레이션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요 화면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56" name="표 12">
            <a:extLst>
              <a:ext uri="{FF2B5EF4-FFF2-40B4-BE49-F238E27FC236}">
                <a16:creationId xmlns:a16="http://schemas.microsoft.com/office/drawing/2014/main" id="{5F95975E-7DF1-439B-BB88-4163D7B44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897116"/>
              </p:ext>
            </p:extLst>
          </p:nvPr>
        </p:nvGraphicFramePr>
        <p:xfrm>
          <a:off x="2504734" y="1536304"/>
          <a:ext cx="6472017" cy="51367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962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205261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713785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269800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78629">
                <a:tc gridSpan="4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정보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737220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구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4515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번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1002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 대상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8766979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488357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39761"/>
                  </a:ext>
                </a:extLst>
              </a:tr>
              <a:tr h="3134566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201170"/>
                  </a:ext>
                </a:extLst>
              </a:tr>
            </a:tbl>
          </a:graphicData>
        </a:graphic>
      </p:graphicFrame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E3AF41FD-25CD-4F57-9D65-401770E22C4E}"/>
              </a:ext>
            </a:extLst>
          </p:cNvPr>
          <p:cNvSpPr/>
          <p:nvPr/>
        </p:nvSpPr>
        <p:spPr>
          <a:xfrm>
            <a:off x="3431617" y="2139643"/>
            <a:ext cx="1768472" cy="3198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grpSp>
        <p:nvGrpSpPr>
          <p:cNvPr id="158" name="그룹 157">
            <a:extLst>
              <a:ext uri="{FF2B5EF4-FFF2-40B4-BE49-F238E27FC236}">
                <a16:creationId xmlns:a16="http://schemas.microsoft.com/office/drawing/2014/main" id="{3BF52A46-312E-462A-9503-ED25081A613B}"/>
              </a:ext>
            </a:extLst>
          </p:cNvPr>
          <p:cNvGrpSpPr/>
          <p:nvPr/>
        </p:nvGrpSpPr>
        <p:grpSpPr>
          <a:xfrm>
            <a:off x="3372381" y="2834648"/>
            <a:ext cx="3711546" cy="175761"/>
            <a:chOff x="4535523" y="2896789"/>
            <a:chExt cx="3711546" cy="175761"/>
          </a:xfrm>
        </p:grpSpPr>
        <p:grpSp>
          <p:nvGrpSpPr>
            <p:cNvPr id="159" name="그룹 158">
              <a:extLst>
                <a:ext uri="{FF2B5EF4-FFF2-40B4-BE49-F238E27FC236}">
                  <a16:creationId xmlns:a16="http://schemas.microsoft.com/office/drawing/2014/main" id="{26FB6490-60F9-4BA7-B4BB-29083F12B9FF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2" name="그룹 171">
                <a:extLst>
                  <a:ext uri="{FF2B5EF4-FFF2-40B4-BE49-F238E27FC236}">
                    <a16:creationId xmlns:a16="http://schemas.microsoft.com/office/drawing/2014/main" id="{0C932875-16D8-40CB-8244-420BC5CE42B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78" name="직사각형 177">
                  <a:extLst>
                    <a:ext uri="{FF2B5EF4-FFF2-40B4-BE49-F238E27FC236}">
                      <a16:creationId xmlns:a16="http://schemas.microsoft.com/office/drawing/2014/main" id="{5084D078-F3C6-409A-A203-3EBFB76A00E4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9" name="직사각형 178">
                  <a:extLst>
                    <a:ext uri="{FF2B5EF4-FFF2-40B4-BE49-F238E27FC236}">
                      <a16:creationId xmlns:a16="http://schemas.microsoft.com/office/drawing/2014/main" id="{8C0D6BCB-D5F9-4579-BFD4-C1E0F8E3088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80" name="그림 179">
                  <a:extLst>
                    <a:ext uri="{FF2B5EF4-FFF2-40B4-BE49-F238E27FC236}">
                      <a16:creationId xmlns:a16="http://schemas.microsoft.com/office/drawing/2014/main" id="{4CA43B7D-2CB7-4D7B-A729-116BB1AED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3" name="직사각형 172">
                <a:extLst>
                  <a:ext uri="{FF2B5EF4-FFF2-40B4-BE49-F238E27FC236}">
                    <a16:creationId xmlns:a16="http://schemas.microsoft.com/office/drawing/2014/main" id="{8E013F32-7D67-4CBD-9321-185E00C6FAE2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4" name="직사각형 173">
                <a:extLst>
                  <a:ext uri="{FF2B5EF4-FFF2-40B4-BE49-F238E27FC236}">
                    <a16:creationId xmlns:a16="http://schemas.microsoft.com/office/drawing/2014/main" id="{0BD01E49-1337-49BB-B1FB-35919E18FBB1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5" name="직사각형 174">
                <a:extLst>
                  <a:ext uri="{FF2B5EF4-FFF2-40B4-BE49-F238E27FC236}">
                    <a16:creationId xmlns:a16="http://schemas.microsoft.com/office/drawing/2014/main" id="{9E75524E-2E8B-45EA-9440-78878249B42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BE807613-252A-4267-BE59-A56AC71C4CA2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7" name="직사각형 176">
                <a:extLst>
                  <a:ext uri="{FF2B5EF4-FFF2-40B4-BE49-F238E27FC236}">
                    <a16:creationId xmlns:a16="http://schemas.microsoft.com/office/drawing/2014/main" id="{D42CCB93-8122-42E9-A320-A0BFF14992F1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60" name="그룹 159">
              <a:extLst>
                <a:ext uri="{FF2B5EF4-FFF2-40B4-BE49-F238E27FC236}">
                  <a16:creationId xmlns:a16="http://schemas.microsoft.com/office/drawing/2014/main" id="{F045369D-BFE3-4B72-B6A9-40239ECFF60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64" name="그룹 163">
                <a:extLst>
                  <a:ext uri="{FF2B5EF4-FFF2-40B4-BE49-F238E27FC236}">
                    <a16:creationId xmlns:a16="http://schemas.microsoft.com/office/drawing/2014/main" id="{5F3D3D97-8DD5-4E51-AE1A-F5809F22B4A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69" name="직사각형 168">
                  <a:extLst>
                    <a:ext uri="{FF2B5EF4-FFF2-40B4-BE49-F238E27FC236}">
                      <a16:creationId xmlns:a16="http://schemas.microsoft.com/office/drawing/2014/main" id="{1C01D335-E17B-4BBA-81EB-B59340A6884A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0" name="직사각형 169">
                  <a:extLst>
                    <a:ext uri="{FF2B5EF4-FFF2-40B4-BE49-F238E27FC236}">
                      <a16:creationId xmlns:a16="http://schemas.microsoft.com/office/drawing/2014/main" id="{3A1EF9C6-5A69-4D25-BB1B-9EA52DAEFE4F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pic>
              <p:nvPicPr>
                <p:cNvPr id="171" name="그림 170">
                  <a:extLst>
                    <a:ext uri="{FF2B5EF4-FFF2-40B4-BE49-F238E27FC236}">
                      <a16:creationId xmlns:a16="http://schemas.microsoft.com/office/drawing/2014/main" id="{34D22EBD-32AD-4E0C-AEA5-1CF5A1D5ED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FA7F6FAD-529F-4BEF-A815-E6DA259F82C4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1F11FCC0-BDF7-4E9B-B1D3-4559D2B27CB2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7F9FCE39-5403-49F5-A2E3-CEB32C9323D8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AAF6A227-884A-41E8-A05C-DC6A2F4416D8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6D5424BC-CEBD-4A0B-A88E-1A9F3FDE0E72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FDE15947-BAAA-4A39-B39F-43A8129B6400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63" name="그림 162">
              <a:extLst>
                <a:ext uri="{FF2B5EF4-FFF2-40B4-BE49-F238E27FC236}">
                  <a16:creationId xmlns:a16="http://schemas.microsoft.com/office/drawing/2014/main" id="{52B99A8E-CAA2-4643-A6A5-D34C71ABF8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sp>
        <p:nvSpPr>
          <p:cNvPr id="189" name="사각형: 둥근 모서리 188">
            <a:extLst>
              <a:ext uri="{FF2B5EF4-FFF2-40B4-BE49-F238E27FC236}">
                <a16:creationId xmlns:a16="http://schemas.microsoft.com/office/drawing/2014/main" id="{0A76E21B-65A9-4ED6-BD24-5C88ABF8BBA4}"/>
              </a:ext>
            </a:extLst>
          </p:cNvPr>
          <p:cNvSpPr/>
          <p:nvPr/>
        </p:nvSpPr>
        <p:spPr>
          <a:xfrm>
            <a:off x="8279693" y="1589229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91" name="사각형: 둥근 모서리 190">
            <a:extLst>
              <a:ext uri="{FF2B5EF4-FFF2-40B4-BE49-F238E27FC236}">
                <a16:creationId xmlns:a16="http://schemas.microsoft.com/office/drawing/2014/main" id="{5F00F150-2555-4009-B889-4DF9E926D537}"/>
              </a:ext>
            </a:extLst>
          </p:cNvPr>
          <p:cNvSpPr/>
          <p:nvPr/>
        </p:nvSpPr>
        <p:spPr>
          <a:xfrm>
            <a:off x="7568383" y="159091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리보기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6BFDB6B6-BFDE-4F62-80AD-9C794B6B7819}"/>
              </a:ext>
            </a:extLst>
          </p:cNvPr>
          <p:cNvGrpSpPr/>
          <p:nvPr/>
        </p:nvGrpSpPr>
        <p:grpSpPr>
          <a:xfrm>
            <a:off x="2509937" y="3298482"/>
            <a:ext cx="3898853" cy="239652"/>
            <a:chOff x="3863750" y="3213822"/>
            <a:chExt cx="3898853" cy="239652"/>
          </a:xfrm>
        </p:grpSpPr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B47A7E64-D89C-458A-9241-4FE4A7D57DEA}"/>
                </a:ext>
              </a:extLst>
            </p:cNvPr>
            <p:cNvSpPr/>
            <p:nvPr/>
          </p:nvSpPr>
          <p:spPr>
            <a:xfrm>
              <a:off x="5159750" y="3247526"/>
              <a:ext cx="1302307" cy="2044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latinLnBrk="1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핵심 개념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5" name="직사각형 184">
              <a:extLst>
                <a:ext uri="{FF2B5EF4-FFF2-40B4-BE49-F238E27FC236}">
                  <a16:creationId xmlns:a16="http://schemas.microsoft.com/office/drawing/2014/main" id="{39228AB4-5956-4E22-B231-795E8B9ECFDB}"/>
                </a:ext>
              </a:extLst>
            </p:cNvPr>
            <p:cNvSpPr/>
            <p:nvPr/>
          </p:nvSpPr>
          <p:spPr>
            <a:xfrm>
              <a:off x="6466603" y="3249031"/>
              <a:ext cx="1296000" cy="2044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제공 서비스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8" name="직사각형 187">
              <a:extLst>
                <a:ext uri="{FF2B5EF4-FFF2-40B4-BE49-F238E27FC236}">
                  <a16:creationId xmlns:a16="http://schemas.microsoft.com/office/drawing/2014/main" id="{76873261-A12B-4D25-A3EF-6B7009749677}"/>
                </a:ext>
              </a:extLst>
            </p:cNvPr>
            <p:cNvSpPr/>
            <p:nvPr/>
          </p:nvSpPr>
          <p:spPr>
            <a:xfrm>
              <a:off x="3863750" y="3213822"/>
              <a:ext cx="1296000" cy="238466"/>
            </a:xfrm>
            <a:prstGeom prst="rect">
              <a:avLst/>
            </a:prstGeom>
            <a:solidFill>
              <a:srgbClr val="404040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latinLnBrk="1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추천 컨텐츠</a:t>
              </a:r>
            </a:p>
          </p:txBody>
        </p:sp>
      </p:grpSp>
      <p:graphicFrame>
        <p:nvGraphicFramePr>
          <p:cNvPr id="110" name="표 66">
            <a:extLst>
              <a:ext uri="{FF2B5EF4-FFF2-40B4-BE49-F238E27FC236}">
                <a16:creationId xmlns:a16="http://schemas.microsoft.com/office/drawing/2014/main" id="{CF53C99E-011B-4788-A796-8AD243CC37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7604232"/>
              </p:ext>
            </p:extLst>
          </p:nvPr>
        </p:nvGraphicFramePr>
        <p:xfrm>
          <a:off x="2511261" y="3977894"/>
          <a:ext cx="6458961" cy="143250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5859">
                  <a:extLst>
                    <a:ext uri="{9D8B030D-6E8A-4147-A177-3AD203B41FA5}">
                      <a16:colId xmlns:a16="http://schemas.microsoft.com/office/drawing/2014/main" val="3829246906"/>
                    </a:ext>
                  </a:extLst>
                </a:gridCol>
                <a:gridCol w="525440">
                  <a:extLst>
                    <a:ext uri="{9D8B030D-6E8A-4147-A177-3AD203B41FA5}">
                      <a16:colId xmlns:a16="http://schemas.microsoft.com/office/drawing/2014/main" val="2001156244"/>
                    </a:ext>
                  </a:extLst>
                </a:gridCol>
                <a:gridCol w="834710">
                  <a:extLst>
                    <a:ext uri="{9D8B030D-6E8A-4147-A177-3AD203B41FA5}">
                      <a16:colId xmlns:a16="http://schemas.microsoft.com/office/drawing/2014/main" val="3720779250"/>
                    </a:ext>
                  </a:extLst>
                </a:gridCol>
                <a:gridCol w="531179">
                  <a:extLst>
                    <a:ext uri="{9D8B030D-6E8A-4147-A177-3AD203B41FA5}">
                      <a16:colId xmlns:a16="http://schemas.microsoft.com/office/drawing/2014/main" val="2017557378"/>
                    </a:ext>
                  </a:extLst>
                </a:gridCol>
                <a:gridCol w="772785">
                  <a:extLst>
                    <a:ext uri="{9D8B030D-6E8A-4147-A177-3AD203B41FA5}">
                      <a16:colId xmlns:a16="http://schemas.microsoft.com/office/drawing/2014/main" val="3243612300"/>
                    </a:ext>
                  </a:extLst>
                </a:gridCol>
                <a:gridCol w="748119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1664723">
                  <a:extLst>
                    <a:ext uri="{9D8B030D-6E8A-4147-A177-3AD203B41FA5}">
                      <a16:colId xmlns:a16="http://schemas.microsoft.com/office/drawing/2014/main" val="3831500551"/>
                    </a:ext>
                  </a:extLst>
                </a:gridCol>
                <a:gridCol w="552131">
                  <a:extLst>
                    <a:ext uri="{9D8B030D-6E8A-4147-A177-3AD203B41FA5}">
                      <a16:colId xmlns:a16="http://schemas.microsoft.com/office/drawing/2014/main" val="1602765021"/>
                    </a:ext>
                  </a:extLst>
                </a:gridCol>
                <a:gridCol w="454015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</a:tblGrid>
              <a:tr h="360000">
                <a:tc gridSpan="9"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740681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여부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정렬방식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순서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종류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번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언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A00012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 1: Foundation 2021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IP00005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성보고지침 주요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DOA00102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위기 대응을 위한 탄소중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214501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0" u="sng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MOA00120</a:t>
                      </a:r>
                      <a:endParaRPr lang="ko-KR" altLang="en-US" sz="800" b="0" u="sng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경영보고서 작성 지침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.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grpSp>
        <p:nvGrpSpPr>
          <p:cNvPr id="111" name="그룹 110">
            <a:extLst>
              <a:ext uri="{FF2B5EF4-FFF2-40B4-BE49-F238E27FC236}">
                <a16:creationId xmlns:a16="http://schemas.microsoft.com/office/drawing/2014/main" id="{9CDC5EC1-02F7-40F2-ADA3-11DC021D9217}"/>
              </a:ext>
            </a:extLst>
          </p:cNvPr>
          <p:cNvGrpSpPr/>
          <p:nvPr/>
        </p:nvGrpSpPr>
        <p:grpSpPr>
          <a:xfrm>
            <a:off x="2557144" y="4074781"/>
            <a:ext cx="696669" cy="172800"/>
            <a:chOff x="1260033" y="1778319"/>
            <a:chExt cx="696669" cy="172800"/>
          </a:xfrm>
        </p:grpSpPr>
        <p:sp>
          <p:nvSpPr>
            <p:cNvPr id="112" name="직사각형 111">
              <a:extLst>
                <a:ext uri="{FF2B5EF4-FFF2-40B4-BE49-F238E27FC236}">
                  <a16:creationId xmlns:a16="http://schemas.microsoft.com/office/drawing/2014/main" id="{21DA69BE-EB47-4456-B112-E85660D384A1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전체</a:t>
              </a:r>
            </a:p>
          </p:txBody>
        </p:sp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F294896A-9950-4D77-85C2-B2E8B3DA535F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7C789B94-5AB9-4846-B5D6-4E060116EF52}"/>
              </a:ext>
            </a:extLst>
          </p:cNvPr>
          <p:cNvSpPr/>
          <p:nvPr/>
        </p:nvSpPr>
        <p:spPr>
          <a:xfrm>
            <a:off x="8279693" y="4074781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A3C7B8CA-E779-459E-8738-1D493DE0259C}"/>
              </a:ext>
            </a:extLst>
          </p:cNvPr>
          <p:cNvSpPr/>
          <p:nvPr/>
        </p:nvSpPr>
        <p:spPr>
          <a:xfrm>
            <a:off x="7579079" y="4071094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8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삭제</a:t>
            </a:r>
          </a:p>
        </p:txBody>
      </p:sp>
      <p:sp>
        <p:nvSpPr>
          <p:cNvPr id="116" name="사각형: 둥근 모서리 115">
            <a:extLst>
              <a:ext uri="{FF2B5EF4-FFF2-40B4-BE49-F238E27FC236}">
                <a16:creationId xmlns:a16="http://schemas.microsoft.com/office/drawing/2014/main" id="{FA766046-D029-4AB8-A753-4BD816CB71B4}"/>
              </a:ext>
            </a:extLst>
          </p:cNvPr>
          <p:cNvSpPr/>
          <p:nvPr/>
        </p:nvSpPr>
        <p:spPr>
          <a:xfrm>
            <a:off x="6881209" y="4071094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800" b="1" spc="-5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컨텐츠 추가</a:t>
            </a:r>
          </a:p>
        </p:txBody>
      </p:sp>
      <p:graphicFrame>
        <p:nvGraphicFramePr>
          <p:cNvPr id="118" name="표 66">
            <a:extLst>
              <a:ext uri="{FF2B5EF4-FFF2-40B4-BE49-F238E27FC236}">
                <a16:creationId xmlns:a16="http://schemas.microsoft.com/office/drawing/2014/main" id="{948E2498-0946-4F71-B820-92741B4022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925408"/>
              </p:ext>
            </p:extLst>
          </p:nvPr>
        </p:nvGraphicFramePr>
        <p:xfrm>
          <a:off x="4034928" y="5554913"/>
          <a:ext cx="4941824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6770">
                  <a:extLst>
                    <a:ext uri="{9D8B030D-6E8A-4147-A177-3AD203B41FA5}">
                      <a16:colId xmlns:a16="http://schemas.microsoft.com/office/drawing/2014/main" val="598295700"/>
                    </a:ext>
                  </a:extLst>
                </a:gridCol>
                <a:gridCol w="604654">
                  <a:extLst>
                    <a:ext uri="{9D8B030D-6E8A-4147-A177-3AD203B41FA5}">
                      <a16:colId xmlns:a16="http://schemas.microsoft.com/office/drawing/2014/main" val="3569582593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576643190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551749431"/>
                    </a:ext>
                  </a:extLst>
                </a:gridCol>
                <a:gridCol w="784552">
                  <a:extLst>
                    <a:ext uri="{9D8B030D-6E8A-4147-A177-3AD203B41FA5}">
                      <a16:colId xmlns:a16="http://schemas.microsoft.com/office/drawing/2014/main" val="3980714550"/>
                    </a:ext>
                  </a:extLst>
                </a:gridCol>
                <a:gridCol w="367576">
                  <a:extLst>
                    <a:ext uri="{9D8B030D-6E8A-4147-A177-3AD203B41FA5}">
                      <a16:colId xmlns:a16="http://schemas.microsoft.com/office/drawing/2014/main" val="3630009978"/>
                    </a:ext>
                  </a:extLst>
                </a:gridCol>
                <a:gridCol w="692664">
                  <a:extLst>
                    <a:ext uri="{9D8B030D-6E8A-4147-A177-3AD203B41FA5}">
                      <a16:colId xmlns:a16="http://schemas.microsoft.com/office/drawing/2014/main" val="2993871931"/>
                    </a:ext>
                  </a:extLst>
                </a:gridCol>
                <a:gridCol w="675488">
                  <a:extLst>
                    <a:ext uri="{9D8B030D-6E8A-4147-A177-3AD203B41FA5}">
                      <a16:colId xmlns:a16="http://schemas.microsoft.com/office/drawing/2014/main" val="164872419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세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형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표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-pub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136518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PDF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11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략계획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spc="-7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웃링크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반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800" b="0" kern="1200" spc="-7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업로드</a:t>
                      </a:r>
                      <a:endParaRPr lang="ko-KR" altLang="en-US" sz="800" b="0" kern="1200" spc="-7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P4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09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23-11-2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570356"/>
                  </a:ext>
                </a:extLst>
              </a:tr>
            </a:tbl>
          </a:graphicData>
        </a:graphic>
      </p:graphicFrame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022083B0-C66B-47F0-ABA8-B3CF5121C929}"/>
              </a:ext>
            </a:extLst>
          </p:cNvPr>
          <p:cNvSpPr/>
          <p:nvPr/>
        </p:nvSpPr>
        <p:spPr>
          <a:xfrm>
            <a:off x="2645186" y="4613877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70ECC737-B4A6-4985-8C12-322398F018B5}"/>
              </a:ext>
            </a:extLst>
          </p:cNvPr>
          <p:cNvSpPr/>
          <p:nvPr/>
        </p:nvSpPr>
        <p:spPr>
          <a:xfrm>
            <a:off x="2645186" y="5034164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F069B73D-FB83-4DEF-839F-806D0310B68B}"/>
              </a:ext>
            </a:extLst>
          </p:cNvPr>
          <p:cNvSpPr/>
          <p:nvPr/>
        </p:nvSpPr>
        <p:spPr>
          <a:xfrm>
            <a:off x="2645186" y="4828472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4" name="사각형: 둥근 모서리 143">
            <a:extLst>
              <a:ext uri="{FF2B5EF4-FFF2-40B4-BE49-F238E27FC236}">
                <a16:creationId xmlns:a16="http://schemas.microsoft.com/office/drawing/2014/main" id="{A71FC0FC-4EDB-4B9E-BAF6-74A6789A8D0B}"/>
              </a:ext>
            </a:extLst>
          </p:cNvPr>
          <p:cNvSpPr/>
          <p:nvPr/>
        </p:nvSpPr>
        <p:spPr>
          <a:xfrm>
            <a:off x="2647942" y="5254045"/>
            <a:ext cx="72000" cy="7200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45" name="사각형: 둥근 모서리 144">
            <a:extLst>
              <a:ext uri="{FF2B5EF4-FFF2-40B4-BE49-F238E27FC236}">
                <a16:creationId xmlns:a16="http://schemas.microsoft.com/office/drawing/2014/main" id="{0496E8B2-BDCC-4884-88EC-D3E182E40093}"/>
              </a:ext>
            </a:extLst>
          </p:cNvPr>
          <p:cNvSpPr/>
          <p:nvPr/>
        </p:nvSpPr>
        <p:spPr>
          <a:xfrm>
            <a:off x="3066241" y="4592404"/>
            <a:ext cx="115772" cy="1157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46" name="그림 145">
            <a:extLst>
              <a:ext uri="{FF2B5EF4-FFF2-40B4-BE49-F238E27FC236}">
                <a16:creationId xmlns:a16="http://schemas.microsoft.com/office/drawing/2014/main" id="{5E4EDEAD-781A-41A6-A2BE-920D1A470C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83172" y="4612058"/>
            <a:ext cx="81910" cy="81910"/>
          </a:xfrm>
          <a:prstGeom prst="rect">
            <a:avLst/>
          </a:prstGeom>
        </p:spPr>
      </p:pic>
      <p:sp>
        <p:nvSpPr>
          <p:cNvPr id="150" name="사각형: 둥근 모서리 149">
            <a:extLst>
              <a:ext uri="{FF2B5EF4-FFF2-40B4-BE49-F238E27FC236}">
                <a16:creationId xmlns:a16="http://schemas.microsoft.com/office/drawing/2014/main" id="{ABCA6C47-3902-4C4C-9B33-29CB9C9B80C3}"/>
              </a:ext>
            </a:extLst>
          </p:cNvPr>
          <p:cNvSpPr/>
          <p:nvPr/>
        </p:nvSpPr>
        <p:spPr>
          <a:xfrm>
            <a:off x="3066527" y="4808862"/>
            <a:ext cx="115200" cy="1152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51" name="그림 150">
            <a:extLst>
              <a:ext uri="{FF2B5EF4-FFF2-40B4-BE49-F238E27FC236}">
                <a16:creationId xmlns:a16="http://schemas.microsoft.com/office/drawing/2014/main" id="{285CBC9A-413D-4699-A611-4C6C4144C3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83743" y="4820693"/>
            <a:ext cx="80768" cy="80768"/>
          </a:xfrm>
          <a:prstGeom prst="rect">
            <a:avLst/>
          </a:prstGeom>
        </p:spPr>
      </p:pic>
      <p:grpSp>
        <p:nvGrpSpPr>
          <p:cNvPr id="152" name="그룹 151">
            <a:extLst>
              <a:ext uri="{FF2B5EF4-FFF2-40B4-BE49-F238E27FC236}">
                <a16:creationId xmlns:a16="http://schemas.microsoft.com/office/drawing/2014/main" id="{9721C90D-9721-4530-B74C-228266CF8D2B}"/>
              </a:ext>
            </a:extLst>
          </p:cNvPr>
          <p:cNvGrpSpPr/>
          <p:nvPr/>
        </p:nvGrpSpPr>
        <p:grpSpPr>
          <a:xfrm>
            <a:off x="3066527" y="5015626"/>
            <a:ext cx="115200" cy="115200"/>
            <a:chOff x="3438262" y="4506798"/>
            <a:chExt cx="115200" cy="115200"/>
          </a:xfrm>
        </p:grpSpPr>
        <p:sp>
          <p:nvSpPr>
            <p:cNvPr id="153" name="사각형: 둥근 모서리 152">
              <a:extLst>
                <a:ext uri="{FF2B5EF4-FFF2-40B4-BE49-F238E27FC236}">
                  <a16:creationId xmlns:a16="http://schemas.microsoft.com/office/drawing/2014/main" id="{5883864A-AAE6-4E7E-B0AE-C6C76D57D42A}"/>
                </a:ext>
              </a:extLst>
            </p:cNvPr>
            <p:cNvSpPr/>
            <p:nvPr/>
          </p:nvSpPr>
          <p:spPr>
            <a:xfrm>
              <a:off x="3438262" y="4506798"/>
              <a:ext cx="115200" cy="1152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81" name="그림 180">
              <a:extLst>
                <a:ext uri="{FF2B5EF4-FFF2-40B4-BE49-F238E27FC236}">
                  <a16:creationId xmlns:a16="http://schemas.microsoft.com/office/drawing/2014/main" id="{B233A957-608D-48B4-9B24-A936F21A7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56868" y="4526239"/>
              <a:ext cx="77989" cy="77989"/>
            </a:xfrm>
            <a:prstGeom prst="rect">
              <a:avLst/>
            </a:prstGeom>
          </p:spPr>
        </p:pic>
      </p:grpSp>
      <p:grpSp>
        <p:nvGrpSpPr>
          <p:cNvPr id="183" name="그룹 182">
            <a:extLst>
              <a:ext uri="{FF2B5EF4-FFF2-40B4-BE49-F238E27FC236}">
                <a16:creationId xmlns:a16="http://schemas.microsoft.com/office/drawing/2014/main" id="{1A8E18E1-3518-4255-A52A-60E4141600A6}"/>
              </a:ext>
            </a:extLst>
          </p:cNvPr>
          <p:cNvGrpSpPr/>
          <p:nvPr/>
        </p:nvGrpSpPr>
        <p:grpSpPr>
          <a:xfrm>
            <a:off x="3066527" y="5230500"/>
            <a:ext cx="115200" cy="115200"/>
            <a:chOff x="3438262" y="4506798"/>
            <a:chExt cx="115200" cy="115200"/>
          </a:xfrm>
        </p:grpSpPr>
        <p:sp>
          <p:nvSpPr>
            <p:cNvPr id="186" name="사각형: 둥근 모서리 185">
              <a:extLst>
                <a:ext uri="{FF2B5EF4-FFF2-40B4-BE49-F238E27FC236}">
                  <a16:creationId xmlns:a16="http://schemas.microsoft.com/office/drawing/2014/main" id="{88D72696-28D5-4589-B4ED-B741D1122338}"/>
                </a:ext>
              </a:extLst>
            </p:cNvPr>
            <p:cNvSpPr/>
            <p:nvPr/>
          </p:nvSpPr>
          <p:spPr>
            <a:xfrm>
              <a:off x="3438262" y="4506798"/>
              <a:ext cx="115200" cy="1152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87" name="그림 186">
              <a:extLst>
                <a:ext uri="{FF2B5EF4-FFF2-40B4-BE49-F238E27FC236}">
                  <a16:creationId xmlns:a16="http://schemas.microsoft.com/office/drawing/2014/main" id="{0C2E3524-5DB7-411D-A357-5692CF7C19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56868" y="4526239"/>
              <a:ext cx="77989" cy="77989"/>
            </a:xfrm>
            <a:prstGeom prst="rect">
              <a:avLst/>
            </a:prstGeom>
          </p:spPr>
        </p:pic>
      </p:grpSp>
      <p:sp>
        <p:nvSpPr>
          <p:cNvPr id="196" name="직사각형 195">
            <a:extLst>
              <a:ext uri="{FF2B5EF4-FFF2-40B4-BE49-F238E27FC236}">
                <a16:creationId xmlns:a16="http://schemas.microsoft.com/office/drawing/2014/main" id="{E81F240C-3F9A-478B-98E3-EB77973099F2}"/>
              </a:ext>
            </a:extLst>
          </p:cNvPr>
          <p:cNvSpPr/>
          <p:nvPr/>
        </p:nvSpPr>
        <p:spPr>
          <a:xfrm>
            <a:off x="4328237" y="4589050"/>
            <a:ext cx="353873" cy="12165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7" name="화살표: 오른쪽 196">
            <a:extLst>
              <a:ext uri="{FF2B5EF4-FFF2-40B4-BE49-F238E27FC236}">
                <a16:creationId xmlns:a16="http://schemas.microsoft.com/office/drawing/2014/main" id="{ABF4D2E1-BADF-4563-94A4-D26F22035A0A}"/>
              </a:ext>
            </a:extLst>
          </p:cNvPr>
          <p:cNvSpPr/>
          <p:nvPr/>
        </p:nvSpPr>
        <p:spPr>
          <a:xfrm>
            <a:off x="3672039" y="5686515"/>
            <a:ext cx="279494" cy="63440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8" name="직사각형 197">
            <a:extLst>
              <a:ext uri="{FF2B5EF4-FFF2-40B4-BE49-F238E27FC236}">
                <a16:creationId xmlns:a16="http://schemas.microsoft.com/office/drawing/2014/main" id="{694B22B8-6B72-4BFF-8571-7C0611C9239F}"/>
              </a:ext>
            </a:extLst>
          </p:cNvPr>
          <p:cNvSpPr/>
          <p:nvPr/>
        </p:nvSpPr>
        <p:spPr>
          <a:xfrm>
            <a:off x="4325174" y="4805920"/>
            <a:ext cx="353873" cy="12165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9" name="직사각형 198">
            <a:extLst>
              <a:ext uri="{FF2B5EF4-FFF2-40B4-BE49-F238E27FC236}">
                <a16:creationId xmlns:a16="http://schemas.microsoft.com/office/drawing/2014/main" id="{1EA64EE1-2AE4-420E-936A-0C3BDC015A55}"/>
              </a:ext>
            </a:extLst>
          </p:cNvPr>
          <p:cNvSpPr/>
          <p:nvPr/>
        </p:nvSpPr>
        <p:spPr>
          <a:xfrm>
            <a:off x="4326629" y="5018341"/>
            <a:ext cx="353873" cy="12165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0" name="직사각형 199">
            <a:extLst>
              <a:ext uri="{FF2B5EF4-FFF2-40B4-BE49-F238E27FC236}">
                <a16:creationId xmlns:a16="http://schemas.microsoft.com/office/drawing/2014/main" id="{C68701FB-B279-49E7-8E64-C7A331BC8B69}"/>
              </a:ext>
            </a:extLst>
          </p:cNvPr>
          <p:cNvSpPr/>
          <p:nvPr/>
        </p:nvSpPr>
        <p:spPr>
          <a:xfrm>
            <a:off x="4326629" y="5236568"/>
            <a:ext cx="353873" cy="12165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2" name="그룹 201">
            <a:extLst>
              <a:ext uri="{FF2B5EF4-FFF2-40B4-BE49-F238E27FC236}">
                <a16:creationId xmlns:a16="http://schemas.microsoft.com/office/drawing/2014/main" id="{AEB54E92-19EE-4D80-A5D6-7007868D9A3D}"/>
              </a:ext>
            </a:extLst>
          </p:cNvPr>
          <p:cNvGrpSpPr/>
          <p:nvPr/>
        </p:nvGrpSpPr>
        <p:grpSpPr>
          <a:xfrm>
            <a:off x="6058584" y="4077976"/>
            <a:ext cx="760056" cy="168738"/>
            <a:chOff x="8101523" y="4105249"/>
            <a:chExt cx="760056" cy="168738"/>
          </a:xfrm>
        </p:grpSpPr>
        <p:sp>
          <p:nvSpPr>
            <p:cNvPr id="203" name="사각형: 둥근 모서리 202">
              <a:extLst>
                <a:ext uri="{FF2B5EF4-FFF2-40B4-BE49-F238E27FC236}">
                  <a16:creationId xmlns:a16="http://schemas.microsoft.com/office/drawing/2014/main" id="{482F1701-3748-4404-9150-869F0235A38E}"/>
                </a:ext>
              </a:extLst>
            </p:cNvPr>
            <p:cNvSpPr/>
            <p:nvPr/>
          </p:nvSpPr>
          <p:spPr>
            <a:xfrm>
              <a:off x="8101523" y="4105249"/>
              <a:ext cx="760056" cy="16873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 다운로드</a:t>
              </a:r>
            </a:p>
          </p:txBody>
        </p:sp>
        <p:pic>
          <p:nvPicPr>
            <p:cNvPr id="204" name="그림 203">
              <a:extLst>
                <a:ext uri="{FF2B5EF4-FFF2-40B4-BE49-F238E27FC236}">
                  <a16:creationId xmlns:a16="http://schemas.microsoft.com/office/drawing/2014/main" id="{9043888D-B5BD-45D6-B2A8-9745250EB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4232" y="4135768"/>
              <a:ext cx="105940" cy="105940"/>
            </a:xfrm>
            <a:prstGeom prst="rect">
              <a:avLst/>
            </a:prstGeom>
          </p:spPr>
        </p:pic>
      </p:grpSp>
      <p:graphicFrame>
        <p:nvGraphicFramePr>
          <p:cNvPr id="9" name="표 10">
            <a:extLst>
              <a:ext uri="{FF2B5EF4-FFF2-40B4-BE49-F238E27FC236}">
                <a16:creationId xmlns:a16="http://schemas.microsoft.com/office/drawing/2014/main" id="{EF990539-9644-46A5-A71C-E4523EE26E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468301"/>
              </p:ext>
            </p:extLst>
          </p:nvPr>
        </p:nvGraphicFramePr>
        <p:xfrm>
          <a:off x="9755418" y="1269298"/>
          <a:ext cx="2300574" cy="17916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61062">
                  <a:extLst>
                    <a:ext uri="{9D8B030D-6E8A-4147-A177-3AD203B41FA5}">
                      <a16:colId xmlns:a16="http://schemas.microsoft.com/office/drawing/2014/main" val="1436980609"/>
                    </a:ext>
                  </a:extLst>
                </a:gridCol>
                <a:gridCol w="1639512">
                  <a:extLst>
                    <a:ext uri="{9D8B030D-6E8A-4147-A177-3AD203B41FA5}">
                      <a16:colId xmlns:a16="http://schemas.microsoft.com/office/drawing/2014/main" val="4232382466"/>
                    </a:ext>
                  </a:extLst>
                </a:gridCol>
              </a:tblGrid>
              <a:tr h="22373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합계</a:t>
                      </a:r>
                    </a:p>
                  </a:txBody>
                  <a:tcPr marL="45720" marR="4572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토픽으로 등록된 컨텐츠 수</a:t>
                      </a:r>
                      <a:r>
                        <a:rPr lang="en-US" altLang="ko-KR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spc="-8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합계</a:t>
                      </a:r>
                    </a:p>
                  </a:txBody>
                  <a:tcPr marL="4572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519375"/>
                  </a:ext>
                </a:extLst>
              </a:tr>
              <a:tr h="46656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</a:t>
                      </a:r>
                    </a:p>
                  </a:txBody>
                  <a:tcPr marL="45720" marR="4572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문서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792918"/>
                  </a:ext>
                </a:extLst>
              </a:tr>
              <a:tr h="35092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동향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 </a:t>
                      </a:r>
                      <a:r>
                        <a:rPr lang="en-US" altLang="ko-KR" sz="800" b="0" kern="1200" spc="-5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30242"/>
                  </a:ext>
                </a:extLst>
              </a:tr>
              <a:tr h="37522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영상모음</a:t>
                      </a:r>
                    </a:p>
                  </a:txBody>
                  <a:tcPr marL="45720" marR="4572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 </a:t>
                      </a:r>
                      <a:r>
                        <a:rPr lang="en-US" altLang="ko-KR" sz="800" b="0" kern="1200" spc="-5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  <a:endParaRPr lang="en-US" altLang="ko-KR" sz="800" b="0" kern="1200" spc="-50" baseline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분류 </a:t>
                      </a:r>
                      <a:r>
                        <a:rPr lang="ko-KR" altLang="en-US" sz="800" b="0" i="0" u="none" strike="noStrike" kern="1200" cap="none" spc="-30" baseline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≠ 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22266"/>
                  </a:ext>
                </a:extLst>
              </a:tr>
              <a:tr h="3752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모음</a:t>
                      </a:r>
                    </a:p>
                  </a:txBody>
                  <a:tcPr marL="45720" marR="4572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20000"/>
                        </a:lnSpc>
                      </a:pPr>
                      <a:r>
                        <a:rPr lang="ko-KR" altLang="en-US" sz="800" b="0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종류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= </a:t>
                      </a: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  <a:endParaRPr lang="en-US" altLang="ko-KR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형분류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ko-KR" altLang="en-US" sz="800" b="0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8739507"/>
                  </a:ext>
                </a:extLst>
              </a:tr>
            </a:tbl>
          </a:graphicData>
        </a:graphic>
      </p:graphicFrame>
      <p:grpSp>
        <p:nvGrpSpPr>
          <p:cNvPr id="208" name="그룹 207">
            <a:extLst>
              <a:ext uri="{FF2B5EF4-FFF2-40B4-BE49-F238E27FC236}">
                <a16:creationId xmlns:a16="http://schemas.microsoft.com/office/drawing/2014/main" id="{1D95F275-D1FF-4008-93C1-D4891199E797}"/>
              </a:ext>
            </a:extLst>
          </p:cNvPr>
          <p:cNvGrpSpPr/>
          <p:nvPr/>
        </p:nvGrpSpPr>
        <p:grpSpPr>
          <a:xfrm>
            <a:off x="3455477" y="4594081"/>
            <a:ext cx="696670" cy="123331"/>
            <a:chOff x="1260032" y="1778319"/>
            <a:chExt cx="696670" cy="123331"/>
          </a:xfrm>
        </p:grpSpPr>
        <p:sp>
          <p:nvSpPr>
            <p:cNvPr id="209" name="직사각형 208">
              <a:extLst>
                <a:ext uri="{FF2B5EF4-FFF2-40B4-BE49-F238E27FC236}">
                  <a16:creationId xmlns:a16="http://schemas.microsoft.com/office/drawing/2014/main" id="{50833CEF-A26E-4A38-81C4-67277F207747}"/>
                </a:ext>
              </a:extLst>
            </p:cNvPr>
            <p:cNvSpPr/>
            <p:nvPr/>
          </p:nvSpPr>
          <p:spPr>
            <a:xfrm>
              <a:off x="1260032" y="1778319"/>
              <a:ext cx="556619" cy="12165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순</a:t>
              </a:r>
              <a:endPara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10" name="직사각형 209">
              <a:extLst>
                <a:ext uri="{FF2B5EF4-FFF2-40B4-BE49-F238E27FC236}">
                  <a16:creationId xmlns:a16="http://schemas.microsoft.com/office/drawing/2014/main" id="{793FD891-3D30-4B2A-8AF8-D6F19137AD2B}"/>
                </a:ext>
              </a:extLst>
            </p:cNvPr>
            <p:cNvSpPr/>
            <p:nvPr/>
          </p:nvSpPr>
          <p:spPr>
            <a:xfrm>
              <a:off x="1815800" y="1778319"/>
              <a:ext cx="140902" cy="12333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11" name="그룹 210">
            <a:extLst>
              <a:ext uri="{FF2B5EF4-FFF2-40B4-BE49-F238E27FC236}">
                <a16:creationId xmlns:a16="http://schemas.microsoft.com/office/drawing/2014/main" id="{07938963-1EBB-4174-B878-09BACB9D2842}"/>
              </a:ext>
            </a:extLst>
          </p:cNvPr>
          <p:cNvGrpSpPr/>
          <p:nvPr/>
        </p:nvGrpSpPr>
        <p:grpSpPr>
          <a:xfrm>
            <a:off x="3455477" y="4807293"/>
            <a:ext cx="696669" cy="121654"/>
            <a:chOff x="1260033" y="1778319"/>
            <a:chExt cx="696669" cy="121654"/>
          </a:xfrm>
        </p:grpSpPr>
        <p:sp>
          <p:nvSpPr>
            <p:cNvPr id="212" name="직사각형 211">
              <a:extLst>
                <a:ext uri="{FF2B5EF4-FFF2-40B4-BE49-F238E27FC236}">
                  <a16:creationId xmlns:a16="http://schemas.microsoft.com/office/drawing/2014/main" id="{E9ACDEB9-BFD9-479C-8D3B-6F85D593B30C}"/>
                </a:ext>
              </a:extLst>
            </p:cNvPr>
            <p:cNvSpPr/>
            <p:nvPr/>
          </p:nvSpPr>
          <p:spPr>
            <a:xfrm>
              <a:off x="1260033" y="1778319"/>
              <a:ext cx="555766" cy="12165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신순</a:t>
              </a:r>
              <a:endPara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13" name="직사각형 212">
              <a:extLst>
                <a:ext uri="{FF2B5EF4-FFF2-40B4-BE49-F238E27FC236}">
                  <a16:creationId xmlns:a16="http://schemas.microsoft.com/office/drawing/2014/main" id="{E5FDAFDE-DF48-4C87-B39B-CA65B8BD70A4}"/>
                </a:ext>
              </a:extLst>
            </p:cNvPr>
            <p:cNvSpPr/>
            <p:nvPr/>
          </p:nvSpPr>
          <p:spPr>
            <a:xfrm>
              <a:off x="1815800" y="1779692"/>
              <a:ext cx="140902" cy="118908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14" name="그룹 213">
            <a:extLst>
              <a:ext uri="{FF2B5EF4-FFF2-40B4-BE49-F238E27FC236}">
                <a16:creationId xmlns:a16="http://schemas.microsoft.com/office/drawing/2014/main" id="{7B0E4A54-2775-48F3-84E1-ABEA7735E4EA}"/>
              </a:ext>
            </a:extLst>
          </p:cNvPr>
          <p:cNvGrpSpPr/>
          <p:nvPr/>
        </p:nvGrpSpPr>
        <p:grpSpPr>
          <a:xfrm>
            <a:off x="3455477" y="5021524"/>
            <a:ext cx="696669" cy="121654"/>
            <a:chOff x="1260033" y="1778319"/>
            <a:chExt cx="696669" cy="121654"/>
          </a:xfrm>
        </p:grpSpPr>
        <p:sp>
          <p:nvSpPr>
            <p:cNvPr id="215" name="직사각형 214">
              <a:extLst>
                <a:ext uri="{FF2B5EF4-FFF2-40B4-BE49-F238E27FC236}">
                  <a16:creationId xmlns:a16="http://schemas.microsoft.com/office/drawing/2014/main" id="{F6AA461B-9E58-40A1-8D16-3FCDB99F0092}"/>
                </a:ext>
              </a:extLst>
            </p:cNvPr>
            <p:cNvSpPr/>
            <p:nvPr/>
          </p:nvSpPr>
          <p:spPr>
            <a:xfrm>
              <a:off x="1260033" y="1778319"/>
              <a:ext cx="555766" cy="12165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우선배치</a:t>
              </a:r>
            </a:p>
          </p:txBody>
        </p:sp>
        <p:sp>
          <p:nvSpPr>
            <p:cNvPr id="216" name="직사각형 215">
              <a:extLst>
                <a:ext uri="{FF2B5EF4-FFF2-40B4-BE49-F238E27FC236}">
                  <a16:creationId xmlns:a16="http://schemas.microsoft.com/office/drawing/2014/main" id="{ADCCA4F9-F1B9-441E-8820-38A23A20B91C}"/>
                </a:ext>
              </a:extLst>
            </p:cNvPr>
            <p:cNvSpPr/>
            <p:nvPr/>
          </p:nvSpPr>
          <p:spPr>
            <a:xfrm>
              <a:off x="1815800" y="1778319"/>
              <a:ext cx="140902" cy="121654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20" name="그룹 219">
            <a:extLst>
              <a:ext uri="{FF2B5EF4-FFF2-40B4-BE49-F238E27FC236}">
                <a16:creationId xmlns:a16="http://schemas.microsoft.com/office/drawing/2014/main" id="{32EF0C57-A4A8-4928-B4C0-A98D86ACB73F}"/>
              </a:ext>
            </a:extLst>
          </p:cNvPr>
          <p:cNvGrpSpPr/>
          <p:nvPr/>
        </p:nvGrpSpPr>
        <p:grpSpPr>
          <a:xfrm>
            <a:off x="3454625" y="5236568"/>
            <a:ext cx="696669" cy="121654"/>
            <a:chOff x="1260033" y="1778319"/>
            <a:chExt cx="696669" cy="121654"/>
          </a:xfrm>
        </p:grpSpPr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32D765F3-15CF-4085-AABF-FC3FDD7421CF}"/>
                </a:ext>
              </a:extLst>
            </p:cNvPr>
            <p:cNvSpPr/>
            <p:nvPr/>
          </p:nvSpPr>
          <p:spPr>
            <a:xfrm>
              <a:off x="1260033" y="1778319"/>
              <a:ext cx="555766" cy="12165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최우선배치</a:t>
              </a:r>
            </a:p>
          </p:txBody>
        </p:sp>
        <p:sp>
          <p:nvSpPr>
            <p:cNvPr id="222" name="직사각형 221">
              <a:extLst>
                <a:ext uri="{FF2B5EF4-FFF2-40B4-BE49-F238E27FC236}">
                  <a16:creationId xmlns:a16="http://schemas.microsoft.com/office/drawing/2014/main" id="{1946EBB9-2930-4D81-8341-0001EACDC0A0}"/>
                </a:ext>
              </a:extLst>
            </p:cNvPr>
            <p:cNvSpPr/>
            <p:nvPr/>
          </p:nvSpPr>
          <p:spPr>
            <a:xfrm>
              <a:off x="1815800" y="1778319"/>
              <a:ext cx="140902" cy="121654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7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26" name="표 26">
            <a:extLst>
              <a:ext uri="{FF2B5EF4-FFF2-40B4-BE49-F238E27FC236}">
                <a16:creationId xmlns:a16="http://schemas.microsoft.com/office/drawing/2014/main" id="{05C48978-36C7-4ED2-9853-18261DFEB6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270160"/>
              </p:ext>
            </p:extLst>
          </p:nvPr>
        </p:nvGraphicFramePr>
        <p:xfrm>
          <a:off x="2511261" y="3617193"/>
          <a:ext cx="6477874" cy="25312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76427">
                  <a:extLst>
                    <a:ext uri="{9D8B030D-6E8A-4147-A177-3AD203B41FA5}">
                      <a16:colId xmlns:a16="http://schemas.microsoft.com/office/drawing/2014/main" val="461667154"/>
                    </a:ext>
                  </a:extLst>
                </a:gridCol>
                <a:gridCol w="517447">
                  <a:extLst>
                    <a:ext uri="{9D8B030D-6E8A-4147-A177-3AD203B41FA5}">
                      <a16:colId xmlns:a16="http://schemas.microsoft.com/office/drawing/2014/main" val="1442447338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3543748879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2247690133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4105166867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3943167023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3535916089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2244271763"/>
                    </a:ext>
                  </a:extLst>
                </a:gridCol>
                <a:gridCol w="777600">
                  <a:extLst>
                    <a:ext uri="{9D8B030D-6E8A-4147-A177-3AD203B41FA5}">
                      <a16:colId xmlns:a16="http://schemas.microsoft.com/office/drawing/2014/main" val="2027467658"/>
                    </a:ext>
                  </a:extLst>
                </a:gridCol>
                <a:gridCol w="518400">
                  <a:extLst>
                    <a:ext uri="{9D8B030D-6E8A-4147-A177-3AD203B41FA5}">
                      <a16:colId xmlns:a16="http://schemas.microsoft.com/office/drawing/2014/main" val="1133274421"/>
                    </a:ext>
                  </a:extLst>
                </a:gridCol>
              </a:tblGrid>
              <a:tr h="2531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합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6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인사이트</a:t>
                      </a:r>
                      <a:endParaRPr lang="en-US" altLang="ko-KR" sz="800" b="1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7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신동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55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-tube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43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모음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60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60551"/>
                  </a:ext>
                </a:extLst>
              </a:tr>
            </a:tbl>
          </a:graphicData>
        </a:graphic>
      </p:graphicFrame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27A367A6-EA3C-4ADF-988F-C9BBB2217D89}"/>
              </a:ext>
            </a:extLst>
          </p:cNvPr>
          <p:cNvSpPr/>
          <p:nvPr/>
        </p:nvSpPr>
        <p:spPr>
          <a:xfrm>
            <a:off x="2483530" y="359033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2" name="사각형: 둥근 모서리 181">
            <a:extLst>
              <a:ext uri="{FF2B5EF4-FFF2-40B4-BE49-F238E27FC236}">
                <a16:creationId xmlns:a16="http://schemas.microsoft.com/office/drawing/2014/main" id="{80E0505B-538A-43EB-A4A6-31BC9235DE7B}"/>
              </a:ext>
            </a:extLst>
          </p:cNvPr>
          <p:cNvSpPr/>
          <p:nvPr/>
        </p:nvSpPr>
        <p:spPr>
          <a:xfrm>
            <a:off x="2486659" y="400853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0" name="사각형: 둥근 모서리 189">
            <a:extLst>
              <a:ext uri="{FF2B5EF4-FFF2-40B4-BE49-F238E27FC236}">
                <a16:creationId xmlns:a16="http://schemas.microsoft.com/office/drawing/2014/main" id="{5B9B162B-CD72-4DAD-B3F8-4AE780F4FA1B}"/>
              </a:ext>
            </a:extLst>
          </p:cNvPr>
          <p:cNvSpPr/>
          <p:nvPr/>
        </p:nvSpPr>
        <p:spPr>
          <a:xfrm>
            <a:off x="5987503" y="400688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2" name="사각형: 둥근 모서리 191">
            <a:extLst>
              <a:ext uri="{FF2B5EF4-FFF2-40B4-BE49-F238E27FC236}">
                <a16:creationId xmlns:a16="http://schemas.microsoft.com/office/drawing/2014/main" id="{15635D89-7E73-43B8-9707-E6D298ED5E87}"/>
              </a:ext>
            </a:extLst>
          </p:cNvPr>
          <p:cNvSpPr/>
          <p:nvPr/>
        </p:nvSpPr>
        <p:spPr>
          <a:xfrm>
            <a:off x="6832406" y="40001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3" name="사각형: 둥근 모서리 192">
            <a:extLst>
              <a:ext uri="{FF2B5EF4-FFF2-40B4-BE49-F238E27FC236}">
                <a16:creationId xmlns:a16="http://schemas.microsoft.com/office/drawing/2014/main" id="{1D77C8E4-22F0-4C6F-A875-C39F55757FF8}"/>
              </a:ext>
            </a:extLst>
          </p:cNvPr>
          <p:cNvSpPr/>
          <p:nvPr/>
        </p:nvSpPr>
        <p:spPr>
          <a:xfrm>
            <a:off x="7522652" y="40001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4" name="사각형: 둥근 모서리 193">
            <a:extLst>
              <a:ext uri="{FF2B5EF4-FFF2-40B4-BE49-F238E27FC236}">
                <a16:creationId xmlns:a16="http://schemas.microsoft.com/office/drawing/2014/main" id="{3D57DA42-8F7E-42AB-982F-7D892F6233A8}"/>
              </a:ext>
            </a:extLst>
          </p:cNvPr>
          <p:cNvSpPr/>
          <p:nvPr/>
        </p:nvSpPr>
        <p:spPr>
          <a:xfrm>
            <a:off x="8238141" y="400012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5" name="사각형: 둥근 모서리 194">
            <a:extLst>
              <a:ext uri="{FF2B5EF4-FFF2-40B4-BE49-F238E27FC236}">
                <a16:creationId xmlns:a16="http://schemas.microsoft.com/office/drawing/2014/main" id="{C6114286-6D98-4FF8-80B2-EED4C2969308}"/>
              </a:ext>
            </a:extLst>
          </p:cNvPr>
          <p:cNvSpPr/>
          <p:nvPr/>
        </p:nvSpPr>
        <p:spPr>
          <a:xfrm>
            <a:off x="2852621" y="450368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1" name="사각형: 둥근 모서리 200">
            <a:extLst>
              <a:ext uri="{FF2B5EF4-FFF2-40B4-BE49-F238E27FC236}">
                <a16:creationId xmlns:a16="http://schemas.microsoft.com/office/drawing/2014/main" id="{1D48A0BD-D0EF-4D07-9D8C-8267D5F97587}"/>
              </a:ext>
            </a:extLst>
          </p:cNvPr>
          <p:cNvSpPr/>
          <p:nvPr/>
        </p:nvSpPr>
        <p:spPr>
          <a:xfrm>
            <a:off x="3379186" y="450368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5" name="사각형: 둥근 모서리 204">
            <a:extLst>
              <a:ext uri="{FF2B5EF4-FFF2-40B4-BE49-F238E27FC236}">
                <a16:creationId xmlns:a16="http://schemas.microsoft.com/office/drawing/2014/main" id="{F33264B6-10EE-4B6C-8F03-529AC4949CFC}"/>
              </a:ext>
            </a:extLst>
          </p:cNvPr>
          <p:cNvSpPr/>
          <p:nvPr/>
        </p:nvSpPr>
        <p:spPr>
          <a:xfrm>
            <a:off x="4202042" y="449551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6" name="직사각형 205">
            <a:extLst>
              <a:ext uri="{FF2B5EF4-FFF2-40B4-BE49-F238E27FC236}">
                <a16:creationId xmlns:a16="http://schemas.microsoft.com/office/drawing/2014/main" id="{313F4F9B-60F4-42EB-9B0E-CE289007F2E4}"/>
              </a:ext>
            </a:extLst>
          </p:cNvPr>
          <p:cNvSpPr/>
          <p:nvPr/>
        </p:nvSpPr>
        <p:spPr>
          <a:xfrm>
            <a:off x="5635226" y="2577042"/>
            <a:ext cx="3314112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8.22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07" name="표 5">
            <a:extLst>
              <a:ext uri="{FF2B5EF4-FFF2-40B4-BE49-F238E27FC236}">
                <a16:creationId xmlns:a16="http://schemas.microsoft.com/office/drawing/2014/main" id="{B26394EA-F792-425F-8C10-FDA581D8C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6703169"/>
              </p:ext>
            </p:extLst>
          </p:nvPr>
        </p:nvGraphicFramePr>
        <p:xfrm>
          <a:off x="332993" y="1536971"/>
          <a:ext cx="2090599" cy="51323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4000">
                  <a:extLst>
                    <a:ext uri="{9D8B030D-6E8A-4147-A177-3AD203B41FA5}">
                      <a16:colId xmlns:a16="http://schemas.microsoft.com/office/drawing/2014/main" val="255000904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164090594"/>
                    </a:ext>
                  </a:extLst>
                </a:gridCol>
                <a:gridCol w="1082599">
                  <a:extLst>
                    <a:ext uri="{9D8B030D-6E8A-4147-A177-3AD203B41FA5}">
                      <a16:colId xmlns:a16="http://schemas.microsoft.com/office/drawing/2014/main" val="2168184616"/>
                    </a:ext>
                  </a:extLst>
                </a:gridCol>
              </a:tblGrid>
              <a:tr h="287734"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76842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222437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36223550"/>
                  </a:ext>
                </a:extLst>
              </a:tr>
              <a:tr h="74662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67565014"/>
                  </a:ext>
                </a:extLst>
              </a:tr>
              <a:tr h="22389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순서</a:t>
                      </a:r>
                      <a:endParaRPr lang="ko-KR" altLang="en-US" dirty="0"/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58072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344476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1613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 전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43913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 경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9656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12337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3104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 제품 및 기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95673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 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5119137"/>
                  </a:ext>
                </a:extLst>
              </a:tr>
              <a:tr h="36000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추가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2469197"/>
                  </a:ext>
                </a:extLst>
              </a:tr>
              <a:tr h="106866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389703"/>
                  </a:ext>
                </a:extLst>
              </a:tr>
            </a:tbl>
          </a:graphicData>
        </a:graphic>
      </p:graphicFrame>
      <p:grpSp>
        <p:nvGrpSpPr>
          <p:cNvPr id="217" name="그룹 216">
            <a:extLst>
              <a:ext uri="{FF2B5EF4-FFF2-40B4-BE49-F238E27FC236}">
                <a16:creationId xmlns:a16="http://schemas.microsoft.com/office/drawing/2014/main" id="{4E004B2E-A4AF-4C42-BA74-A9C322FCC9A2}"/>
              </a:ext>
            </a:extLst>
          </p:cNvPr>
          <p:cNvGrpSpPr/>
          <p:nvPr/>
        </p:nvGrpSpPr>
        <p:grpSpPr>
          <a:xfrm>
            <a:off x="945325" y="1857055"/>
            <a:ext cx="1406259" cy="173836"/>
            <a:chOff x="1510348" y="1778319"/>
            <a:chExt cx="1406259" cy="173836"/>
          </a:xfrm>
        </p:grpSpPr>
        <p:sp>
          <p:nvSpPr>
            <p:cNvPr id="218" name="직사각형 217">
              <a:extLst>
                <a:ext uri="{FF2B5EF4-FFF2-40B4-BE49-F238E27FC236}">
                  <a16:creationId xmlns:a16="http://schemas.microsoft.com/office/drawing/2014/main" id="{F4F9F7D5-E4DC-4974-8263-A653388EF9CB}"/>
                </a:ext>
              </a:extLst>
            </p:cNvPr>
            <p:cNvSpPr/>
            <p:nvPr/>
          </p:nvSpPr>
          <p:spPr>
            <a:xfrm>
              <a:off x="1510348" y="1778319"/>
              <a:ext cx="119023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219" name="직사각형 218">
              <a:extLst>
                <a:ext uri="{FF2B5EF4-FFF2-40B4-BE49-F238E27FC236}">
                  <a16:creationId xmlns:a16="http://schemas.microsoft.com/office/drawing/2014/main" id="{0E48B0CB-5707-48C9-B52D-DD3DC6530022}"/>
                </a:ext>
              </a:extLst>
            </p:cNvPr>
            <p:cNvSpPr/>
            <p:nvPr/>
          </p:nvSpPr>
          <p:spPr>
            <a:xfrm>
              <a:off x="2700583" y="1778319"/>
              <a:ext cx="216024" cy="173836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23" name="그룹 222">
            <a:extLst>
              <a:ext uri="{FF2B5EF4-FFF2-40B4-BE49-F238E27FC236}">
                <a16:creationId xmlns:a16="http://schemas.microsoft.com/office/drawing/2014/main" id="{670ACECE-F371-4619-B078-BD2451BF122D}"/>
              </a:ext>
            </a:extLst>
          </p:cNvPr>
          <p:cNvGrpSpPr/>
          <p:nvPr/>
        </p:nvGrpSpPr>
        <p:grpSpPr>
          <a:xfrm>
            <a:off x="944720" y="2132023"/>
            <a:ext cx="663415" cy="172800"/>
            <a:chOff x="1510349" y="1778319"/>
            <a:chExt cx="663415" cy="172800"/>
          </a:xfrm>
        </p:grpSpPr>
        <p:sp>
          <p:nvSpPr>
            <p:cNvPr id="224" name="직사각형 223">
              <a:extLst>
                <a:ext uri="{FF2B5EF4-FFF2-40B4-BE49-F238E27FC236}">
                  <a16:creationId xmlns:a16="http://schemas.microsoft.com/office/drawing/2014/main" id="{A7A49021-7727-409E-B887-FBD94A709B9D}"/>
                </a:ext>
              </a:extLst>
            </p:cNvPr>
            <p:cNvSpPr/>
            <p:nvPr/>
          </p:nvSpPr>
          <p:spPr>
            <a:xfrm>
              <a:off x="1510349" y="1778319"/>
              <a:ext cx="44739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25" name="직사각형 224">
              <a:extLst>
                <a:ext uri="{FF2B5EF4-FFF2-40B4-BE49-F238E27FC236}">
                  <a16:creationId xmlns:a16="http://schemas.microsoft.com/office/drawing/2014/main" id="{0CEF8894-77AB-4D71-98FE-435B54E0FFCC}"/>
                </a:ext>
              </a:extLst>
            </p:cNvPr>
            <p:cNvSpPr/>
            <p:nvPr/>
          </p:nvSpPr>
          <p:spPr>
            <a:xfrm>
              <a:off x="1957740" y="1778319"/>
              <a:ext cx="21602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226" name="직사각형 225">
            <a:extLst>
              <a:ext uri="{FF2B5EF4-FFF2-40B4-BE49-F238E27FC236}">
                <a16:creationId xmlns:a16="http://schemas.microsoft.com/office/drawing/2014/main" id="{FF3219CC-6488-4ED7-969D-56BA8B11EF0F}"/>
              </a:ext>
            </a:extLst>
          </p:cNvPr>
          <p:cNvSpPr/>
          <p:nvPr/>
        </p:nvSpPr>
        <p:spPr>
          <a:xfrm>
            <a:off x="1764037" y="2146875"/>
            <a:ext cx="587547" cy="144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spc="-5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시 중</a:t>
            </a:r>
            <a:endParaRPr lang="ko-KR" altLang="en-US" sz="8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7" name="사각형: 둥근 모서리 226">
            <a:extLst>
              <a:ext uri="{FF2B5EF4-FFF2-40B4-BE49-F238E27FC236}">
                <a16:creationId xmlns:a16="http://schemas.microsoft.com/office/drawing/2014/main" id="{DE3D066E-90D6-4B29-B012-D65E1790D025}"/>
              </a:ext>
            </a:extLst>
          </p:cNvPr>
          <p:cNvSpPr/>
          <p:nvPr/>
        </p:nvSpPr>
        <p:spPr>
          <a:xfrm>
            <a:off x="1682896" y="2146875"/>
            <a:ext cx="139353" cy="1393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228" name="그림 227">
            <a:extLst>
              <a:ext uri="{FF2B5EF4-FFF2-40B4-BE49-F238E27FC236}">
                <a16:creationId xmlns:a16="http://schemas.microsoft.com/office/drawing/2014/main" id="{A5E45C28-8643-49B4-846D-74873E601F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08459" y="2180737"/>
            <a:ext cx="81910" cy="81910"/>
          </a:xfrm>
          <a:prstGeom prst="rect">
            <a:avLst/>
          </a:prstGeom>
        </p:spPr>
      </p:pic>
      <p:grpSp>
        <p:nvGrpSpPr>
          <p:cNvPr id="229" name="그룹 228">
            <a:extLst>
              <a:ext uri="{FF2B5EF4-FFF2-40B4-BE49-F238E27FC236}">
                <a16:creationId xmlns:a16="http://schemas.microsoft.com/office/drawing/2014/main" id="{979089B3-34BC-446A-A88A-0DCC0D45967E}"/>
              </a:ext>
            </a:extLst>
          </p:cNvPr>
          <p:cNvGrpSpPr/>
          <p:nvPr/>
        </p:nvGrpSpPr>
        <p:grpSpPr>
          <a:xfrm>
            <a:off x="515206" y="2743591"/>
            <a:ext cx="139353" cy="139353"/>
            <a:chOff x="1996996" y="2755568"/>
            <a:chExt cx="139353" cy="139353"/>
          </a:xfrm>
        </p:grpSpPr>
        <p:sp>
          <p:nvSpPr>
            <p:cNvPr id="230" name="사각형: 둥근 모서리 229">
              <a:extLst>
                <a:ext uri="{FF2B5EF4-FFF2-40B4-BE49-F238E27FC236}">
                  <a16:creationId xmlns:a16="http://schemas.microsoft.com/office/drawing/2014/main" id="{224F516B-48AD-48FD-850D-B4D0596133C4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31" name="그림 230">
              <a:extLst>
                <a:ext uri="{FF2B5EF4-FFF2-40B4-BE49-F238E27FC236}">
                  <a16:creationId xmlns:a16="http://schemas.microsoft.com/office/drawing/2014/main" id="{E1350BE1-1185-4D80-B1A8-35EBA1B567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232" name="그룹 231">
            <a:extLst>
              <a:ext uri="{FF2B5EF4-FFF2-40B4-BE49-F238E27FC236}">
                <a16:creationId xmlns:a16="http://schemas.microsoft.com/office/drawing/2014/main" id="{AF89D6D7-F22B-4C03-BABC-A017F8AD70FB}"/>
              </a:ext>
            </a:extLst>
          </p:cNvPr>
          <p:cNvGrpSpPr/>
          <p:nvPr/>
        </p:nvGrpSpPr>
        <p:grpSpPr>
          <a:xfrm>
            <a:off x="515206" y="3065998"/>
            <a:ext cx="139353" cy="139353"/>
            <a:chOff x="1996996" y="2755568"/>
            <a:chExt cx="139353" cy="139353"/>
          </a:xfrm>
        </p:grpSpPr>
        <p:sp>
          <p:nvSpPr>
            <p:cNvPr id="233" name="사각형: 둥근 모서리 232">
              <a:extLst>
                <a:ext uri="{FF2B5EF4-FFF2-40B4-BE49-F238E27FC236}">
                  <a16:creationId xmlns:a16="http://schemas.microsoft.com/office/drawing/2014/main" id="{47BCC3A8-A6F9-47DD-AD11-649AE8BA553D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34" name="그림 233">
              <a:extLst>
                <a:ext uri="{FF2B5EF4-FFF2-40B4-BE49-F238E27FC236}">
                  <a16:creationId xmlns:a16="http://schemas.microsoft.com/office/drawing/2014/main" id="{295EA8C0-31FF-41C4-BE64-6105603AF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235" name="그룹 234">
            <a:extLst>
              <a:ext uri="{FF2B5EF4-FFF2-40B4-BE49-F238E27FC236}">
                <a16:creationId xmlns:a16="http://schemas.microsoft.com/office/drawing/2014/main" id="{4AC1513A-C5D1-4DAC-8C47-52D8443AF0FE}"/>
              </a:ext>
            </a:extLst>
          </p:cNvPr>
          <p:cNvGrpSpPr/>
          <p:nvPr/>
        </p:nvGrpSpPr>
        <p:grpSpPr>
          <a:xfrm>
            <a:off x="515206" y="3386112"/>
            <a:ext cx="139353" cy="139353"/>
            <a:chOff x="1996996" y="2755568"/>
            <a:chExt cx="139353" cy="139353"/>
          </a:xfrm>
        </p:grpSpPr>
        <p:sp>
          <p:nvSpPr>
            <p:cNvPr id="236" name="사각형: 둥근 모서리 235">
              <a:extLst>
                <a:ext uri="{FF2B5EF4-FFF2-40B4-BE49-F238E27FC236}">
                  <a16:creationId xmlns:a16="http://schemas.microsoft.com/office/drawing/2014/main" id="{D4F3DE81-69AA-43F0-83F0-487C8490C42D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37" name="그림 236">
              <a:extLst>
                <a:ext uri="{FF2B5EF4-FFF2-40B4-BE49-F238E27FC236}">
                  <a16:creationId xmlns:a16="http://schemas.microsoft.com/office/drawing/2014/main" id="{E532A5BC-0DB3-497C-88F0-6BC249D662C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238" name="그룹 237">
            <a:extLst>
              <a:ext uri="{FF2B5EF4-FFF2-40B4-BE49-F238E27FC236}">
                <a16:creationId xmlns:a16="http://schemas.microsoft.com/office/drawing/2014/main" id="{B80B987F-F061-4968-9D78-F9D3B89EB79B}"/>
              </a:ext>
            </a:extLst>
          </p:cNvPr>
          <p:cNvGrpSpPr/>
          <p:nvPr/>
        </p:nvGrpSpPr>
        <p:grpSpPr>
          <a:xfrm>
            <a:off x="515206" y="3706226"/>
            <a:ext cx="139353" cy="139353"/>
            <a:chOff x="1996996" y="2755568"/>
            <a:chExt cx="139353" cy="139353"/>
          </a:xfrm>
        </p:grpSpPr>
        <p:sp>
          <p:nvSpPr>
            <p:cNvPr id="239" name="사각형: 둥근 모서리 238">
              <a:extLst>
                <a:ext uri="{FF2B5EF4-FFF2-40B4-BE49-F238E27FC236}">
                  <a16:creationId xmlns:a16="http://schemas.microsoft.com/office/drawing/2014/main" id="{02512A93-8452-4B6A-8106-63BC9626BC8D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40" name="그림 239">
              <a:extLst>
                <a:ext uri="{FF2B5EF4-FFF2-40B4-BE49-F238E27FC236}">
                  <a16:creationId xmlns:a16="http://schemas.microsoft.com/office/drawing/2014/main" id="{EFDEFDCB-E2D1-4908-95C0-BCD25CF63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241" name="그룹 240">
            <a:extLst>
              <a:ext uri="{FF2B5EF4-FFF2-40B4-BE49-F238E27FC236}">
                <a16:creationId xmlns:a16="http://schemas.microsoft.com/office/drawing/2014/main" id="{2C92E9C1-E798-4C2D-BE07-4BFB2486CB07}"/>
              </a:ext>
            </a:extLst>
          </p:cNvPr>
          <p:cNvGrpSpPr/>
          <p:nvPr/>
        </p:nvGrpSpPr>
        <p:grpSpPr>
          <a:xfrm>
            <a:off x="515206" y="4026340"/>
            <a:ext cx="139353" cy="139353"/>
            <a:chOff x="1996996" y="2755568"/>
            <a:chExt cx="139353" cy="139353"/>
          </a:xfrm>
        </p:grpSpPr>
        <p:sp>
          <p:nvSpPr>
            <p:cNvPr id="242" name="사각형: 둥근 모서리 241">
              <a:extLst>
                <a:ext uri="{FF2B5EF4-FFF2-40B4-BE49-F238E27FC236}">
                  <a16:creationId xmlns:a16="http://schemas.microsoft.com/office/drawing/2014/main" id="{E2318521-3BD2-4E66-860E-12ED25668192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43" name="그림 242">
              <a:extLst>
                <a:ext uri="{FF2B5EF4-FFF2-40B4-BE49-F238E27FC236}">
                  <a16:creationId xmlns:a16="http://schemas.microsoft.com/office/drawing/2014/main" id="{643180FE-A420-4757-B34C-A42ACBDF7F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244" name="그룹 243">
            <a:extLst>
              <a:ext uri="{FF2B5EF4-FFF2-40B4-BE49-F238E27FC236}">
                <a16:creationId xmlns:a16="http://schemas.microsoft.com/office/drawing/2014/main" id="{E6982583-EE04-4B21-BA33-D30057C369D1}"/>
              </a:ext>
            </a:extLst>
          </p:cNvPr>
          <p:cNvGrpSpPr/>
          <p:nvPr/>
        </p:nvGrpSpPr>
        <p:grpSpPr>
          <a:xfrm>
            <a:off x="515206" y="4346454"/>
            <a:ext cx="139353" cy="139353"/>
            <a:chOff x="1996996" y="2755568"/>
            <a:chExt cx="139353" cy="139353"/>
          </a:xfrm>
        </p:grpSpPr>
        <p:sp>
          <p:nvSpPr>
            <p:cNvPr id="245" name="사각형: 둥근 모서리 244">
              <a:extLst>
                <a:ext uri="{FF2B5EF4-FFF2-40B4-BE49-F238E27FC236}">
                  <a16:creationId xmlns:a16="http://schemas.microsoft.com/office/drawing/2014/main" id="{4B98160B-ADB0-4632-A511-6E3A18AD2BEB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46" name="그림 245">
              <a:extLst>
                <a:ext uri="{FF2B5EF4-FFF2-40B4-BE49-F238E27FC236}">
                  <a16:creationId xmlns:a16="http://schemas.microsoft.com/office/drawing/2014/main" id="{FE1400CA-1083-47D5-BF65-3AA432209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E5D2CFE2-EBE1-4DE3-A681-C55F9A6AAAD1}"/>
              </a:ext>
            </a:extLst>
          </p:cNvPr>
          <p:cNvGrpSpPr/>
          <p:nvPr/>
        </p:nvGrpSpPr>
        <p:grpSpPr>
          <a:xfrm>
            <a:off x="515206" y="4659873"/>
            <a:ext cx="139353" cy="139353"/>
            <a:chOff x="521524" y="4866824"/>
            <a:chExt cx="139353" cy="139353"/>
          </a:xfrm>
        </p:grpSpPr>
        <p:sp>
          <p:nvSpPr>
            <p:cNvPr id="248" name="사각형: 둥근 모서리 247">
              <a:extLst>
                <a:ext uri="{FF2B5EF4-FFF2-40B4-BE49-F238E27FC236}">
                  <a16:creationId xmlns:a16="http://schemas.microsoft.com/office/drawing/2014/main" id="{62718E28-031D-411B-84DB-15A7D12877A5}"/>
                </a:ext>
              </a:extLst>
            </p:cNvPr>
            <p:cNvSpPr/>
            <p:nvPr/>
          </p:nvSpPr>
          <p:spPr>
            <a:xfrm>
              <a:off x="521524" y="4866824"/>
              <a:ext cx="139353" cy="13935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49" name="그림 248">
              <a:extLst>
                <a:ext uri="{FF2B5EF4-FFF2-40B4-BE49-F238E27FC236}">
                  <a16:creationId xmlns:a16="http://schemas.microsoft.com/office/drawing/2014/main" id="{FD45359F-B3D8-4FC5-9075-199FFD884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7087" y="4900686"/>
              <a:ext cx="81910" cy="81910"/>
            </a:xfrm>
            <a:prstGeom prst="rect">
              <a:avLst/>
            </a:prstGeom>
          </p:spPr>
        </p:pic>
      </p:grpSp>
      <p:sp>
        <p:nvSpPr>
          <p:cNvPr id="250" name="직사각형 249">
            <a:extLst>
              <a:ext uri="{FF2B5EF4-FFF2-40B4-BE49-F238E27FC236}">
                <a16:creationId xmlns:a16="http://schemas.microsoft.com/office/drawing/2014/main" id="{1A859E1A-DB7E-4A99-B84E-2C3393C2FE33}"/>
              </a:ext>
            </a:extLst>
          </p:cNvPr>
          <p:cNvSpPr/>
          <p:nvPr/>
        </p:nvSpPr>
        <p:spPr>
          <a:xfrm>
            <a:off x="964843" y="27435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51" name="직사각형 250">
            <a:extLst>
              <a:ext uri="{FF2B5EF4-FFF2-40B4-BE49-F238E27FC236}">
                <a16:creationId xmlns:a16="http://schemas.microsoft.com/office/drawing/2014/main" id="{7F0DD6D6-4037-4F64-9F5A-9114D36485FF}"/>
              </a:ext>
            </a:extLst>
          </p:cNvPr>
          <p:cNvSpPr/>
          <p:nvPr/>
        </p:nvSpPr>
        <p:spPr>
          <a:xfrm>
            <a:off x="964843" y="3062971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52" name="직사각형 251">
            <a:extLst>
              <a:ext uri="{FF2B5EF4-FFF2-40B4-BE49-F238E27FC236}">
                <a16:creationId xmlns:a16="http://schemas.microsoft.com/office/drawing/2014/main" id="{7BC97A4E-2DE4-4516-8EB7-9544368B9DAE}"/>
              </a:ext>
            </a:extLst>
          </p:cNvPr>
          <p:cNvSpPr/>
          <p:nvPr/>
        </p:nvSpPr>
        <p:spPr>
          <a:xfrm>
            <a:off x="964843" y="338235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53" name="직사각형 252">
            <a:extLst>
              <a:ext uri="{FF2B5EF4-FFF2-40B4-BE49-F238E27FC236}">
                <a16:creationId xmlns:a16="http://schemas.microsoft.com/office/drawing/2014/main" id="{D18489A0-1291-43FF-AA8F-AC8C3B2D6FAC}"/>
              </a:ext>
            </a:extLst>
          </p:cNvPr>
          <p:cNvSpPr/>
          <p:nvPr/>
        </p:nvSpPr>
        <p:spPr>
          <a:xfrm>
            <a:off x="964843" y="370173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55" name="직사각형 254">
            <a:extLst>
              <a:ext uri="{FF2B5EF4-FFF2-40B4-BE49-F238E27FC236}">
                <a16:creationId xmlns:a16="http://schemas.microsoft.com/office/drawing/2014/main" id="{710512DB-F3DF-4CA3-8787-EF3F0E4177B0}"/>
              </a:ext>
            </a:extLst>
          </p:cNvPr>
          <p:cNvSpPr/>
          <p:nvPr/>
        </p:nvSpPr>
        <p:spPr>
          <a:xfrm>
            <a:off x="964843" y="402111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56" name="직사각형 255">
            <a:extLst>
              <a:ext uri="{FF2B5EF4-FFF2-40B4-BE49-F238E27FC236}">
                <a16:creationId xmlns:a16="http://schemas.microsoft.com/office/drawing/2014/main" id="{84CEA2DA-404F-415C-9020-3B99644D1378}"/>
              </a:ext>
            </a:extLst>
          </p:cNvPr>
          <p:cNvSpPr/>
          <p:nvPr/>
        </p:nvSpPr>
        <p:spPr>
          <a:xfrm>
            <a:off x="964843" y="43404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57" name="직사각형 256">
            <a:extLst>
              <a:ext uri="{FF2B5EF4-FFF2-40B4-BE49-F238E27FC236}">
                <a16:creationId xmlns:a16="http://schemas.microsoft.com/office/drawing/2014/main" id="{24630A5F-4EFE-47D8-968D-E94D3EFD2935}"/>
              </a:ext>
            </a:extLst>
          </p:cNvPr>
          <p:cNvSpPr/>
          <p:nvPr/>
        </p:nvSpPr>
        <p:spPr>
          <a:xfrm>
            <a:off x="958525" y="4659873"/>
            <a:ext cx="2659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58" name="그룹 257">
            <a:extLst>
              <a:ext uri="{FF2B5EF4-FFF2-40B4-BE49-F238E27FC236}">
                <a16:creationId xmlns:a16="http://schemas.microsoft.com/office/drawing/2014/main" id="{6CE44712-55FB-410F-BF4E-BF7682081BE4}"/>
              </a:ext>
            </a:extLst>
          </p:cNvPr>
          <p:cNvGrpSpPr/>
          <p:nvPr/>
        </p:nvGrpSpPr>
        <p:grpSpPr>
          <a:xfrm>
            <a:off x="518365" y="5037448"/>
            <a:ext cx="139353" cy="139353"/>
            <a:chOff x="1996996" y="2755568"/>
            <a:chExt cx="139353" cy="139353"/>
          </a:xfrm>
        </p:grpSpPr>
        <p:sp>
          <p:nvSpPr>
            <p:cNvPr id="259" name="사각형: 둥근 모서리 258">
              <a:extLst>
                <a:ext uri="{FF2B5EF4-FFF2-40B4-BE49-F238E27FC236}">
                  <a16:creationId xmlns:a16="http://schemas.microsoft.com/office/drawing/2014/main" id="{99EB1C17-409C-4F58-96F7-FEA9F0647EEF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60" name="그림 259">
              <a:extLst>
                <a:ext uri="{FF2B5EF4-FFF2-40B4-BE49-F238E27FC236}">
                  <a16:creationId xmlns:a16="http://schemas.microsoft.com/office/drawing/2014/main" id="{50AB0E5C-0814-4319-8FD6-9F62BA1753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261" name="직사각형 260">
            <a:extLst>
              <a:ext uri="{FF2B5EF4-FFF2-40B4-BE49-F238E27FC236}">
                <a16:creationId xmlns:a16="http://schemas.microsoft.com/office/drawing/2014/main" id="{748BC005-A233-4218-A54D-BEF3246E9137}"/>
              </a:ext>
            </a:extLst>
          </p:cNvPr>
          <p:cNvSpPr/>
          <p:nvPr/>
        </p:nvSpPr>
        <p:spPr>
          <a:xfrm>
            <a:off x="964843" y="5022035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70" name="직사각형 269">
            <a:extLst>
              <a:ext uri="{FF2B5EF4-FFF2-40B4-BE49-F238E27FC236}">
                <a16:creationId xmlns:a16="http://schemas.microsoft.com/office/drawing/2014/main" id="{2F7292A6-55BC-4EC0-85E2-0D35EF4EE0FE}"/>
              </a:ext>
            </a:extLst>
          </p:cNvPr>
          <p:cNvSpPr/>
          <p:nvPr/>
        </p:nvSpPr>
        <p:spPr>
          <a:xfrm>
            <a:off x="8973779" y="0"/>
            <a:ext cx="3218221" cy="4067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4D9A24F4-F693-481B-BDD8-CFF20156138E}"/>
              </a:ext>
            </a:extLst>
          </p:cNvPr>
          <p:cNvSpPr/>
          <p:nvPr/>
        </p:nvSpPr>
        <p:spPr>
          <a:xfrm>
            <a:off x="2584895" y="2584507"/>
            <a:ext cx="2908287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8" name="직사각형 137">
            <a:extLst>
              <a:ext uri="{FF2B5EF4-FFF2-40B4-BE49-F238E27FC236}">
                <a16:creationId xmlns:a16="http://schemas.microsoft.com/office/drawing/2014/main" id="{205ED9A0-D0AB-46E8-A61F-E51CE0A041E8}"/>
              </a:ext>
            </a:extLst>
          </p:cNvPr>
          <p:cNvSpPr/>
          <p:nvPr/>
        </p:nvSpPr>
        <p:spPr>
          <a:xfrm>
            <a:off x="1392111" y="2737459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584BF7C4-46D2-4EC2-9E4D-2D6E49D06604}"/>
              </a:ext>
            </a:extLst>
          </p:cNvPr>
          <p:cNvSpPr/>
          <p:nvPr/>
        </p:nvSpPr>
        <p:spPr>
          <a:xfrm>
            <a:off x="1392111" y="30544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5CE877CC-D0D3-4741-BC78-236981409CFD}"/>
              </a:ext>
            </a:extLst>
          </p:cNvPr>
          <p:cNvSpPr/>
          <p:nvPr/>
        </p:nvSpPr>
        <p:spPr>
          <a:xfrm>
            <a:off x="1392111" y="33759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6E17E417-193B-4BB0-982F-989B1C328FBC}"/>
              </a:ext>
            </a:extLst>
          </p:cNvPr>
          <p:cNvSpPr/>
          <p:nvPr/>
        </p:nvSpPr>
        <p:spPr>
          <a:xfrm>
            <a:off x="1388800" y="3701731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3BE8CCF0-538E-469A-92B1-B12D89F29902}"/>
              </a:ext>
            </a:extLst>
          </p:cNvPr>
          <p:cNvSpPr/>
          <p:nvPr/>
        </p:nvSpPr>
        <p:spPr>
          <a:xfrm>
            <a:off x="1386426" y="4021722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3" name="직사각형 142">
            <a:extLst>
              <a:ext uri="{FF2B5EF4-FFF2-40B4-BE49-F238E27FC236}">
                <a16:creationId xmlns:a16="http://schemas.microsoft.com/office/drawing/2014/main" id="{23116E74-8B16-4D75-BDB8-75094700E8E9}"/>
              </a:ext>
            </a:extLst>
          </p:cNvPr>
          <p:cNvSpPr/>
          <p:nvPr/>
        </p:nvSpPr>
        <p:spPr>
          <a:xfrm>
            <a:off x="1386426" y="4335550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643C4F5B-E42B-4462-8712-24EBC24DED8F}"/>
              </a:ext>
            </a:extLst>
          </p:cNvPr>
          <p:cNvSpPr/>
          <p:nvPr/>
        </p:nvSpPr>
        <p:spPr>
          <a:xfrm>
            <a:off x="1381278" y="4662028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A7FE4936-7A0E-4420-BDD1-DACBD6397B52}"/>
              </a:ext>
            </a:extLst>
          </p:cNvPr>
          <p:cNvSpPr/>
          <p:nvPr/>
        </p:nvSpPr>
        <p:spPr>
          <a:xfrm>
            <a:off x="1392111" y="4992768"/>
            <a:ext cx="98129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075E9216-1962-41E8-8DA9-ABAA87C13C78}"/>
              </a:ext>
            </a:extLst>
          </p:cNvPr>
          <p:cNvSpPr/>
          <p:nvPr/>
        </p:nvSpPr>
        <p:spPr>
          <a:xfrm>
            <a:off x="1615834" y="2132738"/>
            <a:ext cx="770827" cy="16173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0FA5CE3-F4BA-8C0F-1BC8-EAEF56C70721}"/>
              </a:ext>
            </a:extLst>
          </p:cNvPr>
          <p:cNvSpPr/>
          <p:nvPr/>
        </p:nvSpPr>
        <p:spPr>
          <a:xfrm>
            <a:off x="5200122" y="3332186"/>
            <a:ext cx="863177" cy="22501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전문가 코멘트</a:t>
            </a:r>
          </a:p>
        </p:txBody>
      </p:sp>
    </p:spTree>
    <p:extLst>
      <p:ext uri="{BB962C8B-B14F-4D97-AF65-F5344CB8AC3E}">
        <p14:creationId xmlns:p14="http://schemas.microsoft.com/office/powerpoint/2010/main" val="232548701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92796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628284"/>
              </p:ext>
            </p:extLst>
          </p:nvPr>
        </p:nvGraphicFramePr>
        <p:xfrm>
          <a:off x="9268373" y="747540"/>
          <a:ext cx="2916357" cy="107722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805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830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8803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탭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천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b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61595"/>
                  </a:ext>
                </a:extLst>
              </a:tr>
              <a:tr h="2658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핵심개념 요약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Text Area 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0913443"/>
                  </a:ext>
                </a:extLst>
              </a:tr>
              <a:tr h="2658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M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디터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598244"/>
                  </a:ext>
                </a:extLst>
              </a:tr>
              <a:tr h="2454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장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 사항 저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781801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뉴 관리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뉴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큐레이션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56" name="표 12">
            <a:extLst>
              <a:ext uri="{FF2B5EF4-FFF2-40B4-BE49-F238E27FC236}">
                <a16:creationId xmlns:a16="http://schemas.microsoft.com/office/drawing/2014/main" id="{5F95975E-7DF1-439B-BB88-4163D7B44D48}"/>
              </a:ext>
            </a:extLst>
          </p:cNvPr>
          <p:cNvGraphicFramePr>
            <a:graphicFrameLocks noGrp="1"/>
          </p:cNvGraphicFramePr>
          <p:nvPr/>
        </p:nvGraphicFramePr>
        <p:xfrm>
          <a:off x="2504734" y="1536304"/>
          <a:ext cx="6472017" cy="51367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962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205261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713785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269800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78629">
                <a:tc gridSpan="4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정보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737220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구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4515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번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1002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 대상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8766979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488357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39761"/>
                  </a:ext>
                </a:extLst>
              </a:tr>
              <a:tr h="3134566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201170"/>
                  </a:ext>
                </a:extLst>
              </a:tr>
            </a:tbl>
          </a:graphicData>
        </a:graphic>
      </p:graphicFrame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E3AF41FD-25CD-4F57-9D65-401770E22C4E}"/>
              </a:ext>
            </a:extLst>
          </p:cNvPr>
          <p:cNvSpPr/>
          <p:nvPr/>
        </p:nvSpPr>
        <p:spPr>
          <a:xfrm>
            <a:off x="3431617" y="2139643"/>
            <a:ext cx="1768472" cy="3198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grpSp>
        <p:nvGrpSpPr>
          <p:cNvPr id="158" name="그룹 157">
            <a:extLst>
              <a:ext uri="{FF2B5EF4-FFF2-40B4-BE49-F238E27FC236}">
                <a16:creationId xmlns:a16="http://schemas.microsoft.com/office/drawing/2014/main" id="{3BF52A46-312E-462A-9503-ED25081A613B}"/>
              </a:ext>
            </a:extLst>
          </p:cNvPr>
          <p:cNvGrpSpPr/>
          <p:nvPr/>
        </p:nvGrpSpPr>
        <p:grpSpPr>
          <a:xfrm>
            <a:off x="3372381" y="2834648"/>
            <a:ext cx="3711546" cy="175761"/>
            <a:chOff x="4535523" y="2896789"/>
            <a:chExt cx="3711546" cy="175761"/>
          </a:xfrm>
        </p:grpSpPr>
        <p:grpSp>
          <p:nvGrpSpPr>
            <p:cNvPr id="159" name="그룹 158">
              <a:extLst>
                <a:ext uri="{FF2B5EF4-FFF2-40B4-BE49-F238E27FC236}">
                  <a16:creationId xmlns:a16="http://schemas.microsoft.com/office/drawing/2014/main" id="{26FB6490-60F9-4BA7-B4BB-29083F12B9FF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2" name="그룹 171">
                <a:extLst>
                  <a:ext uri="{FF2B5EF4-FFF2-40B4-BE49-F238E27FC236}">
                    <a16:creationId xmlns:a16="http://schemas.microsoft.com/office/drawing/2014/main" id="{0C932875-16D8-40CB-8244-420BC5CE42B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78" name="직사각형 177">
                  <a:extLst>
                    <a:ext uri="{FF2B5EF4-FFF2-40B4-BE49-F238E27FC236}">
                      <a16:creationId xmlns:a16="http://schemas.microsoft.com/office/drawing/2014/main" id="{5084D078-F3C6-409A-A203-3EBFB76A00E4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9" name="직사각형 178">
                  <a:extLst>
                    <a:ext uri="{FF2B5EF4-FFF2-40B4-BE49-F238E27FC236}">
                      <a16:creationId xmlns:a16="http://schemas.microsoft.com/office/drawing/2014/main" id="{8C0D6BCB-D5F9-4579-BFD4-C1E0F8E3088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80" name="그림 179">
                  <a:extLst>
                    <a:ext uri="{FF2B5EF4-FFF2-40B4-BE49-F238E27FC236}">
                      <a16:creationId xmlns:a16="http://schemas.microsoft.com/office/drawing/2014/main" id="{4CA43B7D-2CB7-4D7B-A729-116BB1AED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3" name="직사각형 172">
                <a:extLst>
                  <a:ext uri="{FF2B5EF4-FFF2-40B4-BE49-F238E27FC236}">
                    <a16:creationId xmlns:a16="http://schemas.microsoft.com/office/drawing/2014/main" id="{8E013F32-7D67-4CBD-9321-185E00C6FAE2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4" name="직사각형 173">
                <a:extLst>
                  <a:ext uri="{FF2B5EF4-FFF2-40B4-BE49-F238E27FC236}">
                    <a16:creationId xmlns:a16="http://schemas.microsoft.com/office/drawing/2014/main" id="{0BD01E49-1337-49BB-B1FB-35919E18FBB1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5" name="직사각형 174">
                <a:extLst>
                  <a:ext uri="{FF2B5EF4-FFF2-40B4-BE49-F238E27FC236}">
                    <a16:creationId xmlns:a16="http://schemas.microsoft.com/office/drawing/2014/main" id="{9E75524E-2E8B-45EA-9440-78878249B42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BE807613-252A-4267-BE59-A56AC71C4CA2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7" name="직사각형 176">
                <a:extLst>
                  <a:ext uri="{FF2B5EF4-FFF2-40B4-BE49-F238E27FC236}">
                    <a16:creationId xmlns:a16="http://schemas.microsoft.com/office/drawing/2014/main" id="{D42CCB93-8122-42E9-A320-A0BFF14992F1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60" name="그룹 159">
              <a:extLst>
                <a:ext uri="{FF2B5EF4-FFF2-40B4-BE49-F238E27FC236}">
                  <a16:creationId xmlns:a16="http://schemas.microsoft.com/office/drawing/2014/main" id="{F045369D-BFE3-4B72-B6A9-40239ECFF60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64" name="그룹 163">
                <a:extLst>
                  <a:ext uri="{FF2B5EF4-FFF2-40B4-BE49-F238E27FC236}">
                    <a16:creationId xmlns:a16="http://schemas.microsoft.com/office/drawing/2014/main" id="{5F3D3D97-8DD5-4E51-AE1A-F5809F22B4A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69" name="직사각형 168">
                  <a:extLst>
                    <a:ext uri="{FF2B5EF4-FFF2-40B4-BE49-F238E27FC236}">
                      <a16:creationId xmlns:a16="http://schemas.microsoft.com/office/drawing/2014/main" id="{1C01D335-E17B-4BBA-81EB-B59340A6884A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0" name="직사각형 169">
                  <a:extLst>
                    <a:ext uri="{FF2B5EF4-FFF2-40B4-BE49-F238E27FC236}">
                      <a16:creationId xmlns:a16="http://schemas.microsoft.com/office/drawing/2014/main" id="{3A1EF9C6-5A69-4D25-BB1B-9EA52DAEFE4F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pic>
              <p:nvPicPr>
                <p:cNvPr id="171" name="그림 170">
                  <a:extLst>
                    <a:ext uri="{FF2B5EF4-FFF2-40B4-BE49-F238E27FC236}">
                      <a16:creationId xmlns:a16="http://schemas.microsoft.com/office/drawing/2014/main" id="{34D22EBD-32AD-4E0C-AEA5-1CF5A1D5ED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FA7F6FAD-529F-4BEF-A815-E6DA259F82C4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1F11FCC0-BDF7-4E9B-B1D3-4559D2B27CB2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7F9FCE39-5403-49F5-A2E3-CEB32C9323D8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AAF6A227-884A-41E8-A05C-DC6A2F4416D8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6D5424BC-CEBD-4A0B-A88E-1A9F3FDE0E72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FDE15947-BAAA-4A39-B39F-43A8129B6400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63" name="그림 162">
              <a:extLst>
                <a:ext uri="{FF2B5EF4-FFF2-40B4-BE49-F238E27FC236}">
                  <a16:creationId xmlns:a16="http://schemas.microsoft.com/office/drawing/2014/main" id="{52B99A8E-CAA2-4643-A6A5-D34C71ABF8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sp>
        <p:nvSpPr>
          <p:cNvPr id="189" name="사각형: 둥근 모서리 188">
            <a:extLst>
              <a:ext uri="{FF2B5EF4-FFF2-40B4-BE49-F238E27FC236}">
                <a16:creationId xmlns:a16="http://schemas.microsoft.com/office/drawing/2014/main" id="{0A76E21B-65A9-4ED6-BD24-5C88ABF8BBA4}"/>
              </a:ext>
            </a:extLst>
          </p:cNvPr>
          <p:cNvSpPr/>
          <p:nvPr/>
        </p:nvSpPr>
        <p:spPr>
          <a:xfrm>
            <a:off x="8279693" y="1589229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91" name="사각형: 둥근 모서리 190">
            <a:extLst>
              <a:ext uri="{FF2B5EF4-FFF2-40B4-BE49-F238E27FC236}">
                <a16:creationId xmlns:a16="http://schemas.microsoft.com/office/drawing/2014/main" id="{5F00F150-2555-4009-B889-4DF9E926D537}"/>
              </a:ext>
            </a:extLst>
          </p:cNvPr>
          <p:cNvSpPr/>
          <p:nvPr/>
        </p:nvSpPr>
        <p:spPr>
          <a:xfrm>
            <a:off x="7568383" y="159091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리보기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6BFDB6B6-BFDE-4F62-80AD-9C794B6B7819}"/>
              </a:ext>
            </a:extLst>
          </p:cNvPr>
          <p:cNvGrpSpPr/>
          <p:nvPr/>
        </p:nvGrpSpPr>
        <p:grpSpPr>
          <a:xfrm>
            <a:off x="2509937" y="3298482"/>
            <a:ext cx="3898853" cy="239652"/>
            <a:chOff x="3863750" y="3213822"/>
            <a:chExt cx="3898853" cy="239652"/>
          </a:xfrm>
        </p:grpSpPr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B47A7E64-D89C-458A-9241-4FE4A7D57DEA}"/>
                </a:ext>
              </a:extLst>
            </p:cNvPr>
            <p:cNvSpPr/>
            <p:nvPr/>
          </p:nvSpPr>
          <p:spPr>
            <a:xfrm>
              <a:off x="5159750" y="3213822"/>
              <a:ext cx="1302307" cy="238147"/>
            </a:xfrm>
            <a:prstGeom prst="rect">
              <a:avLst/>
            </a:prstGeom>
            <a:solidFill>
              <a:srgbClr val="404040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latinLnBrk="1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핵심 개념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5" name="직사각형 184">
              <a:extLst>
                <a:ext uri="{FF2B5EF4-FFF2-40B4-BE49-F238E27FC236}">
                  <a16:creationId xmlns:a16="http://schemas.microsoft.com/office/drawing/2014/main" id="{39228AB4-5956-4E22-B231-795E8B9ECFDB}"/>
                </a:ext>
              </a:extLst>
            </p:cNvPr>
            <p:cNvSpPr/>
            <p:nvPr/>
          </p:nvSpPr>
          <p:spPr>
            <a:xfrm>
              <a:off x="6466603" y="3249031"/>
              <a:ext cx="1296000" cy="2044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제공 서비스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8" name="직사각형 187">
              <a:extLst>
                <a:ext uri="{FF2B5EF4-FFF2-40B4-BE49-F238E27FC236}">
                  <a16:creationId xmlns:a16="http://schemas.microsoft.com/office/drawing/2014/main" id="{76873261-A12B-4D25-A3EF-6B7009749677}"/>
                </a:ext>
              </a:extLst>
            </p:cNvPr>
            <p:cNvSpPr/>
            <p:nvPr/>
          </p:nvSpPr>
          <p:spPr>
            <a:xfrm>
              <a:off x="3863750" y="3256416"/>
              <a:ext cx="1296000" cy="19587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추천 컨텐츠</a:t>
              </a:r>
            </a:p>
          </p:txBody>
        </p:sp>
      </p:grpSp>
      <p:sp>
        <p:nvSpPr>
          <p:cNvPr id="6" name="직사각형 5">
            <a:extLst>
              <a:ext uri="{FF2B5EF4-FFF2-40B4-BE49-F238E27FC236}">
                <a16:creationId xmlns:a16="http://schemas.microsoft.com/office/drawing/2014/main" id="{719054F0-9E12-4519-A280-F6A57444F1E7}"/>
              </a:ext>
            </a:extLst>
          </p:cNvPr>
          <p:cNvSpPr/>
          <p:nvPr/>
        </p:nvSpPr>
        <p:spPr>
          <a:xfrm>
            <a:off x="2586112" y="4962474"/>
            <a:ext cx="6338734" cy="640032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685D4C3-A670-4814-ABC2-8581B79B6D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89743" y="5302158"/>
            <a:ext cx="6338735" cy="281837"/>
          </a:xfrm>
          <a:prstGeom prst="rect">
            <a:avLst/>
          </a:prstGeom>
        </p:spPr>
      </p:pic>
      <p:sp>
        <p:nvSpPr>
          <p:cNvPr id="114" name="사각형: 둥근 모서리 113">
            <a:extLst>
              <a:ext uri="{FF2B5EF4-FFF2-40B4-BE49-F238E27FC236}">
                <a16:creationId xmlns:a16="http://schemas.microsoft.com/office/drawing/2014/main" id="{7C789B94-5AB9-4846-B5D6-4E060116EF52}"/>
              </a:ext>
            </a:extLst>
          </p:cNvPr>
          <p:cNvSpPr/>
          <p:nvPr/>
        </p:nvSpPr>
        <p:spPr>
          <a:xfrm>
            <a:off x="8214845" y="5034644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207" name="사각형: 둥근 모서리 206">
            <a:extLst>
              <a:ext uri="{FF2B5EF4-FFF2-40B4-BE49-F238E27FC236}">
                <a16:creationId xmlns:a16="http://schemas.microsoft.com/office/drawing/2014/main" id="{4EF55A17-B03A-4D75-A457-F71C4BAA09AA}"/>
              </a:ext>
            </a:extLst>
          </p:cNvPr>
          <p:cNvSpPr/>
          <p:nvPr/>
        </p:nvSpPr>
        <p:spPr>
          <a:xfrm>
            <a:off x="8156070" y="500036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9F028DBD-D694-4BE0-80B7-CA492CAD5BB6}"/>
              </a:ext>
            </a:extLst>
          </p:cNvPr>
          <p:cNvSpPr/>
          <p:nvPr/>
        </p:nvSpPr>
        <p:spPr>
          <a:xfrm>
            <a:off x="2495043" y="3617327"/>
            <a:ext cx="1296000" cy="195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핵심개념 요약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C2CDA257-B926-4A0F-AD00-2158E610C37B}"/>
              </a:ext>
            </a:extLst>
          </p:cNvPr>
          <p:cNvSpPr/>
          <p:nvPr/>
        </p:nvSpPr>
        <p:spPr>
          <a:xfrm>
            <a:off x="2579400" y="3831225"/>
            <a:ext cx="6338734" cy="832858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>
              <a:lnSpc>
                <a:spcPct val="130000"/>
              </a:lnSpc>
            </a:pP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 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부터 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서 탄소국경세가 시범 운영되며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2026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년부터 본격적으로 시행됩니다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  <a:b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</a:b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수입되는 철강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알루미늄 등 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 제품군에 대해 탄소국경세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Carbon Border Adjustment Mechanism.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하 “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”)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적용하며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가격은 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 ETS(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탄소배출거래가격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 연동될 예정임에 따라 관련 기업의 대응이 필요할 것으로 보입니다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pPr>
              <a:lnSpc>
                <a:spcPct val="130000"/>
              </a:lnSpc>
            </a:pP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은 온실가스 배출 규제가 느슨한 국가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 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)</a:t>
            </a:r>
            <a:r>
              <a:rPr lang="ko-KR" altLang="en-US" sz="7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사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규제가 엄격한 국가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EU)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물품을 수출할 때 발생하는 가격차이를 보전하기 위해 비용을 부과하는 일종의 무역관 관세입니다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잠정 합의안에 따르면 시범 기간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10.01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～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5.12.31)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에는 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수입되는 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CBAM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상 제품의 온실가스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Greenhouse Gas</a:t>
            </a:r>
            <a:endParaRPr lang="ko-KR" altLang="en-US" sz="7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사각형: 둥근 모서리 96">
            <a:extLst>
              <a:ext uri="{FF2B5EF4-FFF2-40B4-BE49-F238E27FC236}">
                <a16:creationId xmlns:a16="http://schemas.microsoft.com/office/drawing/2014/main" id="{32F3695B-1DC8-474D-AB2D-517B27EBEDC5}"/>
              </a:ext>
            </a:extLst>
          </p:cNvPr>
          <p:cNvSpPr/>
          <p:nvPr/>
        </p:nvSpPr>
        <p:spPr>
          <a:xfrm>
            <a:off x="8225186" y="3614422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8475BA8C-4A7C-44D3-B1F1-4773A044FC2C}"/>
              </a:ext>
            </a:extLst>
          </p:cNvPr>
          <p:cNvSpPr/>
          <p:nvPr/>
        </p:nvSpPr>
        <p:spPr>
          <a:xfrm>
            <a:off x="2509937" y="4757879"/>
            <a:ext cx="1296000" cy="195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핵심개념</a:t>
            </a: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ED708637-9735-442E-866C-E7D3967C9191}"/>
              </a:ext>
            </a:extLst>
          </p:cNvPr>
          <p:cNvSpPr/>
          <p:nvPr/>
        </p:nvSpPr>
        <p:spPr>
          <a:xfrm>
            <a:off x="2579396" y="4953750"/>
            <a:ext cx="6338734" cy="171928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6" name="사각형: 둥근 모서리 205">
            <a:extLst>
              <a:ext uri="{FF2B5EF4-FFF2-40B4-BE49-F238E27FC236}">
                <a16:creationId xmlns:a16="http://schemas.microsoft.com/office/drawing/2014/main" id="{4AB6D8E5-F9A2-44C0-A8B7-9029345840FE}"/>
              </a:ext>
            </a:extLst>
          </p:cNvPr>
          <p:cNvSpPr/>
          <p:nvPr/>
        </p:nvSpPr>
        <p:spPr>
          <a:xfrm>
            <a:off x="2541662" y="37948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0" name="사각형: 둥근 모서리 99">
            <a:extLst>
              <a:ext uri="{FF2B5EF4-FFF2-40B4-BE49-F238E27FC236}">
                <a16:creationId xmlns:a16="http://schemas.microsoft.com/office/drawing/2014/main" id="{170A7456-DC4B-4384-A739-76E5F1D71182}"/>
              </a:ext>
            </a:extLst>
          </p:cNvPr>
          <p:cNvSpPr/>
          <p:nvPr/>
        </p:nvSpPr>
        <p:spPr>
          <a:xfrm>
            <a:off x="2541662" y="49669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6398BDCD-4497-4BCD-90A4-038CA28E0034}"/>
              </a:ext>
            </a:extLst>
          </p:cNvPr>
          <p:cNvSpPr/>
          <p:nvPr/>
        </p:nvSpPr>
        <p:spPr>
          <a:xfrm>
            <a:off x="8148437" y="357136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AADB869B-2E8D-4744-90B6-B3C657411C71}"/>
              </a:ext>
            </a:extLst>
          </p:cNvPr>
          <p:cNvSpPr/>
          <p:nvPr/>
        </p:nvSpPr>
        <p:spPr>
          <a:xfrm>
            <a:off x="2566570" y="3645313"/>
            <a:ext cx="6382768" cy="112213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7.19&gt;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삭제</a:t>
            </a:r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537BF728-B2F0-4ECA-9576-09817A7CD5B2}"/>
              </a:ext>
            </a:extLst>
          </p:cNvPr>
          <p:cNvSpPr/>
          <p:nvPr/>
        </p:nvSpPr>
        <p:spPr>
          <a:xfrm>
            <a:off x="5635226" y="2577042"/>
            <a:ext cx="3314112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8.22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52" name="표 5">
            <a:extLst>
              <a:ext uri="{FF2B5EF4-FFF2-40B4-BE49-F238E27FC236}">
                <a16:creationId xmlns:a16="http://schemas.microsoft.com/office/drawing/2014/main" id="{4421DA07-26CF-4ABF-9887-7D7F57035D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075011"/>
              </p:ext>
            </p:extLst>
          </p:nvPr>
        </p:nvGraphicFramePr>
        <p:xfrm>
          <a:off x="332993" y="1536971"/>
          <a:ext cx="2090599" cy="51323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4000">
                  <a:extLst>
                    <a:ext uri="{9D8B030D-6E8A-4147-A177-3AD203B41FA5}">
                      <a16:colId xmlns:a16="http://schemas.microsoft.com/office/drawing/2014/main" val="255000904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164090594"/>
                    </a:ext>
                  </a:extLst>
                </a:gridCol>
                <a:gridCol w="1082599">
                  <a:extLst>
                    <a:ext uri="{9D8B030D-6E8A-4147-A177-3AD203B41FA5}">
                      <a16:colId xmlns:a16="http://schemas.microsoft.com/office/drawing/2014/main" val="2168184616"/>
                    </a:ext>
                  </a:extLst>
                </a:gridCol>
              </a:tblGrid>
              <a:tr h="287734"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76842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222437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36223550"/>
                  </a:ext>
                </a:extLst>
              </a:tr>
              <a:tr h="74662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67565014"/>
                  </a:ext>
                </a:extLst>
              </a:tr>
              <a:tr h="22389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순서</a:t>
                      </a:r>
                      <a:endParaRPr lang="ko-KR" altLang="en-US" dirty="0"/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58072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344476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1613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 전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43913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 경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9656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12337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3104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 제품 및 기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95673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 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5119137"/>
                  </a:ext>
                </a:extLst>
              </a:tr>
              <a:tr h="36000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추가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2469197"/>
                  </a:ext>
                </a:extLst>
              </a:tr>
              <a:tr h="106866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389703"/>
                  </a:ext>
                </a:extLst>
              </a:tr>
            </a:tbl>
          </a:graphicData>
        </a:graphic>
      </p:graphicFrame>
      <p:grpSp>
        <p:nvGrpSpPr>
          <p:cNvPr id="153" name="그룹 152">
            <a:extLst>
              <a:ext uri="{FF2B5EF4-FFF2-40B4-BE49-F238E27FC236}">
                <a16:creationId xmlns:a16="http://schemas.microsoft.com/office/drawing/2014/main" id="{A89E8387-ED76-4588-B358-8BCAF1E729D5}"/>
              </a:ext>
            </a:extLst>
          </p:cNvPr>
          <p:cNvGrpSpPr/>
          <p:nvPr/>
        </p:nvGrpSpPr>
        <p:grpSpPr>
          <a:xfrm>
            <a:off x="945325" y="1857055"/>
            <a:ext cx="1406259" cy="173836"/>
            <a:chOff x="1510348" y="1778319"/>
            <a:chExt cx="1406259" cy="173836"/>
          </a:xfrm>
        </p:grpSpPr>
        <p:sp>
          <p:nvSpPr>
            <p:cNvPr id="154" name="직사각형 153">
              <a:extLst>
                <a:ext uri="{FF2B5EF4-FFF2-40B4-BE49-F238E27FC236}">
                  <a16:creationId xmlns:a16="http://schemas.microsoft.com/office/drawing/2014/main" id="{71F6FEB4-6C0E-4E8A-9405-0B03A253F24F}"/>
                </a:ext>
              </a:extLst>
            </p:cNvPr>
            <p:cNvSpPr/>
            <p:nvPr/>
          </p:nvSpPr>
          <p:spPr>
            <a:xfrm>
              <a:off x="1510348" y="1778319"/>
              <a:ext cx="119023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155" name="직사각형 154">
              <a:extLst>
                <a:ext uri="{FF2B5EF4-FFF2-40B4-BE49-F238E27FC236}">
                  <a16:creationId xmlns:a16="http://schemas.microsoft.com/office/drawing/2014/main" id="{F65D4BF7-4708-49CA-A9E5-10B0EA680338}"/>
                </a:ext>
              </a:extLst>
            </p:cNvPr>
            <p:cNvSpPr/>
            <p:nvPr/>
          </p:nvSpPr>
          <p:spPr>
            <a:xfrm>
              <a:off x="2700583" y="1778319"/>
              <a:ext cx="216024" cy="173836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81" name="그룹 180">
            <a:extLst>
              <a:ext uri="{FF2B5EF4-FFF2-40B4-BE49-F238E27FC236}">
                <a16:creationId xmlns:a16="http://schemas.microsoft.com/office/drawing/2014/main" id="{BB482F5D-5DEC-41B3-B40B-DA736EF4B740}"/>
              </a:ext>
            </a:extLst>
          </p:cNvPr>
          <p:cNvGrpSpPr/>
          <p:nvPr/>
        </p:nvGrpSpPr>
        <p:grpSpPr>
          <a:xfrm>
            <a:off x="944720" y="2132023"/>
            <a:ext cx="663415" cy="172800"/>
            <a:chOff x="1510349" y="1778319"/>
            <a:chExt cx="663415" cy="172800"/>
          </a:xfrm>
        </p:grpSpPr>
        <p:sp>
          <p:nvSpPr>
            <p:cNvPr id="182" name="직사각형 181">
              <a:extLst>
                <a:ext uri="{FF2B5EF4-FFF2-40B4-BE49-F238E27FC236}">
                  <a16:creationId xmlns:a16="http://schemas.microsoft.com/office/drawing/2014/main" id="{B04F30C6-A530-49E0-BC38-792BF732F510}"/>
                </a:ext>
              </a:extLst>
            </p:cNvPr>
            <p:cNvSpPr/>
            <p:nvPr/>
          </p:nvSpPr>
          <p:spPr>
            <a:xfrm>
              <a:off x="1510349" y="1778319"/>
              <a:ext cx="44739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3" name="직사각형 182">
              <a:extLst>
                <a:ext uri="{FF2B5EF4-FFF2-40B4-BE49-F238E27FC236}">
                  <a16:creationId xmlns:a16="http://schemas.microsoft.com/office/drawing/2014/main" id="{B9711F20-90E2-42D8-81E9-419C22049786}"/>
                </a:ext>
              </a:extLst>
            </p:cNvPr>
            <p:cNvSpPr/>
            <p:nvPr/>
          </p:nvSpPr>
          <p:spPr>
            <a:xfrm>
              <a:off x="1957740" y="1778319"/>
              <a:ext cx="21602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86" name="직사각형 185">
            <a:extLst>
              <a:ext uri="{FF2B5EF4-FFF2-40B4-BE49-F238E27FC236}">
                <a16:creationId xmlns:a16="http://schemas.microsoft.com/office/drawing/2014/main" id="{00DF6EA0-3329-4D86-94F2-5AE61DCDA44F}"/>
              </a:ext>
            </a:extLst>
          </p:cNvPr>
          <p:cNvSpPr/>
          <p:nvPr/>
        </p:nvSpPr>
        <p:spPr>
          <a:xfrm>
            <a:off x="1764037" y="2146875"/>
            <a:ext cx="587547" cy="144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spc="-5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시 중</a:t>
            </a:r>
            <a:endParaRPr lang="ko-KR" altLang="en-US" sz="8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7" name="사각형: 둥근 모서리 186">
            <a:extLst>
              <a:ext uri="{FF2B5EF4-FFF2-40B4-BE49-F238E27FC236}">
                <a16:creationId xmlns:a16="http://schemas.microsoft.com/office/drawing/2014/main" id="{5E2CE3F3-F4D9-4F0F-8E59-5FBB06009E31}"/>
              </a:ext>
            </a:extLst>
          </p:cNvPr>
          <p:cNvSpPr/>
          <p:nvPr/>
        </p:nvSpPr>
        <p:spPr>
          <a:xfrm>
            <a:off x="1682896" y="2146875"/>
            <a:ext cx="139353" cy="1393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90" name="그림 189">
            <a:extLst>
              <a:ext uri="{FF2B5EF4-FFF2-40B4-BE49-F238E27FC236}">
                <a16:creationId xmlns:a16="http://schemas.microsoft.com/office/drawing/2014/main" id="{6C90BF4B-A81C-45BD-B10D-A95E8A5857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08459" y="2180737"/>
            <a:ext cx="81910" cy="81910"/>
          </a:xfrm>
          <a:prstGeom prst="rect">
            <a:avLst/>
          </a:prstGeom>
        </p:spPr>
      </p:pic>
      <p:grpSp>
        <p:nvGrpSpPr>
          <p:cNvPr id="192" name="그룹 191">
            <a:extLst>
              <a:ext uri="{FF2B5EF4-FFF2-40B4-BE49-F238E27FC236}">
                <a16:creationId xmlns:a16="http://schemas.microsoft.com/office/drawing/2014/main" id="{0CFFB9CC-A77E-40BE-9D3B-EA9858E2217A}"/>
              </a:ext>
            </a:extLst>
          </p:cNvPr>
          <p:cNvGrpSpPr/>
          <p:nvPr/>
        </p:nvGrpSpPr>
        <p:grpSpPr>
          <a:xfrm>
            <a:off x="515206" y="2743591"/>
            <a:ext cx="139353" cy="139353"/>
            <a:chOff x="1996996" y="2755568"/>
            <a:chExt cx="139353" cy="139353"/>
          </a:xfrm>
        </p:grpSpPr>
        <p:sp>
          <p:nvSpPr>
            <p:cNvPr id="193" name="사각형: 둥근 모서리 192">
              <a:extLst>
                <a:ext uri="{FF2B5EF4-FFF2-40B4-BE49-F238E27FC236}">
                  <a16:creationId xmlns:a16="http://schemas.microsoft.com/office/drawing/2014/main" id="{3138FE9A-F965-4B00-B064-4E37E6C78ABD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94" name="그림 193">
              <a:extLst>
                <a:ext uri="{FF2B5EF4-FFF2-40B4-BE49-F238E27FC236}">
                  <a16:creationId xmlns:a16="http://schemas.microsoft.com/office/drawing/2014/main" id="{3B56AE69-4C82-433A-A8CE-277FFBE3C5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95" name="그룹 194">
            <a:extLst>
              <a:ext uri="{FF2B5EF4-FFF2-40B4-BE49-F238E27FC236}">
                <a16:creationId xmlns:a16="http://schemas.microsoft.com/office/drawing/2014/main" id="{973264A0-947E-4758-A435-A585A20526AA}"/>
              </a:ext>
            </a:extLst>
          </p:cNvPr>
          <p:cNvGrpSpPr/>
          <p:nvPr/>
        </p:nvGrpSpPr>
        <p:grpSpPr>
          <a:xfrm>
            <a:off x="515206" y="3065998"/>
            <a:ext cx="139353" cy="139353"/>
            <a:chOff x="1996996" y="2755568"/>
            <a:chExt cx="139353" cy="139353"/>
          </a:xfrm>
        </p:grpSpPr>
        <p:sp>
          <p:nvSpPr>
            <p:cNvPr id="196" name="사각형: 둥근 모서리 195">
              <a:extLst>
                <a:ext uri="{FF2B5EF4-FFF2-40B4-BE49-F238E27FC236}">
                  <a16:creationId xmlns:a16="http://schemas.microsoft.com/office/drawing/2014/main" id="{7FA7F2C9-8289-4314-AF2F-D06A24DB3ED2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97" name="그림 196">
              <a:extLst>
                <a:ext uri="{FF2B5EF4-FFF2-40B4-BE49-F238E27FC236}">
                  <a16:creationId xmlns:a16="http://schemas.microsoft.com/office/drawing/2014/main" id="{7D12BC4F-86E2-42FB-8A3B-3D7F8BF703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98" name="그룹 197">
            <a:extLst>
              <a:ext uri="{FF2B5EF4-FFF2-40B4-BE49-F238E27FC236}">
                <a16:creationId xmlns:a16="http://schemas.microsoft.com/office/drawing/2014/main" id="{F9A011E3-C8C5-4A99-85DE-FD56622218E4}"/>
              </a:ext>
            </a:extLst>
          </p:cNvPr>
          <p:cNvGrpSpPr/>
          <p:nvPr/>
        </p:nvGrpSpPr>
        <p:grpSpPr>
          <a:xfrm>
            <a:off x="515206" y="3386112"/>
            <a:ext cx="139353" cy="139353"/>
            <a:chOff x="1996996" y="2755568"/>
            <a:chExt cx="139353" cy="139353"/>
          </a:xfrm>
        </p:grpSpPr>
        <p:sp>
          <p:nvSpPr>
            <p:cNvPr id="199" name="사각형: 둥근 모서리 198">
              <a:extLst>
                <a:ext uri="{FF2B5EF4-FFF2-40B4-BE49-F238E27FC236}">
                  <a16:creationId xmlns:a16="http://schemas.microsoft.com/office/drawing/2014/main" id="{2F02A523-5262-471B-B47D-6ED93D9B9464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00" name="그림 199">
              <a:extLst>
                <a:ext uri="{FF2B5EF4-FFF2-40B4-BE49-F238E27FC236}">
                  <a16:creationId xmlns:a16="http://schemas.microsoft.com/office/drawing/2014/main" id="{21005B2F-4A85-4FAA-926D-F1ECAF675A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201" name="그룹 200">
            <a:extLst>
              <a:ext uri="{FF2B5EF4-FFF2-40B4-BE49-F238E27FC236}">
                <a16:creationId xmlns:a16="http://schemas.microsoft.com/office/drawing/2014/main" id="{2638384E-C27C-46EA-B1F6-B66E73FE88CD}"/>
              </a:ext>
            </a:extLst>
          </p:cNvPr>
          <p:cNvGrpSpPr/>
          <p:nvPr/>
        </p:nvGrpSpPr>
        <p:grpSpPr>
          <a:xfrm>
            <a:off x="515206" y="3706226"/>
            <a:ext cx="139353" cy="139353"/>
            <a:chOff x="1996996" y="2755568"/>
            <a:chExt cx="139353" cy="139353"/>
          </a:xfrm>
        </p:grpSpPr>
        <p:sp>
          <p:nvSpPr>
            <p:cNvPr id="202" name="사각형: 둥근 모서리 201">
              <a:extLst>
                <a:ext uri="{FF2B5EF4-FFF2-40B4-BE49-F238E27FC236}">
                  <a16:creationId xmlns:a16="http://schemas.microsoft.com/office/drawing/2014/main" id="{ABE10368-54DA-42BD-A84D-4D9ADB1E395E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03" name="그림 202">
              <a:extLst>
                <a:ext uri="{FF2B5EF4-FFF2-40B4-BE49-F238E27FC236}">
                  <a16:creationId xmlns:a16="http://schemas.microsoft.com/office/drawing/2014/main" id="{0B52F70F-67E4-48DD-8578-F40304377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204" name="그룹 203">
            <a:extLst>
              <a:ext uri="{FF2B5EF4-FFF2-40B4-BE49-F238E27FC236}">
                <a16:creationId xmlns:a16="http://schemas.microsoft.com/office/drawing/2014/main" id="{B3AB2B43-DA4D-425B-9DF2-B95E920F463D}"/>
              </a:ext>
            </a:extLst>
          </p:cNvPr>
          <p:cNvGrpSpPr/>
          <p:nvPr/>
        </p:nvGrpSpPr>
        <p:grpSpPr>
          <a:xfrm>
            <a:off x="515206" y="4026340"/>
            <a:ext cx="139353" cy="139353"/>
            <a:chOff x="1996996" y="2755568"/>
            <a:chExt cx="139353" cy="139353"/>
          </a:xfrm>
        </p:grpSpPr>
        <p:sp>
          <p:nvSpPr>
            <p:cNvPr id="205" name="사각형: 둥근 모서리 204">
              <a:extLst>
                <a:ext uri="{FF2B5EF4-FFF2-40B4-BE49-F238E27FC236}">
                  <a16:creationId xmlns:a16="http://schemas.microsoft.com/office/drawing/2014/main" id="{B190BB96-E18B-4F33-9E94-A632AFF25A09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08" name="그림 207">
              <a:extLst>
                <a:ext uri="{FF2B5EF4-FFF2-40B4-BE49-F238E27FC236}">
                  <a16:creationId xmlns:a16="http://schemas.microsoft.com/office/drawing/2014/main" id="{6488D9B3-8AE1-4FC4-859A-1DE0E7B8C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209" name="그룹 208">
            <a:extLst>
              <a:ext uri="{FF2B5EF4-FFF2-40B4-BE49-F238E27FC236}">
                <a16:creationId xmlns:a16="http://schemas.microsoft.com/office/drawing/2014/main" id="{2CDE91A8-FB05-4234-BD65-599522A31E41}"/>
              </a:ext>
            </a:extLst>
          </p:cNvPr>
          <p:cNvGrpSpPr/>
          <p:nvPr/>
        </p:nvGrpSpPr>
        <p:grpSpPr>
          <a:xfrm>
            <a:off x="515206" y="4346454"/>
            <a:ext cx="139353" cy="139353"/>
            <a:chOff x="1996996" y="2755568"/>
            <a:chExt cx="139353" cy="139353"/>
          </a:xfrm>
        </p:grpSpPr>
        <p:sp>
          <p:nvSpPr>
            <p:cNvPr id="210" name="사각형: 둥근 모서리 209">
              <a:extLst>
                <a:ext uri="{FF2B5EF4-FFF2-40B4-BE49-F238E27FC236}">
                  <a16:creationId xmlns:a16="http://schemas.microsoft.com/office/drawing/2014/main" id="{F9BA5061-B05F-45EA-B917-8C54FA67260F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11" name="그림 210">
              <a:extLst>
                <a:ext uri="{FF2B5EF4-FFF2-40B4-BE49-F238E27FC236}">
                  <a16:creationId xmlns:a16="http://schemas.microsoft.com/office/drawing/2014/main" id="{A74C753A-66A8-4E40-AC8E-CFE086813F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212" name="그룹 211">
            <a:extLst>
              <a:ext uri="{FF2B5EF4-FFF2-40B4-BE49-F238E27FC236}">
                <a16:creationId xmlns:a16="http://schemas.microsoft.com/office/drawing/2014/main" id="{E822AE76-DE67-48B9-BE9D-D1C9437E69F3}"/>
              </a:ext>
            </a:extLst>
          </p:cNvPr>
          <p:cNvGrpSpPr/>
          <p:nvPr/>
        </p:nvGrpSpPr>
        <p:grpSpPr>
          <a:xfrm>
            <a:off x="515206" y="4659873"/>
            <a:ext cx="139353" cy="139353"/>
            <a:chOff x="521524" y="4866824"/>
            <a:chExt cx="139353" cy="139353"/>
          </a:xfrm>
        </p:grpSpPr>
        <p:sp>
          <p:nvSpPr>
            <p:cNvPr id="213" name="사각형: 둥근 모서리 212">
              <a:extLst>
                <a:ext uri="{FF2B5EF4-FFF2-40B4-BE49-F238E27FC236}">
                  <a16:creationId xmlns:a16="http://schemas.microsoft.com/office/drawing/2014/main" id="{F8CA5A36-CE37-41EC-A095-063151551482}"/>
                </a:ext>
              </a:extLst>
            </p:cNvPr>
            <p:cNvSpPr/>
            <p:nvPr/>
          </p:nvSpPr>
          <p:spPr>
            <a:xfrm>
              <a:off x="521524" y="4866824"/>
              <a:ext cx="139353" cy="13935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14" name="그림 213">
              <a:extLst>
                <a:ext uri="{FF2B5EF4-FFF2-40B4-BE49-F238E27FC236}">
                  <a16:creationId xmlns:a16="http://schemas.microsoft.com/office/drawing/2014/main" id="{DE271FAC-FD7D-429F-A012-858545243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7087" y="4900686"/>
              <a:ext cx="81910" cy="81910"/>
            </a:xfrm>
            <a:prstGeom prst="rect">
              <a:avLst/>
            </a:prstGeom>
          </p:spPr>
        </p:pic>
      </p:grpSp>
      <p:sp>
        <p:nvSpPr>
          <p:cNvPr id="215" name="직사각형 214">
            <a:extLst>
              <a:ext uri="{FF2B5EF4-FFF2-40B4-BE49-F238E27FC236}">
                <a16:creationId xmlns:a16="http://schemas.microsoft.com/office/drawing/2014/main" id="{ED2772BF-0497-44C8-837D-8CF0711CA67F}"/>
              </a:ext>
            </a:extLst>
          </p:cNvPr>
          <p:cNvSpPr/>
          <p:nvPr/>
        </p:nvSpPr>
        <p:spPr>
          <a:xfrm>
            <a:off x="964843" y="27435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6" name="직사각형 215">
            <a:extLst>
              <a:ext uri="{FF2B5EF4-FFF2-40B4-BE49-F238E27FC236}">
                <a16:creationId xmlns:a16="http://schemas.microsoft.com/office/drawing/2014/main" id="{DEEAD98B-3E3A-4155-89CC-0FEF3398B859}"/>
              </a:ext>
            </a:extLst>
          </p:cNvPr>
          <p:cNvSpPr/>
          <p:nvPr/>
        </p:nvSpPr>
        <p:spPr>
          <a:xfrm>
            <a:off x="964843" y="3062971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6FB2F96B-801D-4E12-86FC-8680E60D44DC}"/>
              </a:ext>
            </a:extLst>
          </p:cNvPr>
          <p:cNvSpPr/>
          <p:nvPr/>
        </p:nvSpPr>
        <p:spPr>
          <a:xfrm>
            <a:off x="964843" y="338235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8" name="직사각형 217">
            <a:extLst>
              <a:ext uri="{FF2B5EF4-FFF2-40B4-BE49-F238E27FC236}">
                <a16:creationId xmlns:a16="http://schemas.microsoft.com/office/drawing/2014/main" id="{69F13665-F597-4D7B-BB68-023C881F48EE}"/>
              </a:ext>
            </a:extLst>
          </p:cNvPr>
          <p:cNvSpPr/>
          <p:nvPr/>
        </p:nvSpPr>
        <p:spPr>
          <a:xfrm>
            <a:off x="964843" y="370173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6113038F-156B-423C-A7B5-353313D2AB19}"/>
              </a:ext>
            </a:extLst>
          </p:cNvPr>
          <p:cNvSpPr/>
          <p:nvPr/>
        </p:nvSpPr>
        <p:spPr>
          <a:xfrm>
            <a:off x="964843" y="402111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0" name="직사각형 219">
            <a:extLst>
              <a:ext uri="{FF2B5EF4-FFF2-40B4-BE49-F238E27FC236}">
                <a16:creationId xmlns:a16="http://schemas.microsoft.com/office/drawing/2014/main" id="{3B0D5EFC-CBF3-40D7-9CB7-6C3562F77E5E}"/>
              </a:ext>
            </a:extLst>
          </p:cNvPr>
          <p:cNvSpPr/>
          <p:nvPr/>
        </p:nvSpPr>
        <p:spPr>
          <a:xfrm>
            <a:off x="964843" y="43404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1" name="직사각형 220">
            <a:extLst>
              <a:ext uri="{FF2B5EF4-FFF2-40B4-BE49-F238E27FC236}">
                <a16:creationId xmlns:a16="http://schemas.microsoft.com/office/drawing/2014/main" id="{14BA3FA7-2D04-4339-9111-31AA24B5EA8F}"/>
              </a:ext>
            </a:extLst>
          </p:cNvPr>
          <p:cNvSpPr/>
          <p:nvPr/>
        </p:nvSpPr>
        <p:spPr>
          <a:xfrm>
            <a:off x="958525" y="4659873"/>
            <a:ext cx="2659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22" name="그룹 221">
            <a:extLst>
              <a:ext uri="{FF2B5EF4-FFF2-40B4-BE49-F238E27FC236}">
                <a16:creationId xmlns:a16="http://schemas.microsoft.com/office/drawing/2014/main" id="{BF099828-56DF-41AC-9C25-9EA01B67517A}"/>
              </a:ext>
            </a:extLst>
          </p:cNvPr>
          <p:cNvGrpSpPr/>
          <p:nvPr/>
        </p:nvGrpSpPr>
        <p:grpSpPr>
          <a:xfrm>
            <a:off x="518365" y="5037448"/>
            <a:ext cx="139353" cy="139353"/>
            <a:chOff x="1996996" y="2755568"/>
            <a:chExt cx="139353" cy="139353"/>
          </a:xfrm>
        </p:grpSpPr>
        <p:sp>
          <p:nvSpPr>
            <p:cNvPr id="249" name="사각형: 둥근 모서리 248">
              <a:extLst>
                <a:ext uri="{FF2B5EF4-FFF2-40B4-BE49-F238E27FC236}">
                  <a16:creationId xmlns:a16="http://schemas.microsoft.com/office/drawing/2014/main" id="{B1AF9007-A218-4E7A-8712-D901852CD8CD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52" name="그림 251">
              <a:extLst>
                <a:ext uri="{FF2B5EF4-FFF2-40B4-BE49-F238E27FC236}">
                  <a16:creationId xmlns:a16="http://schemas.microsoft.com/office/drawing/2014/main" id="{431DA5E0-4325-49E0-BB1E-1AF3D999D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254" name="직사각형 253">
            <a:extLst>
              <a:ext uri="{FF2B5EF4-FFF2-40B4-BE49-F238E27FC236}">
                <a16:creationId xmlns:a16="http://schemas.microsoft.com/office/drawing/2014/main" id="{663897B6-D16D-49F4-B5D6-8F3A2225B12E}"/>
              </a:ext>
            </a:extLst>
          </p:cNvPr>
          <p:cNvSpPr/>
          <p:nvPr/>
        </p:nvSpPr>
        <p:spPr>
          <a:xfrm>
            <a:off x="964843" y="5022035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62" name="직사각형 261">
            <a:extLst>
              <a:ext uri="{FF2B5EF4-FFF2-40B4-BE49-F238E27FC236}">
                <a16:creationId xmlns:a16="http://schemas.microsoft.com/office/drawing/2014/main" id="{4E0F934C-E073-426B-9151-632168BC5204}"/>
              </a:ext>
            </a:extLst>
          </p:cNvPr>
          <p:cNvSpPr/>
          <p:nvPr/>
        </p:nvSpPr>
        <p:spPr>
          <a:xfrm>
            <a:off x="8973779" y="0"/>
            <a:ext cx="3218221" cy="83671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7.19&gt;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endParaRPr lang="en-US" altLang="ko-KR" sz="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 latinLnBrk="1">
              <a:spcBef>
                <a:spcPts val="600"/>
              </a:spcBef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1]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핵심개념 요약 영역 삭제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	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B3BE371A-1DB1-40EF-81B6-60713D7D7F7D}"/>
              </a:ext>
            </a:extLst>
          </p:cNvPr>
          <p:cNvSpPr/>
          <p:nvPr/>
        </p:nvSpPr>
        <p:spPr>
          <a:xfrm>
            <a:off x="2584895" y="2584507"/>
            <a:ext cx="2908287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B410E17D-FE84-4638-A6EE-D8B65E93C0D7}"/>
              </a:ext>
            </a:extLst>
          </p:cNvPr>
          <p:cNvSpPr/>
          <p:nvPr/>
        </p:nvSpPr>
        <p:spPr>
          <a:xfrm>
            <a:off x="1392111" y="2737459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BFE1E4C8-560F-4786-839D-852D2C7F3292}"/>
              </a:ext>
            </a:extLst>
          </p:cNvPr>
          <p:cNvSpPr/>
          <p:nvPr/>
        </p:nvSpPr>
        <p:spPr>
          <a:xfrm>
            <a:off x="1392111" y="30544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E43A2780-DAA4-4E80-824E-053FB5AA603C}"/>
              </a:ext>
            </a:extLst>
          </p:cNvPr>
          <p:cNvSpPr/>
          <p:nvPr/>
        </p:nvSpPr>
        <p:spPr>
          <a:xfrm>
            <a:off x="1392111" y="33759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D40B4FDF-A0D3-4D66-B14B-AB142E834A63}"/>
              </a:ext>
            </a:extLst>
          </p:cNvPr>
          <p:cNvSpPr/>
          <p:nvPr/>
        </p:nvSpPr>
        <p:spPr>
          <a:xfrm>
            <a:off x="1388800" y="3701731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1742B907-AE57-434B-9047-49EDA0830BBF}"/>
              </a:ext>
            </a:extLst>
          </p:cNvPr>
          <p:cNvSpPr/>
          <p:nvPr/>
        </p:nvSpPr>
        <p:spPr>
          <a:xfrm>
            <a:off x="1386426" y="4021722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46D9FF3A-389B-4582-8D41-576FF1DA02BD}"/>
              </a:ext>
            </a:extLst>
          </p:cNvPr>
          <p:cNvSpPr/>
          <p:nvPr/>
        </p:nvSpPr>
        <p:spPr>
          <a:xfrm>
            <a:off x="1386426" y="4335550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ED4149EC-9EB0-4814-ACF6-947CE28BC06B}"/>
              </a:ext>
            </a:extLst>
          </p:cNvPr>
          <p:cNvSpPr/>
          <p:nvPr/>
        </p:nvSpPr>
        <p:spPr>
          <a:xfrm>
            <a:off x="1381278" y="4662028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6606A384-EB97-4C65-8EE3-4E5C9034FAF6}"/>
              </a:ext>
            </a:extLst>
          </p:cNvPr>
          <p:cNvSpPr/>
          <p:nvPr/>
        </p:nvSpPr>
        <p:spPr>
          <a:xfrm>
            <a:off x="1392111" y="4992768"/>
            <a:ext cx="98129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F4042C0F-78AB-4F85-8DB8-46A9ACBF1146}"/>
              </a:ext>
            </a:extLst>
          </p:cNvPr>
          <p:cNvSpPr/>
          <p:nvPr/>
        </p:nvSpPr>
        <p:spPr>
          <a:xfrm>
            <a:off x="1615834" y="2132738"/>
            <a:ext cx="770827" cy="16173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7E7FF23-E236-19AA-054C-41638F6921E0}"/>
              </a:ext>
            </a:extLst>
          </p:cNvPr>
          <p:cNvSpPr/>
          <p:nvPr/>
        </p:nvSpPr>
        <p:spPr>
          <a:xfrm>
            <a:off x="5200122" y="3332186"/>
            <a:ext cx="863177" cy="22501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전문가 코멘트</a:t>
            </a:r>
          </a:p>
        </p:txBody>
      </p:sp>
    </p:spTree>
    <p:extLst>
      <p:ext uri="{BB962C8B-B14F-4D97-AF65-F5344CB8AC3E}">
        <p14:creationId xmlns:p14="http://schemas.microsoft.com/office/powerpoint/2010/main" val="172802126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961494"/>
              </p:ext>
            </p:extLst>
          </p:nvPr>
        </p:nvGraphicFramePr>
        <p:xfrm>
          <a:off x="1" y="476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2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문가 코멘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05151"/>
              </p:ext>
            </p:extLst>
          </p:nvPr>
        </p:nvGraphicFramePr>
        <p:xfrm>
          <a:off x="9284004" y="764704"/>
          <a:ext cx="2916357" cy="133324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805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830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7908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서비스 탭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천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b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61595"/>
                  </a:ext>
                </a:extLst>
              </a:tr>
              <a:tr h="2658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서비스 요약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Text Area </a:t>
                      </a: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598244"/>
                  </a:ext>
                </a:extLst>
              </a:tr>
              <a:tr h="2454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제공 서비스 전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Text Are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내용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내용 행 추가 기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제목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N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 상세 매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 추가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781801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뉴 관리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뉴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큐레이션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56" name="표 12">
            <a:extLst>
              <a:ext uri="{FF2B5EF4-FFF2-40B4-BE49-F238E27FC236}">
                <a16:creationId xmlns:a16="http://schemas.microsoft.com/office/drawing/2014/main" id="{5F95975E-7DF1-439B-BB88-4163D7B44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7853412"/>
              </p:ext>
            </p:extLst>
          </p:nvPr>
        </p:nvGraphicFramePr>
        <p:xfrm>
          <a:off x="2504734" y="1536304"/>
          <a:ext cx="6472017" cy="51367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962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205261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713785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269800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78629">
                <a:tc gridSpan="4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정보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737220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구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4515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번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1002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 대상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8766979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488357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39761"/>
                  </a:ext>
                </a:extLst>
              </a:tr>
              <a:tr h="3134566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201170"/>
                  </a:ext>
                </a:extLst>
              </a:tr>
            </a:tbl>
          </a:graphicData>
        </a:graphic>
      </p:graphicFrame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E3AF41FD-25CD-4F57-9D65-401770E22C4E}"/>
              </a:ext>
            </a:extLst>
          </p:cNvPr>
          <p:cNvSpPr/>
          <p:nvPr/>
        </p:nvSpPr>
        <p:spPr>
          <a:xfrm>
            <a:off x="3431617" y="2139643"/>
            <a:ext cx="1768472" cy="3198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grpSp>
        <p:nvGrpSpPr>
          <p:cNvPr id="158" name="그룹 157">
            <a:extLst>
              <a:ext uri="{FF2B5EF4-FFF2-40B4-BE49-F238E27FC236}">
                <a16:creationId xmlns:a16="http://schemas.microsoft.com/office/drawing/2014/main" id="{3BF52A46-312E-462A-9503-ED25081A613B}"/>
              </a:ext>
            </a:extLst>
          </p:cNvPr>
          <p:cNvGrpSpPr/>
          <p:nvPr/>
        </p:nvGrpSpPr>
        <p:grpSpPr>
          <a:xfrm>
            <a:off x="3372381" y="2834648"/>
            <a:ext cx="3711546" cy="175761"/>
            <a:chOff x="4535523" y="2896789"/>
            <a:chExt cx="3711546" cy="175761"/>
          </a:xfrm>
        </p:grpSpPr>
        <p:grpSp>
          <p:nvGrpSpPr>
            <p:cNvPr id="159" name="그룹 158">
              <a:extLst>
                <a:ext uri="{FF2B5EF4-FFF2-40B4-BE49-F238E27FC236}">
                  <a16:creationId xmlns:a16="http://schemas.microsoft.com/office/drawing/2014/main" id="{26FB6490-60F9-4BA7-B4BB-29083F12B9FF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2" name="그룹 171">
                <a:extLst>
                  <a:ext uri="{FF2B5EF4-FFF2-40B4-BE49-F238E27FC236}">
                    <a16:creationId xmlns:a16="http://schemas.microsoft.com/office/drawing/2014/main" id="{0C932875-16D8-40CB-8244-420BC5CE42B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78" name="직사각형 177">
                  <a:extLst>
                    <a:ext uri="{FF2B5EF4-FFF2-40B4-BE49-F238E27FC236}">
                      <a16:creationId xmlns:a16="http://schemas.microsoft.com/office/drawing/2014/main" id="{5084D078-F3C6-409A-A203-3EBFB76A00E4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9" name="직사각형 178">
                  <a:extLst>
                    <a:ext uri="{FF2B5EF4-FFF2-40B4-BE49-F238E27FC236}">
                      <a16:creationId xmlns:a16="http://schemas.microsoft.com/office/drawing/2014/main" id="{8C0D6BCB-D5F9-4579-BFD4-C1E0F8E3088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80" name="그림 179">
                  <a:extLst>
                    <a:ext uri="{FF2B5EF4-FFF2-40B4-BE49-F238E27FC236}">
                      <a16:creationId xmlns:a16="http://schemas.microsoft.com/office/drawing/2014/main" id="{4CA43B7D-2CB7-4D7B-A729-116BB1AED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3" name="직사각형 172">
                <a:extLst>
                  <a:ext uri="{FF2B5EF4-FFF2-40B4-BE49-F238E27FC236}">
                    <a16:creationId xmlns:a16="http://schemas.microsoft.com/office/drawing/2014/main" id="{8E013F32-7D67-4CBD-9321-185E00C6FAE2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4" name="직사각형 173">
                <a:extLst>
                  <a:ext uri="{FF2B5EF4-FFF2-40B4-BE49-F238E27FC236}">
                    <a16:creationId xmlns:a16="http://schemas.microsoft.com/office/drawing/2014/main" id="{0BD01E49-1337-49BB-B1FB-35919E18FBB1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5" name="직사각형 174">
                <a:extLst>
                  <a:ext uri="{FF2B5EF4-FFF2-40B4-BE49-F238E27FC236}">
                    <a16:creationId xmlns:a16="http://schemas.microsoft.com/office/drawing/2014/main" id="{9E75524E-2E8B-45EA-9440-78878249B42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BE807613-252A-4267-BE59-A56AC71C4CA2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7" name="직사각형 176">
                <a:extLst>
                  <a:ext uri="{FF2B5EF4-FFF2-40B4-BE49-F238E27FC236}">
                    <a16:creationId xmlns:a16="http://schemas.microsoft.com/office/drawing/2014/main" id="{D42CCB93-8122-42E9-A320-A0BFF14992F1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60" name="그룹 159">
              <a:extLst>
                <a:ext uri="{FF2B5EF4-FFF2-40B4-BE49-F238E27FC236}">
                  <a16:creationId xmlns:a16="http://schemas.microsoft.com/office/drawing/2014/main" id="{F045369D-BFE3-4B72-B6A9-40239ECFF60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64" name="그룹 163">
                <a:extLst>
                  <a:ext uri="{FF2B5EF4-FFF2-40B4-BE49-F238E27FC236}">
                    <a16:creationId xmlns:a16="http://schemas.microsoft.com/office/drawing/2014/main" id="{5F3D3D97-8DD5-4E51-AE1A-F5809F22B4A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69" name="직사각형 168">
                  <a:extLst>
                    <a:ext uri="{FF2B5EF4-FFF2-40B4-BE49-F238E27FC236}">
                      <a16:creationId xmlns:a16="http://schemas.microsoft.com/office/drawing/2014/main" id="{1C01D335-E17B-4BBA-81EB-B59340A6884A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0" name="직사각형 169">
                  <a:extLst>
                    <a:ext uri="{FF2B5EF4-FFF2-40B4-BE49-F238E27FC236}">
                      <a16:creationId xmlns:a16="http://schemas.microsoft.com/office/drawing/2014/main" id="{3A1EF9C6-5A69-4D25-BB1B-9EA52DAEFE4F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pic>
              <p:nvPicPr>
                <p:cNvPr id="171" name="그림 170">
                  <a:extLst>
                    <a:ext uri="{FF2B5EF4-FFF2-40B4-BE49-F238E27FC236}">
                      <a16:creationId xmlns:a16="http://schemas.microsoft.com/office/drawing/2014/main" id="{34D22EBD-32AD-4E0C-AEA5-1CF5A1D5ED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FA7F6FAD-529F-4BEF-A815-E6DA259F82C4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1F11FCC0-BDF7-4E9B-B1D3-4559D2B27CB2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7F9FCE39-5403-49F5-A2E3-CEB32C9323D8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AAF6A227-884A-41E8-A05C-DC6A2F4416D8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6D5424BC-CEBD-4A0B-A88E-1A9F3FDE0E72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FDE15947-BAAA-4A39-B39F-43A8129B6400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63" name="그림 162">
              <a:extLst>
                <a:ext uri="{FF2B5EF4-FFF2-40B4-BE49-F238E27FC236}">
                  <a16:creationId xmlns:a16="http://schemas.microsoft.com/office/drawing/2014/main" id="{52B99A8E-CAA2-4643-A6A5-D34C71ABF8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sp>
        <p:nvSpPr>
          <p:cNvPr id="189" name="사각형: 둥근 모서리 188">
            <a:extLst>
              <a:ext uri="{FF2B5EF4-FFF2-40B4-BE49-F238E27FC236}">
                <a16:creationId xmlns:a16="http://schemas.microsoft.com/office/drawing/2014/main" id="{0A76E21B-65A9-4ED6-BD24-5C88ABF8BBA4}"/>
              </a:ext>
            </a:extLst>
          </p:cNvPr>
          <p:cNvSpPr/>
          <p:nvPr/>
        </p:nvSpPr>
        <p:spPr>
          <a:xfrm>
            <a:off x="8279693" y="1589229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91" name="사각형: 둥근 모서리 190">
            <a:extLst>
              <a:ext uri="{FF2B5EF4-FFF2-40B4-BE49-F238E27FC236}">
                <a16:creationId xmlns:a16="http://schemas.microsoft.com/office/drawing/2014/main" id="{5F00F150-2555-4009-B889-4DF9E926D537}"/>
              </a:ext>
            </a:extLst>
          </p:cNvPr>
          <p:cNvSpPr/>
          <p:nvPr/>
        </p:nvSpPr>
        <p:spPr>
          <a:xfrm>
            <a:off x="7568383" y="159091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리보기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6BFDB6B6-BFDE-4F62-80AD-9C794B6B7819}"/>
              </a:ext>
            </a:extLst>
          </p:cNvPr>
          <p:cNvGrpSpPr/>
          <p:nvPr/>
        </p:nvGrpSpPr>
        <p:grpSpPr>
          <a:xfrm>
            <a:off x="2509937" y="3298483"/>
            <a:ext cx="3898853" cy="239652"/>
            <a:chOff x="3863750" y="3213823"/>
            <a:chExt cx="3898853" cy="239652"/>
          </a:xfrm>
        </p:grpSpPr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B47A7E64-D89C-458A-9241-4FE4A7D57DEA}"/>
                </a:ext>
              </a:extLst>
            </p:cNvPr>
            <p:cNvSpPr/>
            <p:nvPr/>
          </p:nvSpPr>
          <p:spPr>
            <a:xfrm>
              <a:off x="5159750" y="3256416"/>
              <a:ext cx="1302307" cy="195553"/>
            </a:xfrm>
            <a:prstGeom prst="rect">
              <a:avLst/>
            </a:prstGeom>
            <a:solidFill>
              <a:srgbClr val="F2F2F2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latinLnBrk="1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핵심 개념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5" name="직사각형 184">
              <a:extLst>
                <a:ext uri="{FF2B5EF4-FFF2-40B4-BE49-F238E27FC236}">
                  <a16:creationId xmlns:a16="http://schemas.microsoft.com/office/drawing/2014/main" id="{39228AB4-5956-4E22-B231-795E8B9ECFDB}"/>
                </a:ext>
              </a:extLst>
            </p:cNvPr>
            <p:cNvSpPr/>
            <p:nvPr/>
          </p:nvSpPr>
          <p:spPr>
            <a:xfrm>
              <a:off x="6466603" y="3213823"/>
              <a:ext cx="1296000" cy="239652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제공 서비스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8" name="직사각형 187">
              <a:extLst>
                <a:ext uri="{FF2B5EF4-FFF2-40B4-BE49-F238E27FC236}">
                  <a16:creationId xmlns:a16="http://schemas.microsoft.com/office/drawing/2014/main" id="{76873261-A12B-4D25-A3EF-6B7009749677}"/>
                </a:ext>
              </a:extLst>
            </p:cNvPr>
            <p:cNvSpPr/>
            <p:nvPr/>
          </p:nvSpPr>
          <p:spPr>
            <a:xfrm>
              <a:off x="3863750" y="3256416"/>
              <a:ext cx="1296000" cy="19587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추천 컨텐츠</a:t>
              </a:r>
            </a:p>
          </p:txBody>
        </p:sp>
      </p:grp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5E9DE810-A58D-49E6-94E9-B9910D7B6A6B}"/>
              </a:ext>
            </a:extLst>
          </p:cNvPr>
          <p:cNvSpPr/>
          <p:nvPr/>
        </p:nvSpPr>
        <p:spPr>
          <a:xfrm>
            <a:off x="2495043" y="3617327"/>
            <a:ext cx="1296000" cy="195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제공 서비스 요약</a:t>
            </a: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55A43108-C60A-4E51-AE77-91EBBC304828}"/>
              </a:ext>
            </a:extLst>
          </p:cNvPr>
          <p:cNvSpPr/>
          <p:nvPr/>
        </p:nvSpPr>
        <p:spPr>
          <a:xfrm>
            <a:off x="2579400" y="3831224"/>
            <a:ext cx="6338734" cy="34471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● 탄소 집약적 제품을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U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 수출하는 기업 대상 고려 요소 및 자문 및 컨설팅</a:t>
            </a:r>
            <a:endParaRPr lang="en-US" altLang="ko-KR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●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부터 시작되는 새로운 보고 요건에 대비하기 위해 필요한 액션 플랜 수립</a:t>
            </a:r>
          </a:p>
        </p:txBody>
      </p:sp>
      <p:sp>
        <p:nvSpPr>
          <p:cNvPr id="101" name="사각형: 둥근 모서리 100">
            <a:extLst>
              <a:ext uri="{FF2B5EF4-FFF2-40B4-BE49-F238E27FC236}">
                <a16:creationId xmlns:a16="http://schemas.microsoft.com/office/drawing/2014/main" id="{1328A93A-EB5E-469A-B62A-0246F4F35EDA}"/>
              </a:ext>
            </a:extLst>
          </p:cNvPr>
          <p:cNvSpPr/>
          <p:nvPr/>
        </p:nvSpPr>
        <p:spPr>
          <a:xfrm>
            <a:off x="8225186" y="3614422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3900E756-CA28-4460-83CD-391301D53AE1}"/>
              </a:ext>
            </a:extLst>
          </p:cNvPr>
          <p:cNvSpPr/>
          <p:nvPr/>
        </p:nvSpPr>
        <p:spPr>
          <a:xfrm>
            <a:off x="2480998" y="4230550"/>
            <a:ext cx="1296000" cy="195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코멘트</a:t>
            </a:r>
          </a:p>
        </p:txBody>
      </p:sp>
      <p:graphicFrame>
        <p:nvGraphicFramePr>
          <p:cNvPr id="9" name="표 11">
            <a:extLst>
              <a:ext uri="{FF2B5EF4-FFF2-40B4-BE49-F238E27FC236}">
                <a16:creationId xmlns:a16="http://schemas.microsoft.com/office/drawing/2014/main" id="{7B3F9C4B-856B-47F5-BC04-52B103DA16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724801"/>
              </p:ext>
            </p:extLst>
          </p:nvPr>
        </p:nvGraphicFramePr>
        <p:xfrm>
          <a:off x="2609884" y="4454697"/>
          <a:ext cx="6291445" cy="22146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2677">
                  <a:extLst>
                    <a:ext uri="{9D8B030D-6E8A-4147-A177-3AD203B41FA5}">
                      <a16:colId xmlns:a16="http://schemas.microsoft.com/office/drawing/2014/main" val="1792502402"/>
                    </a:ext>
                  </a:extLst>
                </a:gridCol>
                <a:gridCol w="718262">
                  <a:extLst>
                    <a:ext uri="{9D8B030D-6E8A-4147-A177-3AD203B41FA5}">
                      <a16:colId xmlns:a16="http://schemas.microsoft.com/office/drawing/2014/main" val="3354424746"/>
                    </a:ext>
                  </a:extLst>
                </a:gridCol>
                <a:gridCol w="5230506">
                  <a:extLst>
                    <a:ext uri="{9D8B030D-6E8A-4147-A177-3AD203B41FA5}">
                      <a16:colId xmlns:a16="http://schemas.microsoft.com/office/drawing/2014/main" val="4059942122"/>
                    </a:ext>
                  </a:extLst>
                </a:gridCol>
              </a:tblGrid>
              <a:tr h="2474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420692"/>
                  </a:ext>
                </a:extLst>
              </a:tr>
              <a:tr h="304489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4755068"/>
                  </a:ext>
                </a:extLst>
              </a:tr>
              <a:tr h="1409914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61561"/>
                  </a:ext>
                </a:extLst>
              </a:tr>
              <a:tr h="25279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 추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01694586"/>
                  </a:ext>
                </a:extLst>
              </a:tr>
            </a:tbl>
          </a:graphicData>
        </a:graphic>
      </p:graphicFrame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26CEA05E-CDA8-4AA4-8C71-370D65A2BAB2}"/>
              </a:ext>
            </a:extLst>
          </p:cNvPr>
          <p:cNvSpPr/>
          <p:nvPr/>
        </p:nvSpPr>
        <p:spPr>
          <a:xfrm>
            <a:off x="3709153" y="4760312"/>
            <a:ext cx="5051143" cy="19547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 인벤토리 구축</a:t>
            </a:r>
            <a:endParaRPr lang="en-US" altLang="ko-KR" sz="7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D580E48E-C4EA-4B0A-A35C-C9B24E20A619}"/>
              </a:ext>
            </a:extLst>
          </p:cNvPr>
          <p:cNvSpPr/>
          <p:nvPr/>
        </p:nvSpPr>
        <p:spPr>
          <a:xfrm>
            <a:off x="3709153" y="5058808"/>
            <a:ext cx="5051143" cy="51008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l"/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GHG Protocol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등 글로벌 가이드라인에 따른 온실가스 배출 인벤토리를 구축하는 것이 중요합니다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업의 온실가스 인벤토리 구축은 기업이 정한 조직경계 안에서의 직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간접적인 온실가스 배출원을 규명하고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배출원으로 인한 각각의 온실가스 배출량을 산출하고 </a:t>
            </a:r>
            <a:r>
              <a:rPr lang="ko-KR" altLang="en-US" sz="7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록화하여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온실가스 배출현황을 파악하는 작업입니다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를 통해 리스크를 관리하고 지속가능한 공시기준에 따른 온실가스 배출량 보고 의무에도 대비할 수 있습니다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</p:txBody>
      </p:sp>
      <p:sp>
        <p:nvSpPr>
          <p:cNvPr id="109" name="사각형: 둥근 모서리 108">
            <a:extLst>
              <a:ext uri="{FF2B5EF4-FFF2-40B4-BE49-F238E27FC236}">
                <a16:creationId xmlns:a16="http://schemas.microsoft.com/office/drawing/2014/main" id="{4D9DBFC6-0C6E-467C-856F-D087809CECE3}"/>
              </a:ext>
            </a:extLst>
          </p:cNvPr>
          <p:cNvSpPr/>
          <p:nvPr/>
        </p:nvSpPr>
        <p:spPr>
          <a:xfrm>
            <a:off x="8220918" y="422988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B20E4787-9F2B-4127-A323-5503C5A0F17F}"/>
              </a:ext>
            </a:extLst>
          </p:cNvPr>
          <p:cNvSpPr/>
          <p:nvPr/>
        </p:nvSpPr>
        <p:spPr>
          <a:xfrm>
            <a:off x="2541662" y="37948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E61F3461-5310-4031-AFF1-D306DCB543AA}"/>
              </a:ext>
            </a:extLst>
          </p:cNvPr>
          <p:cNvSpPr/>
          <p:nvPr/>
        </p:nvSpPr>
        <p:spPr>
          <a:xfrm>
            <a:off x="2541662" y="46531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602B459-F164-4C6F-860F-680D2308443E}"/>
              </a:ext>
            </a:extLst>
          </p:cNvPr>
          <p:cNvSpPr/>
          <p:nvPr/>
        </p:nvSpPr>
        <p:spPr>
          <a:xfrm>
            <a:off x="2549460" y="3604181"/>
            <a:ext cx="6382768" cy="51504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7.19&gt; </a:t>
            </a: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삭제</a:t>
            </a:r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ADFED6B1-454E-4C6A-93B7-2D153A6CE263}"/>
              </a:ext>
            </a:extLst>
          </p:cNvPr>
          <p:cNvSpPr/>
          <p:nvPr/>
        </p:nvSpPr>
        <p:spPr>
          <a:xfrm>
            <a:off x="5635226" y="2577042"/>
            <a:ext cx="3314112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8.22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05" name="표 5">
            <a:extLst>
              <a:ext uri="{FF2B5EF4-FFF2-40B4-BE49-F238E27FC236}">
                <a16:creationId xmlns:a16="http://schemas.microsoft.com/office/drawing/2014/main" id="{42998859-C850-4672-B6F3-D085A2DE461F}"/>
              </a:ext>
            </a:extLst>
          </p:cNvPr>
          <p:cNvGraphicFramePr>
            <a:graphicFrameLocks noGrp="1"/>
          </p:cNvGraphicFramePr>
          <p:nvPr/>
        </p:nvGraphicFramePr>
        <p:xfrm>
          <a:off x="332993" y="1536971"/>
          <a:ext cx="2090599" cy="51323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4000">
                  <a:extLst>
                    <a:ext uri="{9D8B030D-6E8A-4147-A177-3AD203B41FA5}">
                      <a16:colId xmlns:a16="http://schemas.microsoft.com/office/drawing/2014/main" val="255000904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164090594"/>
                    </a:ext>
                  </a:extLst>
                </a:gridCol>
                <a:gridCol w="1082599">
                  <a:extLst>
                    <a:ext uri="{9D8B030D-6E8A-4147-A177-3AD203B41FA5}">
                      <a16:colId xmlns:a16="http://schemas.microsoft.com/office/drawing/2014/main" val="2168184616"/>
                    </a:ext>
                  </a:extLst>
                </a:gridCol>
              </a:tblGrid>
              <a:tr h="287734"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76842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222437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36223550"/>
                  </a:ext>
                </a:extLst>
              </a:tr>
              <a:tr h="74662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67565014"/>
                  </a:ext>
                </a:extLst>
              </a:tr>
              <a:tr h="22389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순서</a:t>
                      </a:r>
                      <a:endParaRPr lang="ko-KR" altLang="en-US" dirty="0"/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58072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344476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1613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 전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43913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 경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9656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12337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3104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 제품 및 기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95673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 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5119137"/>
                  </a:ext>
                </a:extLst>
              </a:tr>
              <a:tr h="36000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추가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2469197"/>
                  </a:ext>
                </a:extLst>
              </a:tr>
              <a:tr h="106866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389703"/>
                  </a:ext>
                </a:extLst>
              </a:tr>
            </a:tbl>
          </a:graphicData>
        </a:graphic>
      </p:graphicFrame>
      <p:grpSp>
        <p:nvGrpSpPr>
          <p:cNvPr id="106" name="그룹 105">
            <a:extLst>
              <a:ext uri="{FF2B5EF4-FFF2-40B4-BE49-F238E27FC236}">
                <a16:creationId xmlns:a16="http://schemas.microsoft.com/office/drawing/2014/main" id="{216F7449-1219-49D0-BB3E-A116E5F50D61}"/>
              </a:ext>
            </a:extLst>
          </p:cNvPr>
          <p:cNvGrpSpPr/>
          <p:nvPr/>
        </p:nvGrpSpPr>
        <p:grpSpPr>
          <a:xfrm>
            <a:off x="945325" y="1857055"/>
            <a:ext cx="1406259" cy="173836"/>
            <a:chOff x="1510348" y="1778319"/>
            <a:chExt cx="1406259" cy="173836"/>
          </a:xfrm>
        </p:grpSpPr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78DC65C1-D879-45F6-BC17-3BC7582A3E21}"/>
                </a:ext>
              </a:extLst>
            </p:cNvPr>
            <p:cNvSpPr/>
            <p:nvPr/>
          </p:nvSpPr>
          <p:spPr>
            <a:xfrm>
              <a:off x="1510348" y="1778319"/>
              <a:ext cx="119023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111" name="직사각형 110">
              <a:extLst>
                <a:ext uri="{FF2B5EF4-FFF2-40B4-BE49-F238E27FC236}">
                  <a16:creationId xmlns:a16="http://schemas.microsoft.com/office/drawing/2014/main" id="{BEE88AC7-B94D-4EDB-B5AC-897F90DC33F4}"/>
                </a:ext>
              </a:extLst>
            </p:cNvPr>
            <p:cNvSpPr/>
            <p:nvPr/>
          </p:nvSpPr>
          <p:spPr>
            <a:xfrm>
              <a:off x="2700583" y="1778319"/>
              <a:ext cx="216024" cy="173836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0118578A-4D7B-4EF3-B80A-6C705A4FF117}"/>
              </a:ext>
            </a:extLst>
          </p:cNvPr>
          <p:cNvGrpSpPr/>
          <p:nvPr/>
        </p:nvGrpSpPr>
        <p:grpSpPr>
          <a:xfrm>
            <a:off x="944720" y="2132023"/>
            <a:ext cx="663415" cy="172800"/>
            <a:chOff x="1510349" y="1778319"/>
            <a:chExt cx="663415" cy="172800"/>
          </a:xfrm>
        </p:grpSpPr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9C757B3C-E0BD-452A-82B7-0967E97988A6}"/>
                </a:ext>
              </a:extLst>
            </p:cNvPr>
            <p:cNvSpPr/>
            <p:nvPr/>
          </p:nvSpPr>
          <p:spPr>
            <a:xfrm>
              <a:off x="1510349" y="1778319"/>
              <a:ext cx="44739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8A06EB0B-96F1-4D39-91B7-D7C3B0B8A627}"/>
                </a:ext>
              </a:extLst>
            </p:cNvPr>
            <p:cNvSpPr/>
            <p:nvPr/>
          </p:nvSpPr>
          <p:spPr>
            <a:xfrm>
              <a:off x="1957740" y="1778319"/>
              <a:ext cx="21602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4F92407C-A71A-48DD-8F2A-6173010900E4}"/>
              </a:ext>
            </a:extLst>
          </p:cNvPr>
          <p:cNvSpPr/>
          <p:nvPr/>
        </p:nvSpPr>
        <p:spPr>
          <a:xfrm>
            <a:off x="1764037" y="2146875"/>
            <a:ext cx="587547" cy="144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spc="-5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시 중</a:t>
            </a:r>
            <a:endParaRPr lang="ko-KR" altLang="en-US" sz="8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8" name="사각형: 둥근 모서리 117">
            <a:extLst>
              <a:ext uri="{FF2B5EF4-FFF2-40B4-BE49-F238E27FC236}">
                <a16:creationId xmlns:a16="http://schemas.microsoft.com/office/drawing/2014/main" id="{967AD9BC-68AA-4377-B75A-C4DC46FDB367}"/>
              </a:ext>
            </a:extLst>
          </p:cNvPr>
          <p:cNvSpPr/>
          <p:nvPr/>
        </p:nvSpPr>
        <p:spPr>
          <a:xfrm>
            <a:off x="1682896" y="2146875"/>
            <a:ext cx="139353" cy="1393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21" name="그림 120">
            <a:extLst>
              <a:ext uri="{FF2B5EF4-FFF2-40B4-BE49-F238E27FC236}">
                <a16:creationId xmlns:a16="http://schemas.microsoft.com/office/drawing/2014/main" id="{E60EE570-8C5E-4A69-9D28-9F63C28B35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08459" y="2180737"/>
            <a:ext cx="81910" cy="81910"/>
          </a:xfrm>
          <a:prstGeom prst="rect">
            <a:avLst/>
          </a:prstGeom>
        </p:spPr>
      </p:pic>
      <p:grpSp>
        <p:nvGrpSpPr>
          <p:cNvPr id="122" name="그룹 121">
            <a:extLst>
              <a:ext uri="{FF2B5EF4-FFF2-40B4-BE49-F238E27FC236}">
                <a16:creationId xmlns:a16="http://schemas.microsoft.com/office/drawing/2014/main" id="{BB304C7B-E9B7-4A62-9B5D-092E7F2D7B22}"/>
              </a:ext>
            </a:extLst>
          </p:cNvPr>
          <p:cNvGrpSpPr/>
          <p:nvPr/>
        </p:nvGrpSpPr>
        <p:grpSpPr>
          <a:xfrm>
            <a:off x="515206" y="2743591"/>
            <a:ext cx="139353" cy="139353"/>
            <a:chOff x="1996996" y="2755568"/>
            <a:chExt cx="139353" cy="139353"/>
          </a:xfrm>
        </p:grpSpPr>
        <p:sp>
          <p:nvSpPr>
            <p:cNvPr id="123" name="사각형: 둥근 모서리 122">
              <a:extLst>
                <a:ext uri="{FF2B5EF4-FFF2-40B4-BE49-F238E27FC236}">
                  <a16:creationId xmlns:a16="http://schemas.microsoft.com/office/drawing/2014/main" id="{9D5B0CF2-6CF3-4070-BB65-2AB71AFBA4A2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24" name="그림 123">
              <a:extLst>
                <a:ext uri="{FF2B5EF4-FFF2-40B4-BE49-F238E27FC236}">
                  <a16:creationId xmlns:a16="http://schemas.microsoft.com/office/drawing/2014/main" id="{B46FC19E-46D1-4232-8A6C-1E3818DC32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25" name="그룹 124">
            <a:extLst>
              <a:ext uri="{FF2B5EF4-FFF2-40B4-BE49-F238E27FC236}">
                <a16:creationId xmlns:a16="http://schemas.microsoft.com/office/drawing/2014/main" id="{B3C7B002-8C14-4F41-AF8C-0C34F87EFF34}"/>
              </a:ext>
            </a:extLst>
          </p:cNvPr>
          <p:cNvGrpSpPr/>
          <p:nvPr/>
        </p:nvGrpSpPr>
        <p:grpSpPr>
          <a:xfrm>
            <a:off x="515206" y="3065998"/>
            <a:ext cx="139353" cy="139353"/>
            <a:chOff x="1996996" y="2755568"/>
            <a:chExt cx="139353" cy="139353"/>
          </a:xfrm>
        </p:grpSpPr>
        <p:sp>
          <p:nvSpPr>
            <p:cNvPr id="126" name="사각형: 둥근 모서리 125">
              <a:extLst>
                <a:ext uri="{FF2B5EF4-FFF2-40B4-BE49-F238E27FC236}">
                  <a16:creationId xmlns:a16="http://schemas.microsoft.com/office/drawing/2014/main" id="{652506A3-150D-4045-B482-C0195119F5C8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27" name="그림 126">
              <a:extLst>
                <a:ext uri="{FF2B5EF4-FFF2-40B4-BE49-F238E27FC236}">
                  <a16:creationId xmlns:a16="http://schemas.microsoft.com/office/drawing/2014/main" id="{EDCDBFD2-538C-4B7E-A10A-50D87B22A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28" name="그룹 127">
            <a:extLst>
              <a:ext uri="{FF2B5EF4-FFF2-40B4-BE49-F238E27FC236}">
                <a16:creationId xmlns:a16="http://schemas.microsoft.com/office/drawing/2014/main" id="{96AD6014-FA56-42CA-AA43-FECC73D0F6E7}"/>
              </a:ext>
            </a:extLst>
          </p:cNvPr>
          <p:cNvGrpSpPr/>
          <p:nvPr/>
        </p:nvGrpSpPr>
        <p:grpSpPr>
          <a:xfrm>
            <a:off x="515206" y="3386112"/>
            <a:ext cx="139353" cy="139353"/>
            <a:chOff x="1996996" y="2755568"/>
            <a:chExt cx="139353" cy="139353"/>
          </a:xfrm>
        </p:grpSpPr>
        <p:sp>
          <p:nvSpPr>
            <p:cNvPr id="129" name="사각형: 둥근 모서리 128">
              <a:extLst>
                <a:ext uri="{FF2B5EF4-FFF2-40B4-BE49-F238E27FC236}">
                  <a16:creationId xmlns:a16="http://schemas.microsoft.com/office/drawing/2014/main" id="{8275E37E-8ABC-49D3-A740-B1256C3020EA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0" name="그림 129">
              <a:extLst>
                <a:ext uri="{FF2B5EF4-FFF2-40B4-BE49-F238E27FC236}">
                  <a16:creationId xmlns:a16="http://schemas.microsoft.com/office/drawing/2014/main" id="{2F96421D-82CD-4082-9446-8E43160E684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10EE4074-F046-4E2E-A010-954A7264D0BD}"/>
              </a:ext>
            </a:extLst>
          </p:cNvPr>
          <p:cNvGrpSpPr/>
          <p:nvPr/>
        </p:nvGrpSpPr>
        <p:grpSpPr>
          <a:xfrm>
            <a:off x="515206" y="3706226"/>
            <a:ext cx="139353" cy="139353"/>
            <a:chOff x="1996996" y="2755568"/>
            <a:chExt cx="139353" cy="139353"/>
          </a:xfrm>
        </p:grpSpPr>
        <p:sp>
          <p:nvSpPr>
            <p:cNvPr id="132" name="사각형: 둥근 모서리 131">
              <a:extLst>
                <a:ext uri="{FF2B5EF4-FFF2-40B4-BE49-F238E27FC236}">
                  <a16:creationId xmlns:a16="http://schemas.microsoft.com/office/drawing/2014/main" id="{BE602859-E1FC-4A94-9685-C7F0E011D604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3" name="그림 132">
              <a:extLst>
                <a:ext uri="{FF2B5EF4-FFF2-40B4-BE49-F238E27FC236}">
                  <a16:creationId xmlns:a16="http://schemas.microsoft.com/office/drawing/2014/main" id="{A5DC8431-FC83-4920-BC15-6F614E2193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4" name="그룹 133">
            <a:extLst>
              <a:ext uri="{FF2B5EF4-FFF2-40B4-BE49-F238E27FC236}">
                <a16:creationId xmlns:a16="http://schemas.microsoft.com/office/drawing/2014/main" id="{798CFDE6-2E8F-46BA-A28C-94E82C67A946}"/>
              </a:ext>
            </a:extLst>
          </p:cNvPr>
          <p:cNvGrpSpPr/>
          <p:nvPr/>
        </p:nvGrpSpPr>
        <p:grpSpPr>
          <a:xfrm>
            <a:off x="515206" y="4026340"/>
            <a:ext cx="139353" cy="139353"/>
            <a:chOff x="1996996" y="2755568"/>
            <a:chExt cx="139353" cy="139353"/>
          </a:xfrm>
        </p:grpSpPr>
        <p:sp>
          <p:nvSpPr>
            <p:cNvPr id="135" name="사각형: 둥근 모서리 134">
              <a:extLst>
                <a:ext uri="{FF2B5EF4-FFF2-40B4-BE49-F238E27FC236}">
                  <a16:creationId xmlns:a16="http://schemas.microsoft.com/office/drawing/2014/main" id="{1C1A81F2-41A0-4551-A795-AD9F2F8BAE90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6" name="그림 135">
              <a:extLst>
                <a:ext uri="{FF2B5EF4-FFF2-40B4-BE49-F238E27FC236}">
                  <a16:creationId xmlns:a16="http://schemas.microsoft.com/office/drawing/2014/main" id="{33027DB5-A5D2-44B0-A91F-A9B7F5BAE8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7" name="그룹 136">
            <a:extLst>
              <a:ext uri="{FF2B5EF4-FFF2-40B4-BE49-F238E27FC236}">
                <a16:creationId xmlns:a16="http://schemas.microsoft.com/office/drawing/2014/main" id="{4AF35FC8-0CDB-41D2-8782-FF6994BF3C2C}"/>
              </a:ext>
            </a:extLst>
          </p:cNvPr>
          <p:cNvGrpSpPr/>
          <p:nvPr/>
        </p:nvGrpSpPr>
        <p:grpSpPr>
          <a:xfrm>
            <a:off x="515206" y="4346454"/>
            <a:ext cx="139353" cy="139353"/>
            <a:chOff x="1996996" y="2755568"/>
            <a:chExt cx="139353" cy="139353"/>
          </a:xfrm>
        </p:grpSpPr>
        <p:sp>
          <p:nvSpPr>
            <p:cNvPr id="138" name="사각형: 둥근 모서리 137">
              <a:extLst>
                <a:ext uri="{FF2B5EF4-FFF2-40B4-BE49-F238E27FC236}">
                  <a16:creationId xmlns:a16="http://schemas.microsoft.com/office/drawing/2014/main" id="{D8D25828-2751-4278-9804-52955FE1319C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9" name="그림 138">
              <a:extLst>
                <a:ext uri="{FF2B5EF4-FFF2-40B4-BE49-F238E27FC236}">
                  <a16:creationId xmlns:a16="http://schemas.microsoft.com/office/drawing/2014/main" id="{C41C367A-3562-4B79-B064-017114604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40" name="그룹 139">
            <a:extLst>
              <a:ext uri="{FF2B5EF4-FFF2-40B4-BE49-F238E27FC236}">
                <a16:creationId xmlns:a16="http://schemas.microsoft.com/office/drawing/2014/main" id="{B5A0A163-A909-432A-B9F1-45ACE3F4F7D9}"/>
              </a:ext>
            </a:extLst>
          </p:cNvPr>
          <p:cNvGrpSpPr/>
          <p:nvPr/>
        </p:nvGrpSpPr>
        <p:grpSpPr>
          <a:xfrm>
            <a:off x="515206" y="4659873"/>
            <a:ext cx="139353" cy="139353"/>
            <a:chOff x="521524" y="4866824"/>
            <a:chExt cx="139353" cy="139353"/>
          </a:xfrm>
        </p:grpSpPr>
        <p:sp>
          <p:nvSpPr>
            <p:cNvPr id="141" name="사각형: 둥근 모서리 140">
              <a:extLst>
                <a:ext uri="{FF2B5EF4-FFF2-40B4-BE49-F238E27FC236}">
                  <a16:creationId xmlns:a16="http://schemas.microsoft.com/office/drawing/2014/main" id="{470F828C-D777-4C04-AA2F-91F085394D87}"/>
                </a:ext>
              </a:extLst>
            </p:cNvPr>
            <p:cNvSpPr/>
            <p:nvPr/>
          </p:nvSpPr>
          <p:spPr>
            <a:xfrm>
              <a:off x="521524" y="4866824"/>
              <a:ext cx="139353" cy="13935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42" name="그림 141">
              <a:extLst>
                <a:ext uri="{FF2B5EF4-FFF2-40B4-BE49-F238E27FC236}">
                  <a16:creationId xmlns:a16="http://schemas.microsoft.com/office/drawing/2014/main" id="{4C35D8D0-C18F-4C3D-8971-C8D13DC03D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7087" y="4900686"/>
              <a:ext cx="81910" cy="81910"/>
            </a:xfrm>
            <a:prstGeom prst="rect">
              <a:avLst/>
            </a:prstGeom>
          </p:spPr>
        </p:pic>
      </p:grpSp>
      <p:sp>
        <p:nvSpPr>
          <p:cNvPr id="143" name="직사각형 142">
            <a:extLst>
              <a:ext uri="{FF2B5EF4-FFF2-40B4-BE49-F238E27FC236}">
                <a16:creationId xmlns:a16="http://schemas.microsoft.com/office/drawing/2014/main" id="{D5882224-CA87-4833-85CC-27C8B167B230}"/>
              </a:ext>
            </a:extLst>
          </p:cNvPr>
          <p:cNvSpPr/>
          <p:nvPr/>
        </p:nvSpPr>
        <p:spPr>
          <a:xfrm>
            <a:off x="964843" y="27435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4" name="직사각형 143">
            <a:extLst>
              <a:ext uri="{FF2B5EF4-FFF2-40B4-BE49-F238E27FC236}">
                <a16:creationId xmlns:a16="http://schemas.microsoft.com/office/drawing/2014/main" id="{00BDF6BD-17AD-4041-A6ED-9CED6D085474}"/>
              </a:ext>
            </a:extLst>
          </p:cNvPr>
          <p:cNvSpPr/>
          <p:nvPr/>
        </p:nvSpPr>
        <p:spPr>
          <a:xfrm>
            <a:off x="964843" y="3062971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5306ADDB-78BD-4C42-88BC-16A506AF78F9}"/>
              </a:ext>
            </a:extLst>
          </p:cNvPr>
          <p:cNvSpPr/>
          <p:nvPr/>
        </p:nvSpPr>
        <p:spPr>
          <a:xfrm>
            <a:off x="964843" y="338235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0D56AEEC-8301-42D2-89FC-9F6DD694D7F0}"/>
              </a:ext>
            </a:extLst>
          </p:cNvPr>
          <p:cNvSpPr/>
          <p:nvPr/>
        </p:nvSpPr>
        <p:spPr>
          <a:xfrm>
            <a:off x="964843" y="370173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A7AFADF5-63D0-4CEB-AF6C-D390D002B73B}"/>
              </a:ext>
            </a:extLst>
          </p:cNvPr>
          <p:cNvSpPr/>
          <p:nvPr/>
        </p:nvSpPr>
        <p:spPr>
          <a:xfrm>
            <a:off x="964843" y="402111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F72C1FB1-E121-42D9-A1AA-633F16DD0284}"/>
              </a:ext>
            </a:extLst>
          </p:cNvPr>
          <p:cNvSpPr/>
          <p:nvPr/>
        </p:nvSpPr>
        <p:spPr>
          <a:xfrm>
            <a:off x="964843" y="43404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5059D8E3-F8DD-4B6C-AE85-7ED622E4667F}"/>
              </a:ext>
            </a:extLst>
          </p:cNvPr>
          <p:cNvSpPr/>
          <p:nvPr/>
        </p:nvSpPr>
        <p:spPr>
          <a:xfrm>
            <a:off x="958525" y="4659873"/>
            <a:ext cx="2659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50" name="그룹 149">
            <a:extLst>
              <a:ext uri="{FF2B5EF4-FFF2-40B4-BE49-F238E27FC236}">
                <a16:creationId xmlns:a16="http://schemas.microsoft.com/office/drawing/2014/main" id="{F6BE385C-55AE-4115-A00C-DC320897CE22}"/>
              </a:ext>
            </a:extLst>
          </p:cNvPr>
          <p:cNvGrpSpPr/>
          <p:nvPr/>
        </p:nvGrpSpPr>
        <p:grpSpPr>
          <a:xfrm>
            <a:off x="518365" y="5037448"/>
            <a:ext cx="139353" cy="139353"/>
            <a:chOff x="1996996" y="2755568"/>
            <a:chExt cx="139353" cy="139353"/>
          </a:xfrm>
        </p:grpSpPr>
        <p:sp>
          <p:nvSpPr>
            <p:cNvPr id="151" name="사각형: 둥근 모서리 150">
              <a:extLst>
                <a:ext uri="{FF2B5EF4-FFF2-40B4-BE49-F238E27FC236}">
                  <a16:creationId xmlns:a16="http://schemas.microsoft.com/office/drawing/2014/main" id="{CC8A37EF-7D15-42B3-9C27-E1683A28F2B1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52" name="그림 151">
              <a:extLst>
                <a:ext uri="{FF2B5EF4-FFF2-40B4-BE49-F238E27FC236}">
                  <a16:creationId xmlns:a16="http://schemas.microsoft.com/office/drawing/2014/main" id="{3B1EF4A8-BF20-4512-95B7-3C0AD80F9E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FED4E57F-4BD6-4F62-AA37-2BF58213ED98}"/>
              </a:ext>
            </a:extLst>
          </p:cNvPr>
          <p:cNvSpPr/>
          <p:nvPr/>
        </p:nvSpPr>
        <p:spPr>
          <a:xfrm>
            <a:off x="964843" y="5022035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525F0426-3075-4AE3-B10F-1D72E602069E}"/>
              </a:ext>
            </a:extLst>
          </p:cNvPr>
          <p:cNvSpPr/>
          <p:nvPr/>
        </p:nvSpPr>
        <p:spPr>
          <a:xfrm>
            <a:off x="8973779" y="0"/>
            <a:ext cx="3218221" cy="14127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7.19&gt;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endParaRPr lang="en-US" altLang="ko-KR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120000"/>
              </a:lnSpc>
            </a:pPr>
            <a:endParaRPr lang="en-US" altLang="ko-KR" sz="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 latinLnBrk="1">
              <a:spcBef>
                <a:spcPts val="600"/>
              </a:spcBef>
              <a:defRPr/>
            </a:pP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1] ] </a:t>
            </a:r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제공서비스 요약 영역 삭제</a:t>
            </a:r>
            <a:r>
              <a:rPr lang="en-US" altLang="ko-KR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		</a:t>
            </a:r>
            <a:endParaRPr lang="ko-KR" altLang="en-US" sz="8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10.20&gt;</a:t>
            </a: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삼일 제공 서비스 → 전문가 코멘트로 용어 변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제목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1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개에 상세 내용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N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개 매핑할 수 있는 구조로 변경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EBDA63A6-B403-4D8E-A716-E42825F9B48D}"/>
              </a:ext>
            </a:extLst>
          </p:cNvPr>
          <p:cNvSpPr/>
          <p:nvPr/>
        </p:nvSpPr>
        <p:spPr>
          <a:xfrm>
            <a:off x="2584895" y="2584507"/>
            <a:ext cx="2908287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6A59323B-FBE7-42F8-A01F-9276573A2A30}"/>
              </a:ext>
            </a:extLst>
          </p:cNvPr>
          <p:cNvSpPr/>
          <p:nvPr/>
        </p:nvSpPr>
        <p:spPr>
          <a:xfrm>
            <a:off x="1392111" y="2737459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DEC5A658-A48F-4BD0-B10D-DD3E7061AF10}"/>
              </a:ext>
            </a:extLst>
          </p:cNvPr>
          <p:cNvSpPr/>
          <p:nvPr/>
        </p:nvSpPr>
        <p:spPr>
          <a:xfrm>
            <a:off x="1392111" y="30544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078364A7-76FE-4409-A30A-B0B679F7D493}"/>
              </a:ext>
            </a:extLst>
          </p:cNvPr>
          <p:cNvSpPr/>
          <p:nvPr/>
        </p:nvSpPr>
        <p:spPr>
          <a:xfrm>
            <a:off x="1392111" y="33759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9474C3B6-2668-4109-9CCA-529E3BEA6D78}"/>
              </a:ext>
            </a:extLst>
          </p:cNvPr>
          <p:cNvSpPr/>
          <p:nvPr/>
        </p:nvSpPr>
        <p:spPr>
          <a:xfrm>
            <a:off x="1388800" y="3701731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31020B32-C635-4637-8419-AC188BC691D0}"/>
              </a:ext>
            </a:extLst>
          </p:cNvPr>
          <p:cNvSpPr/>
          <p:nvPr/>
        </p:nvSpPr>
        <p:spPr>
          <a:xfrm>
            <a:off x="1386426" y="4021722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863BF620-DC6F-49AE-9FBA-D8FFFF1994C6}"/>
              </a:ext>
            </a:extLst>
          </p:cNvPr>
          <p:cNvSpPr/>
          <p:nvPr/>
        </p:nvSpPr>
        <p:spPr>
          <a:xfrm>
            <a:off x="1386426" y="4335550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4" name="직사각형 153">
            <a:extLst>
              <a:ext uri="{FF2B5EF4-FFF2-40B4-BE49-F238E27FC236}">
                <a16:creationId xmlns:a16="http://schemas.microsoft.com/office/drawing/2014/main" id="{6313AE16-0B3E-4B86-B476-19ED615435CC}"/>
              </a:ext>
            </a:extLst>
          </p:cNvPr>
          <p:cNvSpPr/>
          <p:nvPr/>
        </p:nvSpPr>
        <p:spPr>
          <a:xfrm>
            <a:off x="1381278" y="4662028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1" name="직사각형 180">
            <a:extLst>
              <a:ext uri="{FF2B5EF4-FFF2-40B4-BE49-F238E27FC236}">
                <a16:creationId xmlns:a16="http://schemas.microsoft.com/office/drawing/2014/main" id="{B18C3D9F-C0AE-46D8-9DCC-A3DDF467176E}"/>
              </a:ext>
            </a:extLst>
          </p:cNvPr>
          <p:cNvSpPr/>
          <p:nvPr/>
        </p:nvSpPr>
        <p:spPr>
          <a:xfrm>
            <a:off x="1392111" y="4992768"/>
            <a:ext cx="98129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sp>
        <p:nvSpPr>
          <p:cNvPr id="182" name="직사각형 181">
            <a:extLst>
              <a:ext uri="{FF2B5EF4-FFF2-40B4-BE49-F238E27FC236}">
                <a16:creationId xmlns:a16="http://schemas.microsoft.com/office/drawing/2014/main" id="{5FA31BD1-38D4-4840-AB1F-9F4A9DC9FEEF}"/>
              </a:ext>
            </a:extLst>
          </p:cNvPr>
          <p:cNvSpPr/>
          <p:nvPr/>
        </p:nvSpPr>
        <p:spPr>
          <a:xfrm>
            <a:off x="1615834" y="2132738"/>
            <a:ext cx="770827" cy="16173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95650432-DA7D-B222-97BA-D651023CA457}"/>
              </a:ext>
            </a:extLst>
          </p:cNvPr>
          <p:cNvSpPr/>
          <p:nvPr/>
        </p:nvSpPr>
        <p:spPr>
          <a:xfrm>
            <a:off x="3713794" y="5624408"/>
            <a:ext cx="5051143" cy="50884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 인벤토리를 구축하기 위해서는 기준연도 온실가스 배출량을 파악하는 단계가 선행되어야 합니다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후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,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직 경계를 설정하고 감 우선순위에 따라 최적의 온실가스 배출계수 및 산정방법을 식별한 후 적용하는 것이 중요합니다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 ESG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경영을 선도하는 기업들은 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ISO 14064-1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를 기반으로 한 온실가스 배출량 검증 또는 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SBTi </a:t>
            </a:r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온실가스 감축 목표 인증을 통해 탄소중립 이행에 대한 신뢰도를 부각시킬 수 </a:t>
            </a:r>
            <a:r>
              <a:rPr lang="ko-KR" altLang="en-US" sz="70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있출습니다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.</a:t>
            </a:r>
          </a:p>
          <a:p>
            <a:endParaRPr lang="en-US" altLang="ko-KR" sz="7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0909B05A-5F2B-70C5-500E-9877C5A4B5A7}"/>
              </a:ext>
            </a:extLst>
          </p:cNvPr>
          <p:cNvSpPr/>
          <p:nvPr/>
        </p:nvSpPr>
        <p:spPr>
          <a:xfrm>
            <a:off x="5232823" y="3314637"/>
            <a:ext cx="863177" cy="225013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/>
                <a:cs typeface="Arial"/>
              </a:rPr>
              <a:t>전문가 코멘트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2201D749-A3F6-D6DD-90F3-A98B5D6A96B6}"/>
              </a:ext>
            </a:extLst>
          </p:cNvPr>
          <p:cNvSpPr/>
          <p:nvPr/>
        </p:nvSpPr>
        <p:spPr>
          <a:xfrm>
            <a:off x="3709152" y="6187753"/>
            <a:ext cx="5055785" cy="149615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ko-KR" altLang="en-US" sz="7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세 내용 추가 </a:t>
            </a:r>
            <a:endParaRPr lang="en-US" altLang="ko-KR" sz="7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913605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24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제공 서비스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2489046"/>
              </p:ext>
            </p:extLst>
          </p:nvPr>
        </p:nvGraphicFramePr>
        <p:xfrm>
          <a:off x="9284004" y="764704"/>
          <a:ext cx="2916357" cy="23153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805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830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7908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제공서비스 탭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천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b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61595"/>
                  </a:ext>
                </a:extLst>
              </a:tr>
              <a:tr h="2658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문가리스트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– Text Are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직급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메일주소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화번호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직급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홈페이지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직급 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Partner, Director, Senior manager, Manager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직접입력으로 구분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직접입력 선택 시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활성화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직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팀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사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자유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(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입력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행 빈칸으로 노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 추가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598244"/>
                  </a:ext>
                </a:extLst>
              </a:tr>
              <a:tr h="2454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장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 사항 저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781801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뉴 관리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뉴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큐레이션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56" name="표 12">
            <a:extLst>
              <a:ext uri="{FF2B5EF4-FFF2-40B4-BE49-F238E27FC236}">
                <a16:creationId xmlns:a16="http://schemas.microsoft.com/office/drawing/2014/main" id="{5F95975E-7DF1-439B-BB88-4163D7B44D48}"/>
              </a:ext>
            </a:extLst>
          </p:cNvPr>
          <p:cNvGraphicFramePr>
            <a:graphicFrameLocks noGrp="1"/>
          </p:cNvGraphicFramePr>
          <p:nvPr/>
        </p:nvGraphicFramePr>
        <p:xfrm>
          <a:off x="2504734" y="1536304"/>
          <a:ext cx="6472017" cy="51367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962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205261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713785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269800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78629">
                <a:tc gridSpan="4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정보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737220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실행</a:t>
                      </a:r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구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환경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4515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번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1002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 대상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8766979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488357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39761"/>
                  </a:ext>
                </a:extLst>
              </a:tr>
              <a:tr h="3134566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201170"/>
                  </a:ext>
                </a:extLst>
              </a:tr>
            </a:tbl>
          </a:graphicData>
        </a:graphic>
      </p:graphicFrame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E3AF41FD-25CD-4F57-9D65-401770E22C4E}"/>
              </a:ext>
            </a:extLst>
          </p:cNvPr>
          <p:cNvSpPr/>
          <p:nvPr/>
        </p:nvSpPr>
        <p:spPr>
          <a:xfrm>
            <a:off x="3431617" y="2139643"/>
            <a:ext cx="1768472" cy="3198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grpSp>
        <p:nvGrpSpPr>
          <p:cNvPr id="158" name="그룹 157">
            <a:extLst>
              <a:ext uri="{FF2B5EF4-FFF2-40B4-BE49-F238E27FC236}">
                <a16:creationId xmlns:a16="http://schemas.microsoft.com/office/drawing/2014/main" id="{3BF52A46-312E-462A-9503-ED25081A613B}"/>
              </a:ext>
            </a:extLst>
          </p:cNvPr>
          <p:cNvGrpSpPr/>
          <p:nvPr/>
        </p:nvGrpSpPr>
        <p:grpSpPr>
          <a:xfrm>
            <a:off x="3372381" y="2834648"/>
            <a:ext cx="3711546" cy="175761"/>
            <a:chOff x="4535523" y="2896789"/>
            <a:chExt cx="3711546" cy="175761"/>
          </a:xfrm>
        </p:grpSpPr>
        <p:grpSp>
          <p:nvGrpSpPr>
            <p:cNvPr id="159" name="그룹 158">
              <a:extLst>
                <a:ext uri="{FF2B5EF4-FFF2-40B4-BE49-F238E27FC236}">
                  <a16:creationId xmlns:a16="http://schemas.microsoft.com/office/drawing/2014/main" id="{26FB6490-60F9-4BA7-B4BB-29083F12B9FF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2" name="그룹 171">
                <a:extLst>
                  <a:ext uri="{FF2B5EF4-FFF2-40B4-BE49-F238E27FC236}">
                    <a16:creationId xmlns:a16="http://schemas.microsoft.com/office/drawing/2014/main" id="{0C932875-16D8-40CB-8244-420BC5CE42B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78" name="직사각형 177">
                  <a:extLst>
                    <a:ext uri="{FF2B5EF4-FFF2-40B4-BE49-F238E27FC236}">
                      <a16:creationId xmlns:a16="http://schemas.microsoft.com/office/drawing/2014/main" id="{5084D078-F3C6-409A-A203-3EBFB76A00E4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9" name="직사각형 178">
                  <a:extLst>
                    <a:ext uri="{FF2B5EF4-FFF2-40B4-BE49-F238E27FC236}">
                      <a16:creationId xmlns:a16="http://schemas.microsoft.com/office/drawing/2014/main" id="{8C0D6BCB-D5F9-4579-BFD4-C1E0F8E3088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80" name="그림 179">
                  <a:extLst>
                    <a:ext uri="{FF2B5EF4-FFF2-40B4-BE49-F238E27FC236}">
                      <a16:creationId xmlns:a16="http://schemas.microsoft.com/office/drawing/2014/main" id="{4CA43B7D-2CB7-4D7B-A729-116BB1AED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3" name="직사각형 172">
                <a:extLst>
                  <a:ext uri="{FF2B5EF4-FFF2-40B4-BE49-F238E27FC236}">
                    <a16:creationId xmlns:a16="http://schemas.microsoft.com/office/drawing/2014/main" id="{8E013F32-7D67-4CBD-9321-185E00C6FAE2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4" name="직사각형 173">
                <a:extLst>
                  <a:ext uri="{FF2B5EF4-FFF2-40B4-BE49-F238E27FC236}">
                    <a16:creationId xmlns:a16="http://schemas.microsoft.com/office/drawing/2014/main" id="{0BD01E49-1337-49BB-B1FB-35919E18FBB1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5" name="직사각형 174">
                <a:extLst>
                  <a:ext uri="{FF2B5EF4-FFF2-40B4-BE49-F238E27FC236}">
                    <a16:creationId xmlns:a16="http://schemas.microsoft.com/office/drawing/2014/main" id="{9E75524E-2E8B-45EA-9440-78878249B42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BE807613-252A-4267-BE59-A56AC71C4CA2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7" name="직사각형 176">
                <a:extLst>
                  <a:ext uri="{FF2B5EF4-FFF2-40B4-BE49-F238E27FC236}">
                    <a16:creationId xmlns:a16="http://schemas.microsoft.com/office/drawing/2014/main" id="{D42CCB93-8122-42E9-A320-A0BFF14992F1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60" name="그룹 159">
              <a:extLst>
                <a:ext uri="{FF2B5EF4-FFF2-40B4-BE49-F238E27FC236}">
                  <a16:creationId xmlns:a16="http://schemas.microsoft.com/office/drawing/2014/main" id="{F045369D-BFE3-4B72-B6A9-40239ECFF60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64" name="그룹 163">
                <a:extLst>
                  <a:ext uri="{FF2B5EF4-FFF2-40B4-BE49-F238E27FC236}">
                    <a16:creationId xmlns:a16="http://schemas.microsoft.com/office/drawing/2014/main" id="{5F3D3D97-8DD5-4E51-AE1A-F5809F22B4A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69" name="직사각형 168">
                  <a:extLst>
                    <a:ext uri="{FF2B5EF4-FFF2-40B4-BE49-F238E27FC236}">
                      <a16:creationId xmlns:a16="http://schemas.microsoft.com/office/drawing/2014/main" id="{1C01D335-E17B-4BBA-81EB-B59340A6884A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0" name="직사각형 169">
                  <a:extLst>
                    <a:ext uri="{FF2B5EF4-FFF2-40B4-BE49-F238E27FC236}">
                      <a16:creationId xmlns:a16="http://schemas.microsoft.com/office/drawing/2014/main" id="{3A1EF9C6-5A69-4D25-BB1B-9EA52DAEFE4F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pic>
              <p:nvPicPr>
                <p:cNvPr id="171" name="그림 170">
                  <a:extLst>
                    <a:ext uri="{FF2B5EF4-FFF2-40B4-BE49-F238E27FC236}">
                      <a16:creationId xmlns:a16="http://schemas.microsoft.com/office/drawing/2014/main" id="{34D22EBD-32AD-4E0C-AEA5-1CF5A1D5ED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FA7F6FAD-529F-4BEF-A815-E6DA259F82C4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1F11FCC0-BDF7-4E9B-B1D3-4559D2B27CB2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7F9FCE39-5403-49F5-A2E3-CEB32C9323D8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AAF6A227-884A-41E8-A05C-DC6A2F4416D8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6D5424BC-CEBD-4A0B-A88E-1A9F3FDE0E72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FDE15947-BAAA-4A39-B39F-43A8129B6400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63" name="그림 162">
              <a:extLst>
                <a:ext uri="{FF2B5EF4-FFF2-40B4-BE49-F238E27FC236}">
                  <a16:creationId xmlns:a16="http://schemas.microsoft.com/office/drawing/2014/main" id="{52B99A8E-CAA2-4643-A6A5-D34C71ABF8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sp>
        <p:nvSpPr>
          <p:cNvPr id="189" name="사각형: 둥근 모서리 188">
            <a:extLst>
              <a:ext uri="{FF2B5EF4-FFF2-40B4-BE49-F238E27FC236}">
                <a16:creationId xmlns:a16="http://schemas.microsoft.com/office/drawing/2014/main" id="{0A76E21B-65A9-4ED6-BD24-5C88ABF8BBA4}"/>
              </a:ext>
            </a:extLst>
          </p:cNvPr>
          <p:cNvSpPr/>
          <p:nvPr/>
        </p:nvSpPr>
        <p:spPr>
          <a:xfrm>
            <a:off x="8279693" y="1589229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91" name="사각형: 둥근 모서리 190">
            <a:extLst>
              <a:ext uri="{FF2B5EF4-FFF2-40B4-BE49-F238E27FC236}">
                <a16:creationId xmlns:a16="http://schemas.microsoft.com/office/drawing/2014/main" id="{5F00F150-2555-4009-B889-4DF9E926D537}"/>
              </a:ext>
            </a:extLst>
          </p:cNvPr>
          <p:cNvSpPr/>
          <p:nvPr/>
        </p:nvSpPr>
        <p:spPr>
          <a:xfrm>
            <a:off x="7568383" y="159091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리보기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6BFDB6B6-BFDE-4F62-80AD-9C794B6B7819}"/>
              </a:ext>
            </a:extLst>
          </p:cNvPr>
          <p:cNvGrpSpPr/>
          <p:nvPr/>
        </p:nvGrpSpPr>
        <p:grpSpPr>
          <a:xfrm>
            <a:off x="2509937" y="3298483"/>
            <a:ext cx="3898853" cy="239652"/>
            <a:chOff x="3863750" y="3213823"/>
            <a:chExt cx="3898853" cy="239652"/>
          </a:xfrm>
        </p:grpSpPr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B47A7E64-D89C-458A-9241-4FE4A7D57DEA}"/>
                </a:ext>
              </a:extLst>
            </p:cNvPr>
            <p:cNvSpPr/>
            <p:nvPr/>
          </p:nvSpPr>
          <p:spPr>
            <a:xfrm>
              <a:off x="5159750" y="3256416"/>
              <a:ext cx="1302307" cy="195553"/>
            </a:xfrm>
            <a:prstGeom prst="rect">
              <a:avLst/>
            </a:prstGeom>
            <a:solidFill>
              <a:srgbClr val="F2F2F2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latinLnBrk="1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핵심 개념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5" name="직사각형 184">
              <a:extLst>
                <a:ext uri="{FF2B5EF4-FFF2-40B4-BE49-F238E27FC236}">
                  <a16:creationId xmlns:a16="http://schemas.microsoft.com/office/drawing/2014/main" id="{39228AB4-5956-4E22-B231-795E8B9ECFDB}"/>
                </a:ext>
              </a:extLst>
            </p:cNvPr>
            <p:cNvSpPr/>
            <p:nvPr/>
          </p:nvSpPr>
          <p:spPr>
            <a:xfrm>
              <a:off x="6466603" y="3213823"/>
              <a:ext cx="1296000" cy="239652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삼일 제공 서비스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8" name="직사각형 187">
              <a:extLst>
                <a:ext uri="{FF2B5EF4-FFF2-40B4-BE49-F238E27FC236}">
                  <a16:creationId xmlns:a16="http://schemas.microsoft.com/office/drawing/2014/main" id="{76873261-A12B-4D25-A3EF-6B7009749677}"/>
                </a:ext>
              </a:extLst>
            </p:cNvPr>
            <p:cNvSpPr/>
            <p:nvPr/>
          </p:nvSpPr>
          <p:spPr>
            <a:xfrm>
              <a:off x="3863750" y="3256416"/>
              <a:ext cx="1296000" cy="19587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추천 컨텐츠</a:t>
              </a:r>
            </a:p>
          </p:txBody>
        </p:sp>
      </p:grp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01625A91-B17E-4AF7-87AB-921EF90311A5}"/>
              </a:ext>
            </a:extLst>
          </p:cNvPr>
          <p:cNvSpPr/>
          <p:nvPr/>
        </p:nvSpPr>
        <p:spPr>
          <a:xfrm>
            <a:off x="2495043" y="3617327"/>
            <a:ext cx="1296000" cy="195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리스트</a:t>
            </a:r>
          </a:p>
        </p:txBody>
      </p:sp>
      <p:graphicFrame>
        <p:nvGraphicFramePr>
          <p:cNvPr id="106" name="표 11">
            <a:extLst>
              <a:ext uri="{FF2B5EF4-FFF2-40B4-BE49-F238E27FC236}">
                <a16:creationId xmlns:a16="http://schemas.microsoft.com/office/drawing/2014/main" id="{4AB326AB-A5AC-4AB4-A68B-C00BC34050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205359"/>
              </p:ext>
            </p:extLst>
          </p:nvPr>
        </p:nvGraphicFramePr>
        <p:xfrm>
          <a:off x="2608964" y="3843556"/>
          <a:ext cx="6291445" cy="17491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7564">
                  <a:extLst>
                    <a:ext uri="{9D8B030D-6E8A-4147-A177-3AD203B41FA5}">
                      <a16:colId xmlns:a16="http://schemas.microsoft.com/office/drawing/2014/main" val="1792502402"/>
                    </a:ext>
                  </a:extLst>
                </a:gridCol>
                <a:gridCol w="1451280">
                  <a:extLst>
                    <a:ext uri="{9D8B030D-6E8A-4147-A177-3AD203B41FA5}">
                      <a16:colId xmlns:a16="http://schemas.microsoft.com/office/drawing/2014/main" val="210171448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3354424746"/>
                    </a:ext>
                  </a:extLst>
                </a:gridCol>
                <a:gridCol w="3596497">
                  <a:extLst>
                    <a:ext uri="{9D8B030D-6E8A-4147-A177-3AD203B41FA5}">
                      <a16:colId xmlns:a16="http://schemas.microsoft.com/office/drawing/2014/main" val="4059942122"/>
                    </a:ext>
                  </a:extLst>
                </a:gridCol>
              </a:tblGrid>
              <a:tr h="19646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NO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내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420692"/>
                  </a:ext>
                </a:extLst>
              </a:tr>
              <a:tr h="417679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름 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 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직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4755068"/>
                  </a:ext>
                </a:extLst>
              </a:tr>
              <a:tr h="394565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속 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팀명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61561"/>
                  </a:ext>
                </a:extLst>
              </a:tr>
              <a:tr h="50405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소속 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회사명</a:t>
                      </a:r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1440931"/>
                  </a:ext>
                </a:extLst>
              </a:tr>
              <a:tr h="219487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항목 추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r>
                        <a:rPr lang="ko-KR" altLang="en-US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목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01694586"/>
                  </a:ext>
                </a:extLst>
              </a:tr>
            </a:tbl>
          </a:graphicData>
        </a:graphic>
      </p:graphicFrame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EED3A2B0-7A7F-4524-9FCF-CA0F5D69F9CB}"/>
              </a:ext>
            </a:extLst>
          </p:cNvPr>
          <p:cNvSpPr/>
          <p:nvPr/>
        </p:nvSpPr>
        <p:spPr>
          <a:xfrm>
            <a:off x="5374433" y="4164704"/>
            <a:ext cx="525114" cy="229671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진규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8EF8F4C0-2299-489C-9A26-C316BA49DE9F}"/>
              </a:ext>
            </a:extLst>
          </p:cNvPr>
          <p:cNvSpPr/>
          <p:nvPr/>
        </p:nvSpPr>
        <p:spPr>
          <a:xfrm>
            <a:off x="5385780" y="4561896"/>
            <a:ext cx="930999" cy="229671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Platform</a:t>
            </a:r>
          </a:p>
        </p:txBody>
      </p:sp>
      <p:sp>
        <p:nvSpPr>
          <p:cNvPr id="110" name="사각형: 둥근 모서리 109">
            <a:extLst>
              <a:ext uri="{FF2B5EF4-FFF2-40B4-BE49-F238E27FC236}">
                <a16:creationId xmlns:a16="http://schemas.microsoft.com/office/drawing/2014/main" id="{972773A5-76CD-47C1-AD12-11C0F3630D81}"/>
              </a:ext>
            </a:extLst>
          </p:cNvPr>
          <p:cNvSpPr/>
          <p:nvPr/>
        </p:nvSpPr>
        <p:spPr>
          <a:xfrm>
            <a:off x="8225186" y="3614422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12" name="사각형: 둥근 모서리 111">
            <a:extLst>
              <a:ext uri="{FF2B5EF4-FFF2-40B4-BE49-F238E27FC236}">
                <a16:creationId xmlns:a16="http://schemas.microsoft.com/office/drawing/2014/main" id="{76D1554C-0B2F-4CE9-B933-D7CFBC22EAEF}"/>
              </a:ext>
            </a:extLst>
          </p:cNvPr>
          <p:cNvSpPr/>
          <p:nvPr/>
        </p:nvSpPr>
        <p:spPr>
          <a:xfrm>
            <a:off x="2541662" y="37948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3" name="사각형: 둥근 모서리 112">
            <a:extLst>
              <a:ext uri="{FF2B5EF4-FFF2-40B4-BE49-F238E27FC236}">
                <a16:creationId xmlns:a16="http://schemas.microsoft.com/office/drawing/2014/main" id="{18866F53-7048-4DE8-850D-3BF76695AFBE}"/>
              </a:ext>
            </a:extLst>
          </p:cNvPr>
          <p:cNvSpPr/>
          <p:nvPr/>
        </p:nvSpPr>
        <p:spPr>
          <a:xfrm>
            <a:off x="8166434" y="357879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0C9743D5-2B7C-49CD-B30E-20DDE6721A5E}"/>
              </a:ext>
            </a:extLst>
          </p:cNvPr>
          <p:cNvSpPr/>
          <p:nvPr/>
        </p:nvSpPr>
        <p:spPr>
          <a:xfrm>
            <a:off x="5945735" y="4166664"/>
            <a:ext cx="964773" cy="226991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Assurance Partner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8E5B3DD-D502-40FB-B4A6-337A5FDECE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4514" y="4174209"/>
            <a:ext cx="980993" cy="1025083"/>
          </a:xfrm>
          <a:prstGeom prst="rect">
            <a:avLst/>
          </a:prstGeom>
        </p:spPr>
      </p:pic>
      <p:sp>
        <p:nvSpPr>
          <p:cNvPr id="100" name="직사각형 99">
            <a:extLst>
              <a:ext uri="{FF2B5EF4-FFF2-40B4-BE49-F238E27FC236}">
                <a16:creationId xmlns:a16="http://schemas.microsoft.com/office/drawing/2014/main" id="{98B44CDC-332E-4113-B83C-8295E7DE517B}"/>
              </a:ext>
            </a:extLst>
          </p:cNvPr>
          <p:cNvSpPr/>
          <p:nvPr/>
        </p:nvSpPr>
        <p:spPr>
          <a:xfrm>
            <a:off x="3116929" y="4180083"/>
            <a:ext cx="1028110" cy="102349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2A66346A-E521-4348-B941-A743CC684008}"/>
              </a:ext>
            </a:extLst>
          </p:cNvPr>
          <p:cNvGrpSpPr/>
          <p:nvPr/>
        </p:nvGrpSpPr>
        <p:grpSpPr>
          <a:xfrm>
            <a:off x="3470864" y="4832313"/>
            <a:ext cx="292384" cy="246968"/>
            <a:chOff x="2527622" y="5858437"/>
            <a:chExt cx="292384" cy="246968"/>
          </a:xfrm>
        </p:grpSpPr>
        <p:sp>
          <p:nvSpPr>
            <p:cNvPr id="102" name="사각형: 둥근 모서리 101">
              <a:extLst>
                <a:ext uri="{FF2B5EF4-FFF2-40B4-BE49-F238E27FC236}">
                  <a16:creationId xmlns:a16="http://schemas.microsoft.com/office/drawing/2014/main" id="{653495D9-5FA6-4043-88D8-2276BC05BC19}"/>
                </a:ext>
              </a:extLst>
            </p:cNvPr>
            <p:cNvSpPr/>
            <p:nvPr/>
          </p:nvSpPr>
          <p:spPr>
            <a:xfrm>
              <a:off x="2527622" y="5858437"/>
              <a:ext cx="292384" cy="246968"/>
            </a:xfrm>
            <a:prstGeom prst="roundRect">
              <a:avLst>
                <a:gd name="adj" fmla="val 10496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03" name="그림 102">
              <a:extLst>
                <a:ext uri="{FF2B5EF4-FFF2-40B4-BE49-F238E27FC236}">
                  <a16:creationId xmlns:a16="http://schemas.microsoft.com/office/drawing/2014/main" id="{7A1A50BA-D3CE-46DD-B6F0-09FEBF9D3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561893" y="5875091"/>
              <a:ext cx="228288" cy="218205"/>
            </a:xfrm>
            <a:prstGeom prst="rect">
              <a:avLst/>
            </a:prstGeom>
          </p:spPr>
        </p:pic>
      </p:grp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B8D57589-78FF-495A-A738-8B4BC5BBFCDE}"/>
              </a:ext>
            </a:extLst>
          </p:cNvPr>
          <p:cNvSpPr/>
          <p:nvPr/>
        </p:nvSpPr>
        <p:spPr>
          <a:xfrm>
            <a:off x="3136936" y="5109260"/>
            <a:ext cx="988094" cy="18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대표이미지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변경</a:t>
            </a: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5C10F198-22AD-4B36-80CD-A9006DD8E1BA}"/>
              </a:ext>
            </a:extLst>
          </p:cNvPr>
          <p:cNvSpPr/>
          <p:nvPr/>
        </p:nvSpPr>
        <p:spPr>
          <a:xfrm>
            <a:off x="8986836" y="349902"/>
            <a:ext cx="3218221" cy="14210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23.08.17&gt;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문가 리스트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–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미지 첨부 기능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10.20&gt;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전문가 리스트 등록 항목 변경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이름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/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직급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소속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팀명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)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소속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회사명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자유입력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CA0970FE-F6D0-462B-8708-7DE5297B3865}"/>
              </a:ext>
            </a:extLst>
          </p:cNvPr>
          <p:cNvSpPr/>
          <p:nvPr/>
        </p:nvSpPr>
        <p:spPr>
          <a:xfrm>
            <a:off x="5635226" y="2577042"/>
            <a:ext cx="3314112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8.22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114" name="표 5">
            <a:extLst>
              <a:ext uri="{FF2B5EF4-FFF2-40B4-BE49-F238E27FC236}">
                <a16:creationId xmlns:a16="http://schemas.microsoft.com/office/drawing/2014/main" id="{BAC700C5-79C2-4C69-8592-F76CD02B60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8771596"/>
              </p:ext>
            </p:extLst>
          </p:nvPr>
        </p:nvGraphicFramePr>
        <p:xfrm>
          <a:off x="332993" y="1536971"/>
          <a:ext cx="2090599" cy="51323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4000">
                  <a:extLst>
                    <a:ext uri="{9D8B030D-6E8A-4147-A177-3AD203B41FA5}">
                      <a16:colId xmlns:a16="http://schemas.microsoft.com/office/drawing/2014/main" val="255000904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164090594"/>
                    </a:ext>
                  </a:extLst>
                </a:gridCol>
                <a:gridCol w="1082599">
                  <a:extLst>
                    <a:ext uri="{9D8B030D-6E8A-4147-A177-3AD203B41FA5}">
                      <a16:colId xmlns:a16="http://schemas.microsoft.com/office/drawing/2014/main" val="2168184616"/>
                    </a:ext>
                  </a:extLst>
                </a:gridCol>
              </a:tblGrid>
              <a:tr h="287734"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76842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222437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36223550"/>
                  </a:ext>
                </a:extLst>
              </a:tr>
              <a:tr h="74662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67565014"/>
                  </a:ext>
                </a:extLst>
              </a:tr>
              <a:tr h="22389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순서</a:t>
                      </a:r>
                      <a:endParaRPr lang="ko-KR" altLang="en-US" dirty="0"/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58072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344476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1613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 전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43913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 경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9656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12337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3104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 제품 및 기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95673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 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5119137"/>
                  </a:ext>
                </a:extLst>
              </a:tr>
              <a:tr h="36000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추가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2469197"/>
                  </a:ext>
                </a:extLst>
              </a:tr>
              <a:tr h="106866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389703"/>
                  </a:ext>
                </a:extLst>
              </a:tr>
            </a:tbl>
          </a:graphicData>
        </a:graphic>
      </p:graphicFrame>
      <p:grpSp>
        <p:nvGrpSpPr>
          <p:cNvPr id="115" name="그룹 114">
            <a:extLst>
              <a:ext uri="{FF2B5EF4-FFF2-40B4-BE49-F238E27FC236}">
                <a16:creationId xmlns:a16="http://schemas.microsoft.com/office/drawing/2014/main" id="{846DA242-9EF4-4FCD-B3A8-60D9C9A5030A}"/>
              </a:ext>
            </a:extLst>
          </p:cNvPr>
          <p:cNvGrpSpPr/>
          <p:nvPr/>
        </p:nvGrpSpPr>
        <p:grpSpPr>
          <a:xfrm>
            <a:off x="945325" y="1857055"/>
            <a:ext cx="1406259" cy="173836"/>
            <a:chOff x="1510348" y="1778319"/>
            <a:chExt cx="1406259" cy="173836"/>
          </a:xfrm>
        </p:grpSpPr>
        <p:sp>
          <p:nvSpPr>
            <p:cNvPr id="118" name="직사각형 117">
              <a:extLst>
                <a:ext uri="{FF2B5EF4-FFF2-40B4-BE49-F238E27FC236}">
                  <a16:creationId xmlns:a16="http://schemas.microsoft.com/office/drawing/2014/main" id="{B7CC3E8B-9A0A-4B2E-A260-CBC08DAFE7B2}"/>
                </a:ext>
              </a:extLst>
            </p:cNvPr>
            <p:cNvSpPr/>
            <p:nvPr/>
          </p:nvSpPr>
          <p:spPr>
            <a:xfrm>
              <a:off x="1510348" y="1778319"/>
              <a:ext cx="119023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실행</a:t>
              </a:r>
            </a:p>
          </p:txBody>
        </p:sp>
        <p:sp>
          <p:nvSpPr>
            <p:cNvPr id="121" name="직사각형 120">
              <a:extLst>
                <a:ext uri="{FF2B5EF4-FFF2-40B4-BE49-F238E27FC236}">
                  <a16:creationId xmlns:a16="http://schemas.microsoft.com/office/drawing/2014/main" id="{CDAFED5E-F457-466E-8C5D-533B490246CB}"/>
                </a:ext>
              </a:extLst>
            </p:cNvPr>
            <p:cNvSpPr/>
            <p:nvPr/>
          </p:nvSpPr>
          <p:spPr>
            <a:xfrm>
              <a:off x="2700583" y="1778319"/>
              <a:ext cx="216024" cy="173836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22" name="그룹 121">
            <a:extLst>
              <a:ext uri="{FF2B5EF4-FFF2-40B4-BE49-F238E27FC236}">
                <a16:creationId xmlns:a16="http://schemas.microsoft.com/office/drawing/2014/main" id="{57423CBD-A453-41A1-8FB7-2EE8B5023DFA}"/>
              </a:ext>
            </a:extLst>
          </p:cNvPr>
          <p:cNvGrpSpPr/>
          <p:nvPr/>
        </p:nvGrpSpPr>
        <p:grpSpPr>
          <a:xfrm>
            <a:off x="944720" y="2132023"/>
            <a:ext cx="663415" cy="172800"/>
            <a:chOff x="1510349" y="1778319"/>
            <a:chExt cx="663415" cy="172800"/>
          </a:xfrm>
        </p:grpSpPr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D832629D-DF6C-4022-A969-00D4C32692AB}"/>
                </a:ext>
              </a:extLst>
            </p:cNvPr>
            <p:cNvSpPr/>
            <p:nvPr/>
          </p:nvSpPr>
          <p:spPr>
            <a:xfrm>
              <a:off x="1510349" y="1778319"/>
              <a:ext cx="447391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(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환경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)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2B7D9FF9-3BE1-4477-A4CE-BF5870118503}"/>
                </a:ext>
              </a:extLst>
            </p:cNvPr>
            <p:cNvSpPr/>
            <p:nvPr/>
          </p:nvSpPr>
          <p:spPr>
            <a:xfrm>
              <a:off x="1957740" y="1778319"/>
              <a:ext cx="21602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07EB6EAC-213F-4429-90E3-70EE83F95DC7}"/>
              </a:ext>
            </a:extLst>
          </p:cNvPr>
          <p:cNvSpPr/>
          <p:nvPr/>
        </p:nvSpPr>
        <p:spPr>
          <a:xfrm>
            <a:off x="1764037" y="2146875"/>
            <a:ext cx="587547" cy="144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spc="-5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시 중</a:t>
            </a:r>
            <a:endParaRPr lang="ko-KR" altLang="en-US" sz="8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사각형: 둥근 모서리 125">
            <a:extLst>
              <a:ext uri="{FF2B5EF4-FFF2-40B4-BE49-F238E27FC236}">
                <a16:creationId xmlns:a16="http://schemas.microsoft.com/office/drawing/2014/main" id="{7EC56C8D-1E03-40E4-8B73-A3B935FA06E6}"/>
              </a:ext>
            </a:extLst>
          </p:cNvPr>
          <p:cNvSpPr/>
          <p:nvPr/>
        </p:nvSpPr>
        <p:spPr>
          <a:xfrm>
            <a:off x="1682896" y="2146875"/>
            <a:ext cx="139353" cy="1393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27" name="그림 126">
            <a:extLst>
              <a:ext uri="{FF2B5EF4-FFF2-40B4-BE49-F238E27FC236}">
                <a16:creationId xmlns:a16="http://schemas.microsoft.com/office/drawing/2014/main" id="{239048A7-AC79-4E26-8BA9-41F55D0C59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08459" y="2180737"/>
            <a:ext cx="81910" cy="81910"/>
          </a:xfrm>
          <a:prstGeom prst="rect">
            <a:avLst/>
          </a:prstGeom>
        </p:spPr>
      </p:pic>
      <p:grpSp>
        <p:nvGrpSpPr>
          <p:cNvPr id="128" name="그룹 127">
            <a:extLst>
              <a:ext uri="{FF2B5EF4-FFF2-40B4-BE49-F238E27FC236}">
                <a16:creationId xmlns:a16="http://schemas.microsoft.com/office/drawing/2014/main" id="{908375EA-D837-4742-ADE9-E7E820053293}"/>
              </a:ext>
            </a:extLst>
          </p:cNvPr>
          <p:cNvGrpSpPr/>
          <p:nvPr/>
        </p:nvGrpSpPr>
        <p:grpSpPr>
          <a:xfrm>
            <a:off x="515206" y="2743591"/>
            <a:ext cx="139353" cy="139353"/>
            <a:chOff x="1996996" y="2755568"/>
            <a:chExt cx="139353" cy="139353"/>
          </a:xfrm>
        </p:grpSpPr>
        <p:sp>
          <p:nvSpPr>
            <p:cNvPr id="129" name="사각형: 둥근 모서리 128">
              <a:extLst>
                <a:ext uri="{FF2B5EF4-FFF2-40B4-BE49-F238E27FC236}">
                  <a16:creationId xmlns:a16="http://schemas.microsoft.com/office/drawing/2014/main" id="{6F22A194-F706-4791-A7B3-277846496151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0" name="그림 129">
              <a:extLst>
                <a:ext uri="{FF2B5EF4-FFF2-40B4-BE49-F238E27FC236}">
                  <a16:creationId xmlns:a16="http://schemas.microsoft.com/office/drawing/2014/main" id="{DF802D37-43C3-4F3C-AD9D-886DD4CB82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3AF17586-1BC6-48D4-A086-DB009F4F3DB4}"/>
              </a:ext>
            </a:extLst>
          </p:cNvPr>
          <p:cNvGrpSpPr/>
          <p:nvPr/>
        </p:nvGrpSpPr>
        <p:grpSpPr>
          <a:xfrm>
            <a:off x="515206" y="3065998"/>
            <a:ext cx="139353" cy="139353"/>
            <a:chOff x="1996996" y="2755568"/>
            <a:chExt cx="139353" cy="139353"/>
          </a:xfrm>
        </p:grpSpPr>
        <p:sp>
          <p:nvSpPr>
            <p:cNvPr id="132" name="사각형: 둥근 모서리 131">
              <a:extLst>
                <a:ext uri="{FF2B5EF4-FFF2-40B4-BE49-F238E27FC236}">
                  <a16:creationId xmlns:a16="http://schemas.microsoft.com/office/drawing/2014/main" id="{0E68CDC5-CD62-484A-B81D-F70C045AF014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3" name="그림 132">
              <a:extLst>
                <a:ext uri="{FF2B5EF4-FFF2-40B4-BE49-F238E27FC236}">
                  <a16:creationId xmlns:a16="http://schemas.microsoft.com/office/drawing/2014/main" id="{2CB1D564-3EAE-4B99-B640-D0E593AFC1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4" name="그룹 133">
            <a:extLst>
              <a:ext uri="{FF2B5EF4-FFF2-40B4-BE49-F238E27FC236}">
                <a16:creationId xmlns:a16="http://schemas.microsoft.com/office/drawing/2014/main" id="{70609069-5B6A-496E-94B9-D8E25414231A}"/>
              </a:ext>
            </a:extLst>
          </p:cNvPr>
          <p:cNvGrpSpPr/>
          <p:nvPr/>
        </p:nvGrpSpPr>
        <p:grpSpPr>
          <a:xfrm>
            <a:off x="515206" y="3386112"/>
            <a:ext cx="139353" cy="139353"/>
            <a:chOff x="1996996" y="2755568"/>
            <a:chExt cx="139353" cy="139353"/>
          </a:xfrm>
        </p:grpSpPr>
        <p:sp>
          <p:nvSpPr>
            <p:cNvPr id="135" name="사각형: 둥근 모서리 134">
              <a:extLst>
                <a:ext uri="{FF2B5EF4-FFF2-40B4-BE49-F238E27FC236}">
                  <a16:creationId xmlns:a16="http://schemas.microsoft.com/office/drawing/2014/main" id="{63204E0A-1BCF-4E39-AB71-9BDEA29AD6D4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6" name="그림 135">
              <a:extLst>
                <a:ext uri="{FF2B5EF4-FFF2-40B4-BE49-F238E27FC236}">
                  <a16:creationId xmlns:a16="http://schemas.microsoft.com/office/drawing/2014/main" id="{7C602F09-89A8-4704-A4E5-A54DE6FF5E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7" name="그룹 136">
            <a:extLst>
              <a:ext uri="{FF2B5EF4-FFF2-40B4-BE49-F238E27FC236}">
                <a16:creationId xmlns:a16="http://schemas.microsoft.com/office/drawing/2014/main" id="{B59325BA-A272-4677-A426-82A23F587D17}"/>
              </a:ext>
            </a:extLst>
          </p:cNvPr>
          <p:cNvGrpSpPr/>
          <p:nvPr/>
        </p:nvGrpSpPr>
        <p:grpSpPr>
          <a:xfrm>
            <a:off x="515206" y="3706226"/>
            <a:ext cx="139353" cy="139353"/>
            <a:chOff x="1996996" y="2755568"/>
            <a:chExt cx="139353" cy="139353"/>
          </a:xfrm>
        </p:grpSpPr>
        <p:sp>
          <p:nvSpPr>
            <p:cNvPr id="138" name="사각형: 둥근 모서리 137">
              <a:extLst>
                <a:ext uri="{FF2B5EF4-FFF2-40B4-BE49-F238E27FC236}">
                  <a16:creationId xmlns:a16="http://schemas.microsoft.com/office/drawing/2014/main" id="{6B9CE328-3DE6-48E0-9F26-AD1C6F6829E1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9" name="그림 138">
              <a:extLst>
                <a:ext uri="{FF2B5EF4-FFF2-40B4-BE49-F238E27FC236}">
                  <a16:creationId xmlns:a16="http://schemas.microsoft.com/office/drawing/2014/main" id="{817520DD-A99C-4FE8-8D55-A094A1274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40" name="그룹 139">
            <a:extLst>
              <a:ext uri="{FF2B5EF4-FFF2-40B4-BE49-F238E27FC236}">
                <a16:creationId xmlns:a16="http://schemas.microsoft.com/office/drawing/2014/main" id="{7237760F-C619-426E-99E1-E4557608D19B}"/>
              </a:ext>
            </a:extLst>
          </p:cNvPr>
          <p:cNvGrpSpPr/>
          <p:nvPr/>
        </p:nvGrpSpPr>
        <p:grpSpPr>
          <a:xfrm>
            <a:off x="515206" y="4026340"/>
            <a:ext cx="139353" cy="139353"/>
            <a:chOff x="1996996" y="2755568"/>
            <a:chExt cx="139353" cy="139353"/>
          </a:xfrm>
        </p:grpSpPr>
        <p:sp>
          <p:nvSpPr>
            <p:cNvPr id="141" name="사각형: 둥근 모서리 140">
              <a:extLst>
                <a:ext uri="{FF2B5EF4-FFF2-40B4-BE49-F238E27FC236}">
                  <a16:creationId xmlns:a16="http://schemas.microsoft.com/office/drawing/2014/main" id="{8A983874-BD9E-4071-BCD5-E3BA70ABFF84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42" name="그림 141">
              <a:extLst>
                <a:ext uri="{FF2B5EF4-FFF2-40B4-BE49-F238E27FC236}">
                  <a16:creationId xmlns:a16="http://schemas.microsoft.com/office/drawing/2014/main" id="{90F1E108-05AF-4C55-82BC-2A71E246278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43" name="그룹 142">
            <a:extLst>
              <a:ext uri="{FF2B5EF4-FFF2-40B4-BE49-F238E27FC236}">
                <a16:creationId xmlns:a16="http://schemas.microsoft.com/office/drawing/2014/main" id="{2D18B66D-1F92-4D6B-B236-B847B8E48379}"/>
              </a:ext>
            </a:extLst>
          </p:cNvPr>
          <p:cNvGrpSpPr/>
          <p:nvPr/>
        </p:nvGrpSpPr>
        <p:grpSpPr>
          <a:xfrm>
            <a:off x="515206" y="4346454"/>
            <a:ext cx="139353" cy="139353"/>
            <a:chOff x="1996996" y="2755568"/>
            <a:chExt cx="139353" cy="139353"/>
          </a:xfrm>
        </p:grpSpPr>
        <p:sp>
          <p:nvSpPr>
            <p:cNvPr id="144" name="사각형: 둥근 모서리 143">
              <a:extLst>
                <a:ext uri="{FF2B5EF4-FFF2-40B4-BE49-F238E27FC236}">
                  <a16:creationId xmlns:a16="http://schemas.microsoft.com/office/drawing/2014/main" id="{891394A8-82F8-41CF-B241-25A2BD1CAE5A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45" name="그림 144">
              <a:extLst>
                <a:ext uri="{FF2B5EF4-FFF2-40B4-BE49-F238E27FC236}">
                  <a16:creationId xmlns:a16="http://schemas.microsoft.com/office/drawing/2014/main" id="{514420BF-1E87-4685-903A-62748ADE4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46" name="그룹 145">
            <a:extLst>
              <a:ext uri="{FF2B5EF4-FFF2-40B4-BE49-F238E27FC236}">
                <a16:creationId xmlns:a16="http://schemas.microsoft.com/office/drawing/2014/main" id="{A92972B4-9168-429F-842F-32D096F7A32E}"/>
              </a:ext>
            </a:extLst>
          </p:cNvPr>
          <p:cNvGrpSpPr/>
          <p:nvPr/>
        </p:nvGrpSpPr>
        <p:grpSpPr>
          <a:xfrm>
            <a:off x="515206" y="4659873"/>
            <a:ext cx="139353" cy="139353"/>
            <a:chOff x="521524" y="4866824"/>
            <a:chExt cx="139353" cy="139353"/>
          </a:xfrm>
        </p:grpSpPr>
        <p:sp>
          <p:nvSpPr>
            <p:cNvPr id="147" name="사각형: 둥근 모서리 146">
              <a:extLst>
                <a:ext uri="{FF2B5EF4-FFF2-40B4-BE49-F238E27FC236}">
                  <a16:creationId xmlns:a16="http://schemas.microsoft.com/office/drawing/2014/main" id="{354F210F-4D47-4922-B16C-22FB34242247}"/>
                </a:ext>
              </a:extLst>
            </p:cNvPr>
            <p:cNvSpPr/>
            <p:nvPr/>
          </p:nvSpPr>
          <p:spPr>
            <a:xfrm>
              <a:off x="521524" y="4866824"/>
              <a:ext cx="139353" cy="13935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48" name="그림 147">
              <a:extLst>
                <a:ext uri="{FF2B5EF4-FFF2-40B4-BE49-F238E27FC236}">
                  <a16:creationId xmlns:a16="http://schemas.microsoft.com/office/drawing/2014/main" id="{555BA99F-E430-4285-B510-136BCD02E61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7087" y="4900686"/>
              <a:ext cx="81910" cy="81910"/>
            </a:xfrm>
            <a:prstGeom prst="rect">
              <a:avLst/>
            </a:prstGeom>
          </p:spPr>
        </p:pic>
      </p:grp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8F623A6C-784D-47C0-8366-10B3E05F8FAF}"/>
              </a:ext>
            </a:extLst>
          </p:cNvPr>
          <p:cNvSpPr/>
          <p:nvPr/>
        </p:nvSpPr>
        <p:spPr>
          <a:xfrm>
            <a:off x="964843" y="27435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0" name="직사각형 149">
            <a:extLst>
              <a:ext uri="{FF2B5EF4-FFF2-40B4-BE49-F238E27FC236}">
                <a16:creationId xmlns:a16="http://schemas.microsoft.com/office/drawing/2014/main" id="{BD8C0EFF-271A-4DCA-A899-20174A817620}"/>
              </a:ext>
            </a:extLst>
          </p:cNvPr>
          <p:cNvSpPr/>
          <p:nvPr/>
        </p:nvSpPr>
        <p:spPr>
          <a:xfrm>
            <a:off x="964843" y="3062971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CE73F30C-5E43-4A11-B3DB-3BC5F899B042}"/>
              </a:ext>
            </a:extLst>
          </p:cNvPr>
          <p:cNvSpPr/>
          <p:nvPr/>
        </p:nvSpPr>
        <p:spPr>
          <a:xfrm>
            <a:off x="964843" y="338235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AC0AC1C1-1901-4C71-B844-2AF97272C43F}"/>
              </a:ext>
            </a:extLst>
          </p:cNvPr>
          <p:cNvSpPr/>
          <p:nvPr/>
        </p:nvSpPr>
        <p:spPr>
          <a:xfrm>
            <a:off x="964843" y="370173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360D1F16-4D56-43C7-86AA-0D5C0882F4C9}"/>
              </a:ext>
            </a:extLst>
          </p:cNvPr>
          <p:cNvSpPr/>
          <p:nvPr/>
        </p:nvSpPr>
        <p:spPr>
          <a:xfrm>
            <a:off x="964843" y="402111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4" name="직사각형 153">
            <a:extLst>
              <a:ext uri="{FF2B5EF4-FFF2-40B4-BE49-F238E27FC236}">
                <a16:creationId xmlns:a16="http://schemas.microsoft.com/office/drawing/2014/main" id="{21C477E3-0EDB-4345-B040-BDCE19016492}"/>
              </a:ext>
            </a:extLst>
          </p:cNvPr>
          <p:cNvSpPr/>
          <p:nvPr/>
        </p:nvSpPr>
        <p:spPr>
          <a:xfrm>
            <a:off x="964843" y="43404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33C7A210-E175-4359-AC00-BD10D15D478D}"/>
              </a:ext>
            </a:extLst>
          </p:cNvPr>
          <p:cNvSpPr/>
          <p:nvPr/>
        </p:nvSpPr>
        <p:spPr>
          <a:xfrm>
            <a:off x="958525" y="4659873"/>
            <a:ext cx="2659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81" name="그룹 180">
            <a:extLst>
              <a:ext uri="{FF2B5EF4-FFF2-40B4-BE49-F238E27FC236}">
                <a16:creationId xmlns:a16="http://schemas.microsoft.com/office/drawing/2014/main" id="{63E967C1-8080-47FC-BED0-1FF190AB144C}"/>
              </a:ext>
            </a:extLst>
          </p:cNvPr>
          <p:cNvGrpSpPr/>
          <p:nvPr/>
        </p:nvGrpSpPr>
        <p:grpSpPr>
          <a:xfrm>
            <a:off x="518365" y="5037448"/>
            <a:ext cx="139353" cy="139353"/>
            <a:chOff x="1996996" y="2755568"/>
            <a:chExt cx="139353" cy="139353"/>
          </a:xfrm>
        </p:grpSpPr>
        <p:sp>
          <p:nvSpPr>
            <p:cNvPr id="182" name="사각형: 둥근 모서리 181">
              <a:extLst>
                <a:ext uri="{FF2B5EF4-FFF2-40B4-BE49-F238E27FC236}">
                  <a16:creationId xmlns:a16="http://schemas.microsoft.com/office/drawing/2014/main" id="{026602EE-3A0D-4517-95A2-FD4B1B5A86DC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83" name="그림 182">
              <a:extLst>
                <a:ext uri="{FF2B5EF4-FFF2-40B4-BE49-F238E27FC236}">
                  <a16:creationId xmlns:a16="http://schemas.microsoft.com/office/drawing/2014/main" id="{88E84E33-C59B-4D9C-A608-80EC3C8410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186" name="직사각형 185">
            <a:extLst>
              <a:ext uri="{FF2B5EF4-FFF2-40B4-BE49-F238E27FC236}">
                <a16:creationId xmlns:a16="http://schemas.microsoft.com/office/drawing/2014/main" id="{F49A69D8-91D8-46A4-926E-F1944DBB2BBC}"/>
              </a:ext>
            </a:extLst>
          </p:cNvPr>
          <p:cNvSpPr/>
          <p:nvPr/>
        </p:nvSpPr>
        <p:spPr>
          <a:xfrm>
            <a:off x="964843" y="5022035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CBA03D7A-52E8-4509-90DF-F4C9B3A1EB1F}"/>
              </a:ext>
            </a:extLst>
          </p:cNvPr>
          <p:cNvSpPr/>
          <p:nvPr/>
        </p:nvSpPr>
        <p:spPr>
          <a:xfrm>
            <a:off x="2584895" y="2584507"/>
            <a:ext cx="2908287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2A7D83C9-145C-4463-8CD7-AF760E90E9DF}"/>
              </a:ext>
            </a:extLst>
          </p:cNvPr>
          <p:cNvSpPr/>
          <p:nvPr/>
        </p:nvSpPr>
        <p:spPr>
          <a:xfrm>
            <a:off x="1392111" y="2737459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5635BB37-FFF7-484D-A5FB-A50A7DE7B729}"/>
              </a:ext>
            </a:extLst>
          </p:cNvPr>
          <p:cNvSpPr/>
          <p:nvPr/>
        </p:nvSpPr>
        <p:spPr>
          <a:xfrm>
            <a:off x="1392111" y="30544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7" name="직사각형 186">
            <a:extLst>
              <a:ext uri="{FF2B5EF4-FFF2-40B4-BE49-F238E27FC236}">
                <a16:creationId xmlns:a16="http://schemas.microsoft.com/office/drawing/2014/main" id="{B247E74C-7F7B-4A06-A774-CFAA1207F290}"/>
              </a:ext>
            </a:extLst>
          </p:cNvPr>
          <p:cNvSpPr/>
          <p:nvPr/>
        </p:nvSpPr>
        <p:spPr>
          <a:xfrm>
            <a:off x="1392111" y="33759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0" name="직사각형 189">
            <a:extLst>
              <a:ext uri="{FF2B5EF4-FFF2-40B4-BE49-F238E27FC236}">
                <a16:creationId xmlns:a16="http://schemas.microsoft.com/office/drawing/2014/main" id="{9AC42DEC-E1C8-41B3-940B-9A978E3134D4}"/>
              </a:ext>
            </a:extLst>
          </p:cNvPr>
          <p:cNvSpPr/>
          <p:nvPr/>
        </p:nvSpPr>
        <p:spPr>
          <a:xfrm>
            <a:off x="1388800" y="3701731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2" name="직사각형 191">
            <a:extLst>
              <a:ext uri="{FF2B5EF4-FFF2-40B4-BE49-F238E27FC236}">
                <a16:creationId xmlns:a16="http://schemas.microsoft.com/office/drawing/2014/main" id="{7C58C3EE-2362-4244-8DFC-F4F309D741D1}"/>
              </a:ext>
            </a:extLst>
          </p:cNvPr>
          <p:cNvSpPr/>
          <p:nvPr/>
        </p:nvSpPr>
        <p:spPr>
          <a:xfrm>
            <a:off x="1386426" y="4021722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3" name="직사각형 192">
            <a:extLst>
              <a:ext uri="{FF2B5EF4-FFF2-40B4-BE49-F238E27FC236}">
                <a16:creationId xmlns:a16="http://schemas.microsoft.com/office/drawing/2014/main" id="{E8E3F596-C895-40AD-AA5A-AFDF060756E5}"/>
              </a:ext>
            </a:extLst>
          </p:cNvPr>
          <p:cNvSpPr/>
          <p:nvPr/>
        </p:nvSpPr>
        <p:spPr>
          <a:xfrm>
            <a:off x="1386426" y="4335550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4" name="직사각형 193">
            <a:extLst>
              <a:ext uri="{FF2B5EF4-FFF2-40B4-BE49-F238E27FC236}">
                <a16:creationId xmlns:a16="http://schemas.microsoft.com/office/drawing/2014/main" id="{66D1E7F1-2152-453A-9E18-FF954B3C4BD2}"/>
              </a:ext>
            </a:extLst>
          </p:cNvPr>
          <p:cNvSpPr/>
          <p:nvPr/>
        </p:nvSpPr>
        <p:spPr>
          <a:xfrm>
            <a:off x="1381278" y="4662028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5" name="직사각형 194">
            <a:extLst>
              <a:ext uri="{FF2B5EF4-FFF2-40B4-BE49-F238E27FC236}">
                <a16:creationId xmlns:a16="http://schemas.microsoft.com/office/drawing/2014/main" id="{AEB87066-7811-4818-AB8D-410917318B39}"/>
              </a:ext>
            </a:extLst>
          </p:cNvPr>
          <p:cNvSpPr/>
          <p:nvPr/>
        </p:nvSpPr>
        <p:spPr>
          <a:xfrm>
            <a:off x="1392111" y="4992768"/>
            <a:ext cx="98129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sp>
        <p:nvSpPr>
          <p:cNvPr id="196" name="직사각형 195">
            <a:extLst>
              <a:ext uri="{FF2B5EF4-FFF2-40B4-BE49-F238E27FC236}">
                <a16:creationId xmlns:a16="http://schemas.microsoft.com/office/drawing/2014/main" id="{7D0D472C-1D7C-44F9-A526-70F84C166343}"/>
              </a:ext>
            </a:extLst>
          </p:cNvPr>
          <p:cNvSpPr/>
          <p:nvPr/>
        </p:nvSpPr>
        <p:spPr>
          <a:xfrm>
            <a:off x="1615834" y="2132738"/>
            <a:ext cx="770827" cy="16173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A43FD476-609F-2F1F-6148-AA960340BA64}"/>
              </a:ext>
            </a:extLst>
          </p:cNvPr>
          <p:cNvSpPr/>
          <p:nvPr/>
        </p:nvSpPr>
        <p:spPr>
          <a:xfrm>
            <a:off x="5232823" y="3314637"/>
            <a:ext cx="863177" cy="225013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/>
                <a:cs typeface="Arial"/>
              </a:rPr>
              <a:t>전문가 코멘트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6387F471-7CB8-8302-B325-DCE7697917D8}"/>
              </a:ext>
            </a:extLst>
          </p:cNvPr>
          <p:cNvSpPr/>
          <p:nvPr/>
        </p:nvSpPr>
        <p:spPr>
          <a:xfrm>
            <a:off x="5402275" y="4989065"/>
            <a:ext cx="914505" cy="229671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7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3060744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7043488"/>
              </p:ext>
            </p:extLst>
          </p:nvPr>
        </p:nvGraphicFramePr>
        <p:xfrm>
          <a:off x="1" y="0"/>
          <a:ext cx="12191999" cy="506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025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>
                        <a:lnSpc>
                          <a:spcPct val="150000"/>
                        </a:lnSpc>
                      </a:pP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탭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탭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뉴 관리 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메뉴 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큐레이션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56" name="표 12">
            <a:extLst>
              <a:ext uri="{FF2B5EF4-FFF2-40B4-BE49-F238E27FC236}">
                <a16:creationId xmlns:a16="http://schemas.microsoft.com/office/drawing/2014/main" id="{5F95975E-7DF1-439B-BB88-4163D7B44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8325"/>
              </p:ext>
            </p:extLst>
          </p:nvPr>
        </p:nvGraphicFramePr>
        <p:xfrm>
          <a:off x="2504734" y="1536304"/>
          <a:ext cx="6472017" cy="51367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962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2205261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713785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269800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78629">
                <a:tc gridSpan="4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정보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737220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C04600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8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ko-KR" altLang="en-US" sz="8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〮인증</a:t>
                      </a:r>
                      <a:endParaRPr lang="ko-KR" altLang="en-US" sz="8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구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3536748"/>
                  </a:ext>
                </a:extLst>
              </a:tr>
              <a:tr h="45153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번호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1002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7508265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여부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전체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부공개  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전시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1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부 공개  대상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A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5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B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10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그룹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C</a:t>
                      </a:r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2000" dirty="0"/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8766979"/>
                  </a:ext>
                </a:extLst>
              </a:tr>
              <a:tr h="26121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 기간</a:t>
                      </a: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3794316"/>
                  </a:ext>
                </a:extLst>
              </a:tr>
              <a:tr h="488357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39761"/>
                  </a:ext>
                </a:extLst>
              </a:tr>
              <a:tr h="3134566">
                <a:tc gridSpan="4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1246" marR="71246" marT="35623" marB="3562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201170"/>
                  </a:ext>
                </a:extLst>
              </a:tr>
            </a:tbl>
          </a:graphicData>
        </a:graphic>
      </p:graphicFrame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E3AF41FD-25CD-4F57-9D65-401770E22C4E}"/>
              </a:ext>
            </a:extLst>
          </p:cNvPr>
          <p:cNvSpPr/>
          <p:nvPr/>
        </p:nvSpPr>
        <p:spPr>
          <a:xfrm>
            <a:off x="3431617" y="2139643"/>
            <a:ext cx="1768472" cy="3198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grpSp>
        <p:nvGrpSpPr>
          <p:cNvPr id="158" name="그룹 157">
            <a:extLst>
              <a:ext uri="{FF2B5EF4-FFF2-40B4-BE49-F238E27FC236}">
                <a16:creationId xmlns:a16="http://schemas.microsoft.com/office/drawing/2014/main" id="{3BF52A46-312E-462A-9503-ED25081A613B}"/>
              </a:ext>
            </a:extLst>
          </p:cNvPr>
          <p:cNvGrpSpPr/>
          <p:nvPr/>
        </p:nvGrpSpPr>
        <p:grpSpPr>
          <a:xfrm>
            <a:off x="3372381" y="2834648"/>
            <a:ext cx="3711546" cy="175761"/>
            <a:chOff x="4535523" y="2896789"/>
            <a:chExt cx="3711546" cy="175761"/>
          </a:xfrm>
        </p:grpSpPr>
        <p:grpSp>
          <p:nvGrpSpPr>
            <p:cNvPr id="159" name="그룹 158">
              <a:extLst>
                <a:ext uri="{FF2B5EF4-FFF2-40B4-BE49-F238E27FC236}">
                  <a16:creationId xmlns:a16="http://schemas.microsoft.com/office/drawing/2014/main" id="{26FB6490-60F9-4BA7-B4BB-29083F12B9FF}"/>
                </a:ext>
              </a:extLst>
            </p:cNvPr>
            <p:cNvGrpSpPr/>
            <p:nvPr/>
          </p:nvGrpSpPr>
          <p:grpSpPr>
            <a:xfrm>
              <a:off x="4535523" y="2896789"/>
              <a:ext cx="1448140" cy="175761"/>
              <a:chOff x="4248131" y="2082815"/>
              <a:chExt cx="1448140" cy="175761"/>
            </a:xfrm>
          </p:grpSpPr>
          <p:grpSp>
            <p:nvGrpSpPr>
              <p:cNvPr id="172" name="그룹 171">
                <a:extLst>
                  <a:ext uri="{FF2B5EF4-FFF2-40B4-BE49-F238E27FC236}">
                    <a16:creationId xmlns:a16="http://schemas.microsoft.com/office/drawing/2014/main" id="{0C932875-16D8-40CB-8244-420BC5CE42B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78" name="직사각형 177">
                  <a:extLst>
                    <a:ext uri="{FF2B5EF4-FFF2-40B4-BE49-F238E27FC236}">
                      <a16:creationId xmlns:a16="http://schemas.microsoft.com/office/drawing/2014/main" id="{5084D078-F3C6-409A-A203-3EBFB76A00E4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9" name="직사각형 178">
                  <a:extLst>
                    <a:ext uri="{FF2B5EF4-FFF2-40B4-BE49-F238E27FC236}">
                      <a16:creationId xmlns:a16="http://schemas.microsoft.com/office/drawing/2014/main" id="{8C0D6BCB-D5F9-4579-BFD4-C1E0F8E30887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180" name="그림 179">
                  <a:extLst>
                    <a:ext uri="{FF2B5EF4-FFF2-40B4-BE49-F238E27FC236}">
                      <a16:creationId xmlns:a16="http://schemas.microsoft.com/office/drawing/2014/main" id="{4CA43B7D-2CB7-4D7B-A729-116BB1AED1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73" name="직사각형 172">
                <a:extLst>
                  <a:ext uri="{FF2B5EF4-FFF2-40B4-BE49-F238E27FC236}">
                    <a16:creationId xmlns:a16="http://schemas.microsoft.com/office/drawing/2014/main" id="{8E013F32-7D67-4CBD-9321-185E00C6FAE2}"/>
                  </a:ext>
                </a:extLst>
              </p:cNvPr>
              <p:cNvSpPr/>
              <p:nvPr/>
            </p:nvSpPr>
            <p:spPr>
              <a:xfrm>
                <a:off x="5549209" y="2093864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174" name="직사각형 173">
                <a:extLst>
                  <a:ext uri="{FF2B5EF4-FFF2-40B4-BE49-F238E27FC236}">
                    <a16:creationId xmlns:a16="http://schemas.microsoft.com/office/drawing/2014/main" id="{0BD01E49-1337-49BB-B1FB-35919E18FBB1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5" name="직사각형 174">
                <a:extLst>
                  <a:ext uri="{FF2B5EF4-FFF2-40B4-BE49-F238E27FC236}">
                    <a16:creationId xmlns:a16="http://schemas.microsoft.com/office/drawing/2014/main" id="{9E75524E-2E8B-45EA-9440-78878249B429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BE807613-252A-4267-BE59-A56AC71C4CA2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0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77" name="직사각형 176">
                <a:extLst>
                  <a:ext uri="{FF2B5EF4-FFF2-40B4-BE49-F238E27FC236}">
                    <a16:creationId xmlns:a16="http://schemas.microsoft.com/office/drawing/2014/main" id="{D42CCB93-8122-42E9-A320-A0BFF14992F1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60" name="그룹 159">
              <a:extLst>
                <a:ext uri="{FF2B5EF4-FFF2-40B4-BE49-F238E27FC236}">
                  <a16:creationId xmlns:a16="http://schemas.microsoft.com/office/drawing/2014/main" id="{F045369D-BFE3-4B72-B6A9-40239ECFF601}"/>
                </a:ext>
              </a:extLst>
            </p:cNvPr>
            <p:cNvGrpSpPr/>
            <p:nvPr/>
          </p:nvGrpSpPr>
          <p:grpSpPr>
            <a:xfrm>
              <a:off x="5962478" y="2896789"/>
              <a:ext cx="1263963" cy="175761"/>
              <a:chOff x="4248131" y="2082815"/>
              <a:chExt cx="1263963" cy="175761"/>
            </a:xfrm>
          </p:grpSpPr>
          <p:grpSp>
            <p:nvGrpSpPr>
              <p:cNvPr id="164" name="그룹 163">
                <a:extLst>
                  <a:ext uri="{FF2B5EF4-FFF2-40B4-BE49-F238E27FC236}">
                    <a16:creationId xmlns:a16="http://schemas.microsoft.com/office/drawing/2014/main" id="{5F3D3D97-8DD5-4E51-AE1A-F5809F22B4A2}"/>
                  </a:ext>
                </a:extLst>
              </p:cNvPr>
              <p:cNvGrpSpPr/>
              <p:nvPr/>
            </p:nvGrpSpPr>
            <p:grpSpPr>
              <a:xfrm>
                <a:off x="4299878" y="2085987"/>
                <a:ext cx="767981" cy="172589"/>
                <a:chOff x="1260034" y="1522884"/>
                <a:chExt cx="767981" cy="144000"/>
              </a:xfrm>
            </p:grpSpPr>
            <p:sp>
              <p:nvSpPr>
                <p:cNvPr id="169" name="직사각형 168">
                  <a:extLst>
                    <a:ext uri="{FF2B5EF4-FFF2-40B4-BE49-F238E27FC236}">
                      <a16:creationId xmlns:a16="http://schemas.microsoft.com/office/drawing/2014/main" id="{1C01D335-E17B-4BBA-81EB-B59340A6884A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170" name="직사각형 169">
                  <a:extLst>
                    <a:ext uri="{FF2B5EF4-FFF2-40B4-BE49-F238E27FC236}">
                      <a16:creationId xmlns:a16="http://schemas.microsoft.com/office/drawing/2014/main" id="{3A1EF9C6-5A69-4D25-BB1B-9EA52DAEFE4F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0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pic>
              <p:nvPicPr>
                <p:cNvPr id="171" name="그림 170">
                  <a:extLst>
                    <a:ext uri="{FF2B5EF4-FFF2-40B4-BE49-F238E27FC236}">
                      <a16:creationId xmlns:a16="http://schemas.microsoft.com/office/drawing/2014/main" id="{34D22EBD-32AD-4E0C-AEA5-1CF5A1D5ED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FA7F6FAD-529F-4BEF-A815-E6DA259F82C4}"/>
                  </a:ext>
                </a:extLst>
              </p:cNvPr>
              <p:cNvSpPr/>
              <p:nvPr/>
            </p:nvSpPr>
            <p:spPr>
              <a:xfrm>
                <a:off x="4248131" y="2085621"/>
                <a:ext cx="723126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999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6" name="직사각형 165">
                <a:extLst>
                  <a:ext uri="{FF2B5EF4-FFF2-40B4-BE49-F238E27FC236}">
                    <a16:creationId xmlns:a16="http://schemas.microsoft.com/office/drawing/2014/main" id="{1F11FCC0-BDF7-4E9B-B1D3-4559D2B27CB2}"/>
                  </a:ext>
                </a:extLst>
              </p:cNvPr>
              <p:cNvSpPr/>
              <p:nvPr/>
            </p:nvSpPr>
            <p:spPr>
              <a:xfrm>
                <a:off x="5112160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3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7" name="직사각형 166">
                <a:extLst>
                  <a:ext uri="{FF2B5EF4-FFF2-40B4-BE49-F238E27FC236}">
                    <a16:creationId xmlns:a16="http://schemas.microsoft.com/office/drawing/2014/main" id="{7F9FCE39-5403-49F5-A2E3-CEB32C9323D8}"/>
                  </a:ext>
                </a:extLst>
              </p:cNvPr>
              <p:cNvSpPr/>
              <p:nvPr/>
            </p:nvSpPr>
            <p:spPr>
              <a:xfrm>
                <a:off x="5348341" y="2082815"/>
                <a:ext cx="163753" cy="17258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9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68" name="직사각형 167">
                <a:extLst>
                  <a:ext uri="{FF2B5EF4-FFF2-40B4-BE49-F238E27FC236}">
                    <a16:creationId xmlns:a16="http://schemas.microsoft.com/office/drawing/2014/main" id="{AAF6A227-884A-41E8-A05C-DC6A2F4416D8}"/>
                  </a:ext>
                </a:extLst>
              </p:cNvPr>
              <p:cNvSpPr/>
              <p:nvPr/>
            </p:nvSpPr>
            <p:spPr>
              <a:xfrm>
                <a:off x="5247469" y="2090259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</a:t>
                </a:r>
                <a:endPara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6D5424BC-CEBD-4A0B-A88E-1A9F3FDE0E72}"/>
                </a:ext>
              </a:extLst>
            </p:cNvPr>
            <p:cNvSpPr/>
            <p:nvPr/>
          </p:nvSpPr>
          <p:spPr>
            <a:xfrm>
              <a:off x="7402508" y="2906532"/>
              <a:ext cx="844561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기간설정사용</a:t>
              </a:r>
            </a:p>
          </p:txBody>
        </p:sp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FDE15947-BAAA-4A39-B39F-43A8129B6400}"/>
                </a:ext>
              </a:extLst>
            </p:cNvPr>
            <p:cNvSpPr/>
            <p:nvPr/>
          </p:nvSpPr>
          <p:spPr>
            <a:xfrm>
              <a:off x="7321366" y="29103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63" name="그림 162">
              <a:extLst>
                <a:ext uri="{FF2B5EF4-FFF2-40B4-BE49-F238E27FC236}">
                  <a16:creationId xmlns:a16="http://schemas.microsoft.com/office/drawing/2014/main" id="{52B99A8E-CAA2-4643-A6A5-D34C71ABF8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929" y="2944230"/>
              <a:ext cx="81910" cy="81910"/>
            </a:xfrm>
            <a:prstGeom prst="rect">
              <a:avLst/>
            </a:prstGeom>
          </p:spPr>
        </p:pic>
      </p:grpSp>
      <p:sp>
        <p:nvSpPr>
          <p:cNvPr id="189" name="사각형: 둥근 모서리 188">
            <a:extLst>
              <a:ext uri="{FF2B5EF4-FFF2-40B4-BE49-F238E27FC236}">
                <a16:creationId xmlns:a16="http://schemas.microsoft.com/office/drawing/2014/main" id="{0A76E21B-65A9-4ED6-BD24-5C88ABF8BBA4}"/>
              </a:ext>
            </a:extLst>
          </p:cNvPr>
          <p:cNvSpPr/>
          <p:nvPr/>
        </p:nvSpPr>
        <p:spPr>
          <a:xfrm>
            <a:off x="8279693" y="1589229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191" name="사각형: 둥근 모서리 190">
            <a:extLst>
              <a:ext uri="{FF2B5EF4-FFF2-40B4-BE49-F238E27FC236}">
                <a16:creationId xmlns:a16="http://schemas.microsoft.com/office/drawing/2014/main" id="{5F00F150-2555-4009-B889-4DF9E926D537}"/>
              </a:ext>
            </a:extLst>
          </p:cNvPr>
          <p:cNvSpPr/>
          <p:nvPr/>
        </p:nvSpPr>
        <p:spPr>
          <a:xfrm>
            <a:off x="7568383" y="1590910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리보기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6BFDB6B6-BFDE-4F62-80AD-9C794B6B7819}"/>
              </a:ext>
            </a:extLst>
          </p:cNvPr>
          <p:cNvGrpSpPr/>
          <p:nvPr/>
        </p:nvGrpSpPr>
        <p:grpSpPr>
          <a:xfrm>
            <a:off x="2509937" y="3306317"/>
            <a:ext cx="3898853" cy="231818"/>
            <a:chOff x="3863750" y="3221657"/>
            <a:chExt cx="3898853" cy="231818"/>
          </a:xfrm>
        </p:grpSpPr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B47A7E64-D89C-458A-9241-4FE4A7D57DEA}"/>
                </a:ext>
              </a:extLst>
            </p:cNvPr>
            <p:cNvSpPr/>
            <p:nvPr/>
          </p:nvSpPr>
          <p:spPr>
            <a:xfrm>
              <a:off x="5159750" y="3245080"/>
              <a:ext cx="1302307" cy="206889"/>
            </a:xfrm>
            <a:prstGeom prst="rect">
              <a:avLst/>
            </a:prstGeom>
            <a:solidFill>
              <a:srgbClr val="F2F2F2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latinLnBrk="1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핵심 개념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C04600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5" name="직사각형 184">
              <a:extLst>
                <a:ext uri="{FF2B5EF4-FFF2-40B4-BE49-F238E27FC236}">
                  <a16:creationId xmlns:a16="http://schemas.microsoft.com/office/drawing/2014/main" id="{39228AB4-5956-4E22-B231-795E8B9ECFDB}"/>
                </a:ext>
              </a:extLst>
            </p:cNvPr>
            <p:cNvSpPr/>
            <p:nvPr/>
          </p:nvSpPr>
          <p:spPr>
            <a:xfrm>
              <a:off x="6466603" y="3221657"/>
              <a:ext cx="1296000" cy="231818"/>
            </a:xfrm>
            <a:prstGeom prst="rect">
              <a:avLst/>
            </a:prstGeom>
            <a:solidFill>
              <a:srgbClr val="404040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프레임워크 </a:t>
              </a:r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*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88" name="직사각형 187">
              <a:extLst>
                <a:ext uri="{FF2B5EF4-FFF2-40B4-BE49-F238E27FC236}">
                  <a16:creationId xmlns:a16="http://schemas.microsoft.com/office/drawing/2014/main" id="{76873261-A12B-4D25-A3EF-6B7009749677}"/>
                </a:ext>
              </a:extLst>
            </p:cNvPr>
            <p:cNvSpPr/>
            <p:nvPr/>
          </p:nvSpPr>
          <p:spPr>
            <a:xfrm>
              <a:off x="3863750" y="3234376"/>
              <a:ext cx="1296000" cy="217911"/>
            </a:xfrm>
            <a:prstGeom prst="rect">
              <a:avLst/>
            </a:prstGeom>
            <a:solidFill>
              <a:srgbClr val="F2F2F2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추천 컨텐츠</a:t>
              </a:r>
            </a:p>
          </p:txBody>
        </p:sp>
      </p:grpSp>
      <p:sp>
        <p:nvSpPr>
          <p:cNvPr id="213" name="직사각형 212">
            <a:extLst>
              <a:ext uri="{FF2B5EF4-FFF2-40B4-BE49-F238E27FC236}">
                <a16:creationId xmlns:a16="http://schemas.microsoft.com/office/drawing/2014/main" id="{FF6D70A2-79C3-4E12-AD19-E8AC369C95A1}"/>
              </a:ext>
            </a:extLst>
          </p:cNvPr>
          <p:cNvSpPr/>
          <p:nvPr/>
        </p:nvSpPr>
        <p:spPr>
          <a:xfrm>
            <a:off x="6413336" y="3333691"/>
            <a:ext cx="1296000" cy="20444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제공 서비스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*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D3B2824C-7FC0-421C-A159-7C1C55090037}"/>
              </a:ext>
            </a:extLst>
          </p:cNvPr>
          <p:cNvSpPr/>
          <p:nvPr/>
        </p:nvSpPr>
        <p:spPr>
          <a:xfrm>
            <a:off x="2510807" y="3548059"/>
            <a:ext cx="6462133" cy="640032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49" name="그림 148">
            <a:extLst>
              <a:ext uri="{FF2B5EF4-FFF2-40B4-BE49-F238E27FC236}">
                <a16:creationId xmlns:a16="http://schemas.microsoft.com/office/drawing/2014/main" id="{E31BCC82-001C-4FDF-8742-5C8505241E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4617" y="3892030"/>
            <a:ext cx="6462133" cy="281837"/>
          </a:xfrm>
          <a:prstGeom prst="rect">
            <a:avLst/>
          </a:prstGeom>
        </p:spPr>
      </p:pic>
      <p:sp>
        <p:nvSpPr>
          <p:cNvPr id="201" name="사각형: 둥근 모서리 200">
            <a:extLst>
              <a:ext uri="{FF2B5EF4-FFF2-40B4-BE49-F238E27FC236}">
                <a16:creationId xmlns:a16="http://schemas.microsoft.com/office/drawing/2014/main" id="{1A48F241-9F0D-4766-8E32-482DA18AB225}"/>
              </a:ext>
            </a:extLst>
          </p:cNvPr>
          <p:cNvSpPr/>
          <p:nvPr/>
        </p:nvSpPr>
        <p:spPr>
          <a:xfrm>
            <a:off x="8279693" y="3621663"/>
            <a:ext cx="652535" cy="18000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저장</a:t>
            </a:r>
          </a:p>
        </p:txBody>
      </p:sp>
      <p:sp>
        <p:nvSpPr>
          <p:cNvPr id="202" name="사각형: 둥근 모서리 201">
            <a:extLst>
              <a:ext uri="{FF2B5EF4-FFF2-40B4-BE49-F238E27FC236}">
                <a16:creationId xmlns:a16="http://schemas.microsoft.com/office/drawing/2014/main" id="{1CFFE3F1-A967-46CF-886E-1FA28458545A}"/>
              </a:ext>
            </a:extLst>
          </p:cNvPr>
          <p:cNvSpPr/>
          <p:nvPr/>
        </p:nvSpPr>
        <p:spPr>
          <a:xfrm>
            <a:off x="2469181" y="384916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3" name="사각형: 둥근 모서리 202">
            <a:extLst>
              <a:ext uri="{FF2B5EF4-FFF2-40B4-BE49-F238E27FC236}">
                <a16:creationId xmlns:a16="http://schemas.microsoft.com/office/drawing/2014/main" id="{686F8C0D-15E0-4486-BE25-6CEE60887EDE}"/>
              </a:ext>
            </a:extLst>
          </p:cNvPr>
          <p:cNvSpPr/>
          <p:nvPr/>
        </p:nvSpPr>
        <p:spPr>
          <a:xfrm>
            <a:off x="8220918" y="358738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10" name="표 10">
            <a:extLst>
              <a:ext uri="{FF2B5EF4-FFF2-40B4-BE49-F238E27FC236}">
                <a16:creationId xmlns:a16="http://schemas.microsoft.com/office/drawing/2014/main" id="{605C0C7A-F4AA-4C77-B8AC-8BE8BF9C4A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9189993"/>
              </p:ext>
            </p:extLst>
          </p:nvPr>
        </p:nvGraphicFramePr>
        <p:xfrm>
          <a:off x="9284004" y="764704"/>
          <a:ext cx="2916357" cy="8023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8051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8830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27908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프레임워크 탭</a:t>
                      </a:r>
                      <a:endParaRPr lang="en-US" altLang="ko-KR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추천컨텐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탭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b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961595"/>
                  </a:ext>
                </a:extLst>
              </a:tr>
              <a:tr h="2658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M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디터 기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598244"/>
                  </a:ext>
                </a:extLst>
              </a:tr>
              <a:tr h="2454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저장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탭 내 변경 사항 저장 완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781801"/>
                  </a:ext>
                </a:extLst>
              </a:tr>
            </a:tbl>
          </a:graphicData>
        </a:graphic>
      </p:graphicFrame>
      <p:sp>
        <p:nvSpPr>
          <p:cNvPr id="92" name="직사각형 91">
            <a:extLst>
              <a:ext uri="{FF2B5EF4-FFF2-40B4-BE49-F238E27FC236}">
                <a16:creationId xmlns:a16="http://schemas.microsoft.com/office/drawing/2014/main" id="{486A6EAB-09D7-494E-8C17-E22AFA7DF395}"/>
              </a:ext>
            </a:extLst>
          </p:cNvPr>
          <p:cNvSpPr/>
          <p:nvPr/>
        </p:nvSpPr>
        <p:spPr>
          <a:xfrm>
            <a:off x="5635226" y="2577042"/>
            <a:ext cx="3314112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8.22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94" name="표 5">
            <a:extLst>
              <a:ext uri="{FF2B5EF4-FFF2-40B4-BE49-F238E27FC236}">
                <a16:creationId xmlns:a16="http://schemas.microsoft.com/office/drawing/2014/main" id="{D0351D33-8333-4578-823E-4C7C11EE39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0713203"/>
              </p:ext>
            </p:extLst>
          </p:nvPr>
        </p:nvGraphicFramePr>
        <p:xfrm>
          <a:off x="332993" y="1536971"/>
          <a:ext cx="2090599" cy="51323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4000">
                  <a:extLst>
                    <a:ext uri="{9D8B030D-6E8A-4147-A177-3AD203B41FA5}">
                      <a16:colId xmlns:a16="http://schemas.microsoft.com/office/drawing/2014/main" val="255000904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164090594"/>
                    </a:ext>
                  </a:extLst>
                </a:gridCol>
                <a:gridCol w="1082599">
                  <a:extLst>
                    <a:ext uri="{9D8B030D-6E8A-4147-A177-3AD203B41FA5}">
                      <a16:colId xmlns:a16="http://schemas.microsoft.com/office/drawing/2014/main" val="2168184616"/>
                    </a:ext>
                  </a:extLst>
                </a:gridCol>
              </a:tblGrid>
              <a:tr h="287734"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메뉴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76842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2224375"/>
                  </a:ext>
                </a:extLst>
              </a:tr>
              <a:tr h="26272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36223550"/>
                  </a:ext>
                </a:extLst>
              </a:tr>
              <a:tr h="74662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67565014"/>
                  </a:ext>
                </a:extLst>
              </a:tr>
              <a:tr h="223891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시여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시순서</a:t>
                      </a:r>
                      <a:endParaRPr lang="ko-KR" altLang="en-US" dirty="0"/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8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명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58072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FRS / ISSB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344476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RD / ESRS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1613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U Taxonomy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43913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9656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CFD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123373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NFD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3104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SEC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공시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795673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SDDD</a:t>
                      </a:r>
                      <a:endParaRPr lang="ko-KR" altLang="en-US" sz="800" b="0" kern="1200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82102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en-US" altLang="ko-KR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43839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>
                        <a:lnSpc>
                          <a:spcPct val="110000"/>
                        </a:lnSpc>
                      </a:pPr>
                      <a:r>
                        <a:rPr lang="ko-KR" altLang="en-US" sz="800" b="0" kern="1200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새 토픽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5D6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5119137"/>
                  </a:ext>
                </a:extLst>
              </a:tr>
              <a:tr h="36000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 추가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2469197"/>
                  </a:ext>
                </a:extLst>
              </a:tr>
              <a:tr h="420660"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389703"/>
                  </a:ext>
                </a:extLst>
              </a:tr>
            </a:tbl>
          </a:graphicData>
        </a:graphic>
      </p:graphicFrame>
      <p:grpSp>
        <p:nvGrpSpPr>
          <p:cNvPr id="95" name="그룹 94">
            <a:extLst>
              <a:ext uri="{FF2B5EF4-FFF2-40B4-BE49-F238E27FC236}">
                <a16:creationId xmlns:a16="http://schemas.microsoft.com/office/drawing/2014/main" id="{41A052B9-0E33-41BE-A90B-93CFF377223A}"/>
              </a:ext>
            </a:extLst>
          </p:cNvPr>
          <p:cNvGrpSpPr/>
          <p:nvPr/>
        </p:nvGrpSpPr>
        <p:grpSpPr>
          <a:xfrm>
            <a:off x="945325" y="1857055"/>
            <a:ext cx="1406259" cy="173836"/>
            <a:chOff x="1510348" y="1778319"/>
            <a:chExt cx="1406259" cy="173836"/>
          </a:xfrm>
        </p:grpSpPr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96053E01-A164-48D7-9F97-5F6E0457B179}"/>
                </a:ext>
              </a:extLst>
            </p:cNvPr>
            <p:cNvSpPr/>
            <p:nvPr/>
          </p:nvSpPr>
          <p:spPr>
            <a:xfrm>
              <a:off x="1510348" y="1778319"/>
              <a:ext cx="1190235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ESG 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  <a:r>
                <a:rPr lang="ko-KR" altLang="en-US" sz="800" dirty="0" err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〮인증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8C43F9B5-BC88-434A-851F-F8FCD93FFFC2}"/>
                </a:ext>
              </a:extLst>
            </p:cNvPr>
            <p:cNvSpPr/>
            <p:nvPr/>
          </p:nvSpPr>
          <p:spPr>
            <a:xfrm>
              <a:off x="2700583" y="1778319"/>
              <a:ext cx="216024" cy="173836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7ED0BE97-3C06-4071-8A9A-02D3A6CFA784}"/>
              </a:ext>
            </a:extLst>
          </p:cNvPr>
          <p:cNvGrpSpPr/>
          <p:nvPr/>
        </p:nvGrpSpPr>
        <p:grpSpPr>
          <a:xfrm>
            <a:off x="944720" y="2132023"/>
            <a:ext cx="663415" cy="172800"/>
            <a:chOff x="1510349" y="1778319"/>
            <a:chExt cx="663415" cy="172800"/>
          </a:xfrm>
        </p:grpSpPr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46CA187B-04CE-444C-ADD7-2318FAF95F4D}"/>
                </a:ext>
              </a:extLst>
            </p:cNvPr>
            <p:cNvSpPr/>
            <p:nvPr/>
          </p:nvSpPr>
          <p:spPr>
            <a:xfrm>
              <a:off x="1510349" y="1778319"/>
              <a:ext cx="447391" cy="172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공시</a:t>
              </a:r>
            </a:p>
          </p:txBody>
        </p:sp>
        <p:sp>
          <p:nvSpPr>
            <p:cNvPr id="104" name="직사각형 103">
              <a:extLst>
                <a:ext uri="{FF2B5EF4-FFF2-40B4-BE49-F238E27FC236}">
                  <a16:creationId xmlns:a16="http://schemas.microsoft.com/office/drawing/2014/main" id="{C3D19F3A-8886-474F-AE95-597B5CECE141}"/>
                </a:ext>
              </a:extLst>
            </p:cNvPr>
            <p:cNvSpPr/>
            <p:nvPr/>
          </p:nvSpPr>
          <p:spPr>
            <a:xfrm>
              <a:off x="1957740" y="1778319"/>
              <a:ext cx="21602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5BDC4303-C4F6-4E5D-816C-09B7D307CCAC}"/>
              </a:ext>
            </a:extLst>
          </p:cNvPr>
          <p:cNvSpPr/>
          <p:nvPr/>
        </p:nvSpPr>
        <p:spPr>
          <a:xfrm>
            <a:off x="1764037" y="2146875"/>
            <a:ext cx="587547" cy="144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spc="-5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시 중</a:t>
            </a:r>
            <a:endParaRPr lang="ko-KR" altLang="en-US" sz="800" spc="-5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06" name="사각형: 둥근 모서리 105">
            <a:extLst>
              <a:ext uri="{FF2B5EF4-FFF2-40B4-BE49-F238E27FC236}">
                <a16:creationId xmlns:a16="http://schemas.microsoft.com/office/drawing/2014/main" id="{8D7600FA-7B4A-4DE6-B4DC-06953A81C544}"/>
              </a:ext>
            </a:extLst>
          </p:cNvPr>
          <p:cNvSpPr/>
          <p:nvPr/>
        </p:nvSpPr>
        <p:spPr>
          <a:xfrm>
            <a:off x="1682896" y="2146875"/>
            <a:ext cx="139353" cy="1393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07" name="그림 106">
            <a:extLst>
              <a:ext uri="{FF2B5EF4-FFF2-40B4-BE49-F238E27FC236}">
                <a16:creationId xmlns:a16="http://schemas.microsoft.com/office/drawing/2014/main" id="{329E9BCA-747D-48E4-B94D-C9DB2B5C36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08459" y="2180737"/>
            <a:ext cx="81910" cy="81910"/>
          </a:xfrm>
          <a:prstGeom prst="rect">
            <a:avLst/>
          </a:prstGeom>
        </p:spPr>
      </p:pic>
      <p:grpSp>
        <p:nvGrpSpPr>
          <p:cNvPr id="108" name="그룹 107">
            <a:extLst>
              <a:ext uri="{FF2B5EF4-FFF2-40B4-BE49-F238E27FC236}">
                <a16:creationId xmlns:a16="http://schemas.microsoft.com/office/drawing/2014/main" id="{81790A8E-E198-4E00-B0AF-F40477D252C7}"/>
              </a:ext>
            </a:extLst>
          </p:cNvPr>
          <p:cNvGrpSpPr/>
          <p:nvPr/>
        </p:nvGrpSpPr>
        <p:grpSpPr>
          <a:xfrm>
            <a:off x="523544" y="2745884"/>
            <a:ext cx="139353" cy="139353"/>
            <a:chOff x="1996996" y="2755568"/>
            <a:chExt cx="139353" cy="139353"/>
          </a:xfrm>
        </p:grpSpPr>
        <p:sp>
          <p:nvSpPr>
            <p:cNvPr id="109" name="사각형: 둥근 모서리 108">
              <a:extLst>
                <a:ext uri="{FF2B5EF4-FFF2-40B4-BE49-F238E27FC236}">
                  <a16:creationId xmlns:a16="http://schemas.microsoft.com/office/drawing/2014/main" id="{F534BF93-F072-4643-BFE6-764AF6D60D64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10" name="그림 109">
              <a:extLst>
                <a:ext uri="{FF2B5EF4-FFF2-40B4-BE49-F238E27FC236}">
                  <a16:creationId xmlns:a16="http://schemas.microsoft.com/office/drawing/2014/main" id="{95B41782-5F35-491A-9813-36383EC0E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11" name="그룹 110">
            <a:extLst>
              <a:ext uri="{FF2B5EF4-FFF2-40B4-BE49-F238E27FC236}">
                <a16:creationId xmlns:a16="http://schemas.microsoft.com/office/drawing/2014/main" id="{5E1440B6-15DE-4030-92F9-81FA46956654}"/>
              </a:ext>
            </a:extLst>
          </p:cNvPr>
          <p:cNvGrpSpPr/>
          <p:nvPr/>
        </p:nvGrpSpPr>
        <p:grpSpPr>
          <a:xfrm>
            <a:off x="523544" y="3075179"/>
            <a:ext cx="139353" cy="139353"/>
            <a:chOff x="1996996" y="2755568"/>
            <a:chExt cx="139353" cy="139353"/>
          </a:xfrm>
        </p:grpSpPr>
        <p:sp>
          <p:nvSpPr>
            <p:cNvPr id="112" name="사각형: 둥근 모서리 111">
              <a:extLst>
                <a:ext uri="{FF2B5EF4-FFF2-40B4-BE49-F238E27FC236}">
                  <a16:creationId xmlns:a16="http://schemas.microsoft.com/office/drawing/2014/main" id="{0543AEEA-7C21-462D-A459-D7B950F8306A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13" name="그림 112">
              <a:extLst>
                <a:ext uri="{FF2B5EF4-FFF2-40B4-BE49-F238E27FC236}">
                  <a16:creationId xmlns:a16="http://schemas.microsoft.com/office/drawing/2014/main" id="{DE2AE6BA-0094-48A9-8FCF-ECCCEF8E85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14" name="그룹 113">
            <a:extLst>
              <a:ext uri="{FF2B5EF4-FFF2-40B4-BE49-F238E27FC236}">
                <a16:creationId xmlns:a16="http://schemas.microsoft.com/office/drawing/2014/main" id="{7F05EBA9-4E3C-46F1-BEB8-B5CCD2DB2090}"/>
              </a:ext>
            </a:extLst>
          </p:cNvPr>
          <p:cNvGrpSpPr/>
          <p:nvPr/>
        </p:nvGrpSpPr>
        <p:grpSpPr>
          <a:xfrm>
            <a:off x="523544" y="3404474"/>
            <a:ext cx="139353" cy="139353"/>
            <a:chOff x="1996996" y="2755568"/>
            <a:chExt cx="139353" cy="139353"/>
          </a:xfrm>
        </p:grpSpPr>
        <p:sp>
          <p:nvSpPr>
            <p:cNvPr id="115" name="사각형: 둥근 모서리 114">
              <a:extLst>
                <a:ext uri="{FF2B5EF4-FFF2-40B4-BE49-F238E27FC236}">
                  <a16:creationId xmlns:a16="http://schemas.microsoft.com/office/drawing/2014/main" id="{DC24A964-4D1C-4F76-AC63-E46FF1129E1C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16" name="그림 115">
              <a:extLst>
                <a:ext uri="{FF2B5EF4-FFF2-40B4-BE49-F238E27FC236}">
                  <a16:creationId xmlns:a16="http://schemas.microsoft.com/office/drawing/2014/main" id="{C96CF115-402C-482F-AFD2-16CAFA9303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18" name="그룹 117">
            <a:extLst>
              <a:ext uri="{FF2B5EF4-FFF2-40B4-BE49-F238E27FC236}">
                <a16:creationId xmlns:a16="http://schemas.microsoft.com/office/drawing/2014/main" id="{C7C34237-C778-4CA6-BDD4-EEAE049B80F3}"/>
              </a:ext>
            </a:extLst>
          </p:cNvPr>
          <p:cNvGrpSpPr/>
          <p:nvPr/>
        </p:nvGrpSpPr>
        <p:grpSpPr>
          <a:xfrm>
            <a:off x="523544" y="3727784"/>
            <a:ext cx="139353" cy="139353"/>
            <a:chOff x="1996996" y="2755568"/>
            <a:chExt cx="139353" cy="139353"/>
          </a:xfrm>
        </p:grpSpPr>
        <p:sp>
          <p:nvSpPr>
            <p:cNvPr id="121" name="사각형: 둥근 모서리 120">
              <a:extLst>
                <a:ext uri="{FF2B5EF4-FFF2-40B4-BE49-F238E27FC236}">
                  <a16:creationId xmlns:a16="http://schemas.microsoft.com/office/drawing/2014/main" id="{167A9D20-D807-411D-96D3-782AADDC9956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22" name="그림 121">
              <a:extLst>
                <a:ext uri="{FF2B5EF4-FFF2-40B4-BE49-F238E27FC236}">
                  <a16:creationId xmlns:a16="http://schemas.microsoft.com/office/drawing/2014/main" id="{D7EF6274-3074-4E0F-9404-32A393BF5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25" name="그룹 124">
            <a:extLst>
              <a:ext uri="{FF2B5EF4-FFF2-40B4-BE49-F238E27FC236}">
                <a16:creationId xmlns:a16="http://schemas.microsoft.com/office/drawing/2014/main" id="{7BF66868-9BF7-44A8-A1EB-346FDB05314F}"/>
              </a:ext>
            </a:extLst>
          </p:cNvPr>
          <p:cNvGrpSpPr/>
          <p:nvPr/>
        </p:nvGrpSpPr>
        <p:grpSpPr>
          <a:xfrm>
            <a:off x="523544" y="4034514"/>
            <a:ext cx="139353" cy="139353"/>
            <a:chOff x="1996996" y="2755568"/>
            <a:chExt cx="139353" cy="139353"/>
          </a:xfrm>
        </p:grpSpPr>
        <p:sp>
          <p:nvSpPr>
            <p:cNvPr id="129" name="사각형: 둥근 모서리 128">
              <a:extLst>
                <a:ext uri="{FF2B5EF4-FFF2-40B4-BE49-F238E27FC236}">
                  <a16:creationId xmlns:a16="http://schemas.microsoft.com/office/drawing/2014/main" id="{9D62E10C-AC26-4290-A1CF-2FC6D02E6AE3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30" name="그림 129">
              <a:extLst>
                <a:ext uri="{FF2B5EF4-FFF2-40B4-BE49-F238E27FC236}">
                  <a16:creationId xmlns:a16="http://schemas.microsoft.com/office/drawing/2014/main" id="{1DB0F1BA-E55C-4E9A-B86E-5F95B5911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54379A2A-F623-4732-BC5E-1D6B37BB4BA8}"/>
              </a:ext>
            </a:extLst>
          </p:cNvPr>
          <p:cNvGrpSpPr/>
          <p:nvPr/>
        </p:nvGrpSpPr>
        <p:grpSpPr>
          <a:xfrm>
            <a:off x="523544" y="4372300"/>
            <a:ext cx="139353" cy="139353"/>
            <a:chOff x="1996996" y="2755568"/>
            <a:chExt cx="139353" cy="139353"/>
          </a:xfrm>
        </p:grpSpPr>
        <p:sp>
          <p:nvSpPr>
            <p:cNvPr id="144" name="사각형: 둥근 모서리 143">
              <a:extLst>
                <a:ext uri="{FF2B5EF4-FFF2-40B4-BE49-F238E27FC236}">
                  <a16:creationId xmlns:a16="http://schemas.microsoft.com/office/drawing/2014/main" id="{7B060F0F-CE20-4B52-9F0C-BD8E21B8B3F6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45" name="그림 144">
              <a:extLst>
                <a:ext uri="{FF2B5EF4-FFF2-40B4-BE49-F238E27FC236}">
                  <a16:creationId xmlns:a16="http://schemas.microsoft.com/office/drawing/2014/main" id="{374F49FF-4EDD-4B24-8A90-0285F9069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grpSp>
        <p:nvGrpSpPr>
          <p:cNvPr id="146" name="그룹 145">
            <a:extLst>
              <a:ext uri="{FF2B5EF4-FFF2-40B4-BE49-F238E27FC236}">
                <a16:creationId xmlns:a16="http://schemas.microsoft.com/office/drawing/2014/main" id="{58259F7F-B883-418D-9C8E-4C2A3E5D419E}"/>
              </a:ext>
            </a:extLst>
          </p:cNvPr>
          <p:cNvGrpSpPr/>
          <p:nvPr/>
        </p:nvGrpSpPr>
        <p:grpSpPr>
          <a:xfrm>
            <a:off x="521524" y="4695625"/>
            <a:ext cx="139353" cy="139353"/>
            <a:chOff x="521524" y="4866824"/>
            <a:chExt cx="139353" cy="139353"/>
          </a:xfrm>
        </p:grpSpPr>
        <p:sp>
          <p:nvSpPr>
            <p:cNvPr id="147" name="사각형: 둥근 모서리 146">
              <a:extLst>
                <a:ext uri="{FF2B5EF4-FFF2-40B4-BE49-F238E27FC236}">
                  <a16:creationId xmlns:a16="http://schemas.microsoft.com/office/drawing/2014/main" id="{670DF259-D39E-4D87-83F1-EC88044C4402}"/>
                </a:ext>
              </a:extLst>
            </p:cNvPr>
            <p:cNvSpPr/>
            <p:nvPr/>
          </p:nvSpPr>
          <p:spPr>
            <a:xfrm>
              <a:off x="521524" y="4866824"/>
              <a:ext cx="139353" cy="13935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50" name="그림 149">
              <a:extLst>
                <a:ext uri="{FF2B5EF4-FFF2-40B4-BE49-F238E27FC236}">
                  <a16:creationId xmlns:a16="http://schemas.microsoft.com/office/drawing/2014/main" id="{2D54E2C4-BAED-4DE2-B399-D21A9197F0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7087" y="4900686"/>
              <a:ext cx="81910" cy="81910"/>
            </a:xfrm>
            <a:prstGeom prst="rect">
              <a:avLst/>
            </a:prstGeom>
          </p:spPr>
        </p:pic>
      </p:grp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1E477236-3D5F-48A8-B982-5D7DA1965B0C}"/>
              </a:ext>
            </a:extLst>
          </p:cNvPr>
          <p:cNvSpPr/>
          <p:nvPr/>
        </p:nvSpPr>
        <p:spPr>
          <a:xfrm>
            <a:off x="964843" y="2743591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F5CC8063-882A-4F81-A004-29CEB87A3D96}"/>
              </a:ext>
            </a:extLst>
          </p:cNvPr>
          <p:cNvSpPr/>
          <p:nvPr/>
        </p:nvSpPr>
        <p:spPr>
          <a:xfrm>
            <a:off x="964843" y="3066631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057D623F-A21B-43BA-8832-63ED4C9EBCD8}"/>
              </a:ext>
            </a:extLst>
          </p:cNvPr>
          <p:cNvSpPr/>
          <p:nvPr/>
        </p:nvSpPr>
        <p:spPr>
          <a:xfrm>
            <a:off x="964843" y="3382212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1" name="직사각형 180">
            <a:extLst>
              <a:ext uri="{FF2B5EF4-FFF2-40B4-BE49-F238E27FC236}">
                <a16:creationId xmlns:a16="http://schemas.microsoft.com/office/drawing/2014/main" id="{62C5AA97-ECCF-40AB-B176-D8BC4080E67F}"/>
              </a:ext>
            </a:extLst>
          </p:cNvPr>
          <p:cNvSpPr/>
          <p:nvPr/>
        </p:nvSpPr>
        <p:spPr>
          <a:xfrm>
            <a:off x="964843" y="3696484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2" name="직사각형 181">
            <a:extLst>
              <a:ext uri="{FF2B5EF4-FFF2-40B4-BE49-F238E27FC236}">
                <a16:creationId xmlns:a16="http://schemas.microsoft.com/office/drawing/2014/main" id="{663470D0-8B10-491B-8C82-1E79B3497411}"/>
              </a:ext>
            </a:extLst>
          </p:cNvPr>
          <p:cNvSpPr/>
          <p:nvPr/>
        </p:nvSpPr>
        <p:spPr>
          <a:xfrm>
            <a:off x="964843" y="4031959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3" name="직사각형 182">
            <a:extLst>
              <a:ext uri="{FF2B5EF4-FFF2-40B4-BE49-F238E27FC236}">
                <a16:creationId xmlns:a16="http://schemas.microsoft.com/office/drawing/2014/main" id="{F1103903-8AA1-49DB-87AE-F38DC3E1837A}"/>
              </a:ext>
            </a:extLst>
          </p:cNvPr>
          <p:cNvSpPr/>
          <p:nvPr/>
        </p:nvSpPr>
        <p:spPr>
          <a:xfrm>
            <a:off x="964843" y="4359826"/>
            <a:ext cx="26596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6" name="직사각형 185">
            <a:extLst>
              <a:ext uri="{FF2B5EF4-FFF2-40B4-BE49-F238E27FC236}">
                <a16:creationId xmlns:a16="http://schemas.microsoft.com/office/drawing/2014/main" id="{D74B76BD-2375-4E20-BED2-CA7268E07937}"/>
              </a:ext>
            </a:extLst>
          </p:cNvPr>
          <p:cNvSpPr/>
          <p:nvPr/>
        </p:nvSpPr>
        <p:spPr>
          <a:xfrm>
            <a:off x="964843" y="4697559"/>
            <a:ext cx="265964" cy="172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87" name="그룹 186">
            <a:extLst>
              <a:ext uri="{FF2B5EF4-FFF2-40B4-BE49-F238E27FC236}">
                <a16:creationId xmlns:a16="http://schemas.microsoft.com/office/drawing/2014/main" id="{3FAAE3CD-E3C0-4C0F-AB3C-FF13B2144911}"/>
              </a:ext>
            </a:extLst>
          </p:cNvPr>
          <p:cNvGrpSpPr/>
          <p:nvPr/>
        </p:nvGrpSpPr>
        <p:grpSpPr>
          <a:xfrm>
            <a:off x="518365" y="5019855"/>
            <a:ext cx="139353" cy="139353"/>
            <a:chOff x="1996996" y="2755568"/>
            <a:chExt cx="139353" cy="139353"/>
          </a:xfrm>
        </p:grpSpPr>
        <p:sp>
          <p:nvSpPr>
            <p:cNvPr id="190" name="사각형: 둥근 모서리 189">
              <a:extLst>
                <a:ext uri="{FF2B5EF4-FFF2-40B4-BE49-F238E27FC236}">
                  <a16:creationId xmlns:a16="http://schemas.microsoft.com/office/drawing/2014/main" id="{7C2C7749-121A-4041-95D1-D352BC935831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92" name="그림 191">
              <a:extLst>
                <a:ext uri="{FF2B5EF4-FFF2-40B4-BE49-F238E27FC236}">
                  <a16:creationId xmlns:a16="http://schemas.microsoft.com/office/drawing/2014/main" id="{17E2DA67-DDA4-4B74-B162-39B8326F41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193" name="직사각형 192">
            <a:extLst>
              <a:ext uri="{FF2B5EF4-FFF2-40B4-BE49-F238E27FC236}">
                <a16:creationId xmlns:a16="http://schemas.microsoft.com/office/drawing/2014/main" id="{33A36A9D-0480-4D36-BFD0-2A95178A9F63}"/>
              </a:ext>
            </a:extLst>
          </p:cNvPr>
          <p:cNvSpPr/>
          <p:nvPr/>
        </p:nvSpPr>
        <p:spPr>
          <a:xfrm>
            <a:off x="964843" y="5004442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4" name="사각형: 둥근 모서리 193">
            <a:extLst>
              <a:ext uri="{FF2B5EF4-FFF2-40B4-BE49-F238E27FC236}">
                <a16:creationId xmlns:a16="http://schemas.microsoft.com/office/drawing/2014/main" id="{16C6B79E-34E2-438F-8026-EFB99CF96B16}"/>
              </a:ext>
            </a:extLst>
          </p:cNvPr>
          <p:cNvSpPr/>
          <p:nvPr/>
        </p:nvSpPr>
        <p:spPr>
          <a:xfrm>
            <a:off x="848905" y="179642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5" name="사각형: 둥근 모서리 194">
            <a:extLst>
              <a:ext uri="{FF2B5EF4-FFF2-40B4-BE49-F238E27FC236}">
                <a16:creationId xmlns:a16="http://schemas.microsoft.com/office/drawing/2014/main" id="{DFC6AE76-BB1F-43A8-A6F2-D0A92D0E75CE}"/>
              </a:ext>
            </a:extLst>
          </p:cNvPr>
          <p:cNvSpPr/>
          <p:nvPr/>
        </p:nvSpPr>
        <p:spPr>
          <a:xfrm>
            <a:off x="856189" y="205314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96" name="사각형: 둥근 모서리 195">
            <a:extLst>
              <a:ext uri="{FF2B5EF4-FFF2-40B4-BE49-F238E27FC236}">
                <a16:creationId xmlns:a16="http://schemas.microsoft.com/office/drawing/2014/main" id="{E2A00F70-3E7E-466C-94F2-9CE631C22543}"/>
              </a:ext>
            </a:extLst>
          </p:cNvPr>
          <p:cNvSpPr/>
          <p:nvPr/>
        </p:nvSpPr>
        <p:spPr>
          <a:xfrm>
            <a:off x="287404" y="23649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97" name="그룹 196">
            <a:extLst>
              <a:ext uri="{FF2B5EF4-FFF2-40B4-BE49-F238E27FC236}">
                <a16:creationId xmlns:a16="http://schemas.microsoft.com/office/drawing/2014/main" id="{561808B5-F562-483D-8DCC-1967AD3F2146}"/>
              </a:ext>
            </a:extLst>
          </p:cNvPr>
          <p:cNvGrpSpPr/>
          <p:nvPr/>
        </p:nvGrpSpPr>
        <p:grpSpPr>
          <a:xfrm>
            <a:off x="518365" y="5351006"/>
            <a:ext cx="139353" cy="139353"/>
            <a:chOff x="1996996" y="2755568"/>
            <a:chExt cx="139353" cy="139353"/>
          </a:xfrm>
        </p:grpSpPr>
        <p:sp>
          <p:nvSpPr>
            <p:cNvPr id="198" name="사각형: 둥근 모서리 197">
              <a:extLst>
                <a:ext uri="{FF2B5EF4-FFF2-40B4-BE49-F238E27FC236}">
                  <a16:creationId xmlns:a16="http://schemas.microsoft.com/office/drawing/2014/main" id="{67E6F8C6-D2CB-481A-97D0-77A787EC3132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199" name="그림 198">
              <a:extLst>
                <a:ext uri="{FF2B5EF4-FFF2-40B4-BE49-F238E27FC236}">
                  <a16:creationId xmlns:a16="http://schemas.microsoft.com/office/drawing/2014/main" id="{23DE9BD9-57B1-455E-8FAF-F6FCD0D57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200" name="직사각형 199">
            <a:extLst>
              <a:ext uri="{FF2B5EF4-FFF2-40B4-BE49-F238E27FC236}">
                <a16:creationId xmlns:a16="http://schemas.microsoft.com/office/drawing/2014/main" id="{320D911A-D26D-4B7D-87A9-67DBFA58256F}"/>
              </a:ext>
            </a:extLst>
          </p:cNvPr>
          <p:cNvSpPr/>
          <p:nvPr/>
        </p:nvSpPr>
        <p:spPr>
          <a:xfrm>
            <a:off x="964843" y="5335593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0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04" name="그룹 203">
            <a:extLst>
              <a:ext uri="{FF2B5EF4-FFF2-40B4-BE49-F238E27FC236}">
                <a16:creationId xmlns:a16="http://schemas.microsoft.com/office/drawing/2014/main" id="{D58FE098-3189-444A-9D9A-E9D4595ED679}"/>
              </a:ext>
            </a:extLst>
          </p:cNvPr>
          <p:cNvGrpSpPr/>
          <p:nvPr/>
        </p:nvGrpSpPr>
        <p:grpSpPr>
          <a:xfrm>
            <a:off x="518365" y="5661551"/>
            <a:ext cx="139353" cy="139353"/>
            <a:chOff x="1996996" y="2755568"/>
            <a:chExt cx="139353" cy="139353"/>
          </a:xfrm>
        </p:grpSpPr>
        <p:sp>
          <p:nvSpPr>
            <p:cNvPr id="205" name="사각형: 둥근 모서리 204">
              <a:extLst>
                <a:ext uri="{FF2B5EF4-FFF2-40B4-BE49-F238E27FC236}">
                  <a16:creationId xmlns:a16="http://schemas.microsoft.com/office/drawing/2014/main" id="{6F106E35-3C27-4BF9-B346-4187CBA703E6}"/>
                </a:ext>
              </a:extLst>
            </p:cNvPr>
            <p:cNvSpPr/>
            <p:nvPr/>
          </p:nvSpPr>
          <p:spPr>
            <a:xfrm>
              <a:off x="1996996" y="2755568"/>
              <a:ext cx="139353" cy="13935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pic>
          <p:nvPicPr>
            <p:cNvPr id="206" name="그림 205">
              <a:extLst>
                <a:ext uri="{FF2B5EF4-FFF2-40B4-BE49-F238E27FC236}">
                  <a16:creationId xmlns:a16="http://schemas.microsoft.com/office/drawing/2014/main" id="{9A2AACE7-B8CF-468F-B258-A24C8FD01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22559" y="2789430"/>
              <a:ext cx="81910" cy="81910"/>
            </a:xfrm>
            <a:prstGeom prst="rect">
              <a:avLst/>
            </a:prstGeom>
          </p:spPr>
        </p:pic>
      </p:grpSp>
      <p:sp>
        <p:nvSpPr>
          <p:cNvPr id="207" name="직사각형 206">
            <a:extLst>
              <a:ext uri="{FF2B5EF4-FFF2-40B4-BE49-F238E27FC236}">
                <a16:creationId xmlns:a16="http://schemas.microsoft.com/office/drawing/2014/main" id="{E331246A-CB24-4860-907E-E51FCC4A4EA8}"/>
              </a:ext>
            </a:extLst>
          </p:cNvPr>
          <p:cNvSpPr/>
          <p:nvPr/>
        </p:nvSpPr>
        <p:spPr>
          <a:xfrm>
            <a:off x="964843" y="5646138"/>
            <a:ext cx="26596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8" name="직사각형 207">
            <a:extLst>
              <a:ext uri="{FF2B5EF4-FFF2-40B4-BE49-F238E27FC236}">
                <a16:creationId xmlns:a16="http://schemas.microsoft.com/office/drawing/2014/main" id="{0ECECB12-3EB3-43BC-8437-512A748712C7}"/>
              </a:ext>
            </a:extLst>
          </p:cNvPr>
          <p:cNvSpPr/>
          <p:nvPr/>
        </p:nvSpPr>
        <p:spPr>
          <a:xfrm>
            <a:off x="8973779" y="1"/>
            <a:ext cx="3218221" cy="66856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+mn-ea"/>
                <a:cs typeface="Arial"/>
              </a:rPr>
              <a:t>〮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수정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: ESG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〮평가〮인증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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ESG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공시〮인증</a:t>
            </a:r>
            <a:endParaRPr lang="ko-KR" altLang="en-US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+mn-ea"/>
                <a:cs typeface="Arial"/>
              </a:rPr>
              <a:t>〮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토픽 변경사항 반영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ea typeface="맑은 고딕"/>
              <a:cs typeface="Arial"/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F51FE70B-58F8-40CD-B78D-A569AB60BCA6}"/>
              </a:ext>
            </a:extLst>
          </p:cNvPr>
          <p:cNvSpPr/>
          <p:nvPr/>
        </p:nvSpPr>
        <p:spPr>
          <a:xfrm>
            <a:off x="2584895" y="2584507"/>
            <a:ext cx="2908287" cy="161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B0A47FB9-C2EC-4569-9C0C-C9CD3AC473F0}"/>
              </a:ext>
            </a:extLst>
          </p:cNvPr>
          <p:cNvSpPr/>
          <p:nvPr/>
        </p:nvSpPr>
        <p:spPr>
          <a:xfrm>
            <a:off x="1392111" y="2737459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75F81733-B7E8-4064-9C68-E21F03ED6723}"/>
              </a:ext>
            </a:extLst>
          </p:cNvPr>
          <p:cNvSpPr/>
          <p:nvPr/>
        </p:nvSpPr>
        <p:spPr>
          <a:xfrm>
            <a:off x="1392111" y="30544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직사각형 134">
            <a:extLst>
              <a:ext uri="{FF2B5EF4-FFF2-40B4-BE49-F238E27FC236}">
                <a16:creationId xmlns:a16="http://schemas.microsoft.com/office/drawing/2014/main" id="{952D4EA9-E821-4598-A73F-5945F9FBC9FE}"/>
              </a:ext>
            </a:extLst>
          </p:cNvPr>
          <p:cNvSpPr/>
          <p:nvPr/>
        </p:nvSpPr>
        <p:spPr>
          <a:xfrm>
            <a:off x="1392111" y="3375915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5991C0ED-A25E-41F6-92CD-61C5E7DF246E}"/>
              </a:ext>
            </a:extLst>
          </p:cNvPr>
          <p:cNvSpPr/>
          <p:nvPr/>
        </p:nvSpPr>
        <p:spPr>
          <a:xfrm>
            <a:off x="1388800" y="3701731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087D7585-AA3A-4A2D-8E6C-AF9440AB16FA}"/>
              </a:ext>
            </a:extLst>
          </p:cNvPr>
          <p:cNvSpPr/>
          <p:nvPr/>
        </p:nvSpPr>
        <p:spPr>
          <a:xfrm>
            <a:off x="1386426" y="4021722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8" name="직사각형 137">
            <a:extLst>
              <a:ext uri="{FF2B5EF4-FFF2-40B4-BE49-F238E27FC236}">
                <a16:creationId xmlns:a16="http://schemas.microsoft.com/office/drawing/2014/main" id="{32BF4C88-7664-411D-8A58-42E19479725C}"/>
              </a:ext>
            </a:extLst>
          </p:cNvPr>
          <p:cNvSpPr/>
          <p:nvPr/>
        </p:nvSpPr>
        <p:spPr>
          <a:xfrm>
            <a:off x="1386426" y="4335550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787D73A5-E7C9-4804-B164-B694B0F90B69}"/>
              </a:ext>
            </a:extLst>
          </p:cNvPr>
          <p:cNvSpPr/>
          <p:nvPr/>
        </p:nvSpPr>
        <p:spPr>
          <a:xfrm>
            <a:off x="1381278" y="4662028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6D7AD4CB-4134-4543-992E-76A5C1095E88}"/>
              </a:ext>
            </a:extLst>
          </p:cNvPr>
          <p:cNvSpPr/>
          <p:nvPr/>
        </p:nvSpPr>
        <p:spPr>
          <a:xfrm>
            <a:off x="1378292" y="5636635"/>
            <a:ext cx="981294" cy="1728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새 토픽</a:t>
            </a:r>
          </a:p>
        </p:txBody>
      </p:sp>
      <p:sp>
        <p:nvSpPr>
          <p:cNvPr id="214" name="직사각형 213">
            <a:extLst>
              <a:ext uri="{FF2B5EF4-FFF2-40B4-BE49-F238E27FC236}">
                <a16:creationId xmlns:a16="http://schemas.microsoft.com/office/drawing/2014/main" id="{7B48E3DE-17C8-4F0C-9158-979CCC541D59}"/>
              </a:ext>
            </a:extLst>
          </p:cNvPr>
          <p:cNvSpPr/>
          <p:nvPr/>
        </p:nvSpPr>
        <p:spPr>
          <a:xfrm>
            <a:off x="1373899" y="4989158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5" name="직사각형 214">
            <a:extLst>
              <a:ext uri="{FF2B5EF4-FFF2-40B4-BE49-F238E27FC236}">
                <a16:creationId xmlns:a16="http://schemas.microsoft.com/office/drawing/2014/main" id="{71F60E33-5D8B-4F15-B25F-46782DA48FC6}"/>
              </a:ext>
            </a:extLst>
          </p:cNvPr>
          <p:cNvSpPr/>
          <p:nvPr/>
        </p:nvSpPr>
        <p:spPr>
          <a:xfrm>
            <a:off x="1370290" y="5325849"/>
            <a:ext cx="981294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6" name="직사각형 215">
            <a:extLst>
              <a:ext uri="{FF2B5EF4-FFF2-40B4-BE49-F238E27FC236}">
                <a16:creationId xmlns:a16="http://schemas.microsoft.com/office/drawing/2014/main" id="{48EE31AC-D5CF-40CC-BBC6-F581C76ED993}"/>
              </a:ext>
            </a:extLst>
          </p:cNvPr>
          <p:cNvSpPr/>
          <p:nvPr/>
        </p:nvSpPr>
        <p:spPr>
          <a:xfrm>
            <a:off x="1615834" y="2132738"/>
            <a:ext cx="770827" cy="161733"/>
          </a:xfrm>
          <a:prstGeom prst="rect">
            <a:avLst/>
          </a:prstGeom>
          <a:solidFill>
            <a:srgbClr val="F2F2F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제거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9.06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FF00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4786BE9-D4E7-850F-A597-0BC09AD932D2}"/>
              </a:ext>
            </a:extLst>
          </p:cNvPr>
          <p:cNvSpPr/>
          <p:nvPr/>
        </p:nvSpPr>
        <p:spPr>
          <a:xfrm>
            <a:off x="6408790" y="3292794"/>
            <a:ext cx="1306853" cy="244154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EEF1BBC6-E50D-4ADE-F0B7-9B6A3A109BAA}"/>
              </a:ext>
            </a:extLst>
          </p:cNvPr>
          <p:cNvSpPr/>
          <p:nvPr/>
        </p:nvSpPr>
        <p:spPr>
          <a:xfrm>
            <a:off x="6301046" y="3209160"/>
            <a:ext cx="2027142" cy="2638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공시인증 </a:t>
            </a:r>
            <a:endParaRPr lang="en-US" altLang="ko-KR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제공서비스 삭제 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23.08.29)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544723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7256602"/>
              </p:ext>
            </p:extLst>
          </p:nvPr>
        </p:nvGraphicFramePr>
        <p:xfrm>
          <a:off x="345126" y="1459939"/>
          <a:ext cx="8630652" cy="10859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331496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 형식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●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캘린더 형식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 형식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리 일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유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행사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포럼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미나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도서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책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28944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4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4547806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캘린더 관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캘린더 형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주요 행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도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적용 일정 등을  조회하여 관리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201563"/>
              </p:ext>
            </p:extLst>
          </p:nvPr>
        </p:nvGraphicFramePr>
        <p:xfrm>
          <a:off x="9267391" y="759199"/>
          <a:ext cx="2922885" cy="4449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번 달 기준으로 캘린더 형식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02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 형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관리 출력 형식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캘린더 형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91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리일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리 대상이 되는 일정 기간 선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캘린더 형식을 선택한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도와 월을 설정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 형식을 선택한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로 기간을 설정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간편 기능으로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 설정도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하는 일정의 유형 값 선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값을 선택하여 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행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도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 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를 입력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로 일정제목을 조회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목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정보를 가져와서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유형 값을 해당 일자에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일정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또는 공란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 이동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좌우 이동 키로 이전 또는 다음 월로 이동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 가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0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정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주요 일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정보 중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정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정인 정보를 가져와서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기나 월 예정사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월 또는 분기 값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일정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또는 공란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2585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78030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143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54686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캘린더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운영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캘린더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6" name="직사각형 225">
            <a:extLst>
              <a:ext uri="{FF2B5EF4-FFF2-40B4-BE49-F238E27FC236}">
                <a16:creationId xmlns:a16="http://schemas.microsoft.com/office/drawing/2014/main" id="{29405672-7434-45AF-BF2E-91D670F7E03E}"/>
              </a:ext>
            </a:extLst>
          </p:cNvPr>
          <p:cNvSpPr/>
          <p:nvPr/>
        </p:nvSpPr>
        <p:spPr>
          <a:xfrm>
            <a:off x="1406149" y="2014007"/>
            <a:ext cx="230091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내용입력</a:t>
            </a:r>
          </a:p>
        </p:txBody>
      </p: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23043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23043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9B42F6E3-F323-409D-B300-C0E997E88155}"/>
              </a:ext>
            </a:extLst>
          </p:cNvPr>
          <p:cNvGrpSpPr/>
          <p:nvPr/>
        </p:nvGrpSpPr>
        <p:grpSpPr>
          <a:xfrm>
            <a:off x="9825705" y="1799819"/>
            <a:ext cx="1697790" cy="428375"/>
            <a:chOff x="9408368" y="5129894"/>
            <a:chExt cx="1697790" cy="428375"/>
          </a:xfrm>
        </p:grpSpPr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73D7B8F0-497D-4292-9F8C-E0111B9E5BF1}"/>
                </a:ext>
              </a:extLst>
            </p:cNvPr>
            <p:cNvGrpSpPr/>
            <p:nvPr/>
          </p:nvGrpSpPr>
          <p:grpSpPr>
            <a:xfrm>
              <a:off x="9408368" y="5129894"/>
              <a:ext cx="1697790" cy="180527"/>
              <a:chOff x="1260033" y="1514945"/>
              <a:chExt cx="1697790" cy="180527"/>
            </a:xfrm>
          </p:grpSpPr>
          <p:grpSp>
            <p:nvGrpSpPr>
              <p:cNvPr id="26" name="그룹 25">
                <a:extLst>
                  <a:ext uri="{FF2B5EF4-FFF2-40B4-BE49-F238E27FC236}">
                    <a16:creationId xmlns:a16="http://schemas.microsoft.com/office/drawing/2014/main" id="{2CB77E35-E495-48AC-933C-78143479AE3B}"/>
                  </a:ext>
                </a:extLst>
              </p:cNvPr>
              <p:cNvGrpSpPr/>
              <p:nvPr/>
            </p:nvGrpSpPr>
            <p:grpSpPr>
              <a:xfrm>
                <a:off x="1260034" y="1522883"/>
                <a:ext cx="767981" cy="172589"/>
                <a:chOff x="1260034" y="1522884"/>
                <a:chExt cx="767981" cy="144000"/>
              </a:xfrm>
            </p:grpSpPr>
            <p:sp>
              <p:nvSpPr>
                <p:cNvPr id="16" name="직사각형 15">
                  <a:extLst>
                    <a:ext uri="{FF2B5EF4-FFF2-40B4-BE49-F238E27FC236}">
                      <a16:creationId xmlns:a16="http://schemas.microsoft.com/office/drawing/2014/main" id="{54105991-6501-4168-8BA9-5D85EFD54B01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15685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24" name="직사각형 23">
                  <a:extLst>
                    <a:ext uri="{FF2B5EF4-FFF2-40B4-BE49-F238E27FC236}">
                      <a16:creationId xmlns:a16="http://schemas.microsoft.com/office/drawing/2014/main" id="{2F827555-4081-4261-9A9A-2148AC4049B3}"/>
                    </a:ext>
                  </a:extLst>
                </p:cNvPr>
                <p:cNvSpPr/>
                <p:nvPr/>
              </p:nvSpPr>
              <p:spPr>
                <a:xfrm>
                  <a:off x="1879097" y="1525529"/>
                  <a:ext cx="148918" cy="13871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23" name="그림 22">
                  <a:extLst>
                    <a:ext uri="{FF2B5EF4-FFF2-40B4-BE49-F238E27FC236}">
                      <a16:creationId xmlns:a16="http://schemas.microsoft.com/office/drawing/2014/main" id="{01070033-EF9A-4A47-9A9E-D68F061C23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2134" y="1543493"/>
                  <a:ext cx="108000" cy="104242"/>
                </a:xfrm>
                <a:prstGeom prst="rect">
                  <a:avLst/>
                </a:prstGeom>
              </p:spPr>
            </p:pic>
          </p:grpSp>
          <p:grpSp>
            <p:nvGrpSpPr>
              <p:cNvPr id="70" name="그룹 69">
                <a:extLst>
                  <a:ext uri="{FF2B5EF4-FFF2-40B4-BE49-F238E27FC236}">
                    <a16:creationId xmlns:a16="http://schemas.microsoft.com/office/drawing/2014/main" id="{FE848C4E-6177-4ED8-8E14-42C73B29F256}"/>
                  </a:ext>
                </a:extLst>
              </p:cNvPr>
              <p:cNvGrpSpPr/>
              <p:nvPr/>
            </p:nvGrpSpPr>
            <p:grpSpPr>
              <a:xfrm>
                <a:off x="2177088" y="1522883"/>
                <a:ext cx="780735" cy="172589"/>
                <a:chOff x="1260034" y="1522884"/>
                <a:chExt cx="780735" cy="144000"/>
              </a:xfrm>
            </p:grpSpPr>
            <p:sp>
              <p:nvSpPr>
                <p:cNvPr id="72" name="직사각형 71">
                  <a:extLst>
                    <a:ext uri="{FF2B5EF4-FFF2-40B4-BE49-F238E27FC236}">
                      <a16:creationId xmlns:a16="http://schemas.microsoft.com/office/drawing/2014/main" id="{26FC3911-9203-4AAB-9BBC-4B1B8159950D}"/>
                    </a:ext>
                  </a:extLst>
                </p:cNvPr>
                <p:cNvSpPr/>
                <p:nvPr/>
              </p:nvSpPr>
              <p:spPr>
                <a:xfrm>
                  <a:off x="1260034" y="1522884"/>
                  <a:ext cx="625672" cy="144000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endParaRPr>
                </a:p>
              </p:txBody>
            </p:sp>
            <p:sp>
              <p:nvSpPr>
                <p:cNvPr id="78" name="직사각형 77">
                  <a:extLst>
                    <a:ext uri="{FF2B5EF4-FFF2-40B4-BE49-F238E27FC236}">
                      <a16:creationId xmlns:a16="http://schemas.microsoft.com/office/drawing/2014/main" id="{0DD98797-A83A-434A-AD2E-BE76B395A606}"/>
                    </a:ext>
                  </a:extLst>
                </p:cNvPr>
                <p:cNvSpPr/>
                <p:nvPr/>
              </p:nvSpPr>
              <p:spPr>
                <a:xfrm>
                  <a:off x="1891851" y="1526539"/>
                  <a:ext cx="148918" cy="13769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81" name="그림 80">
                  <a:extLst>
                    <a:ext uri="{FF2B5EF4-FFF2-40B4-BE49-F238E27FC236}">
                      <a16:creationId xmlns:a16="http://schemas.microsoft.com/office/drawing/2014/main" id="{CE0F8CC6-8026-4DAE-B6B9-8F986ED1D3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908983" y="1543493"/>
                  <a:ext cx="108000" cy="104242"/>
                </a:xfrm>
                <a:prstGeom prst="rect">
                  <a:avLst/>
                </a:prstGeom>
              </p:spPr>
            </p:pic>
          </p:grp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50864696-D459-493D-8276-58432E010678}"/>
                  </a:ext>
                </a:extLst>
              </p:cNvPr>
              <p:cNvSpPr/>
              <p:nvPr/>
            </p:nvSpPr>
            <p:spPr>
              <a:xfrm>
                <a:off x="2037897" y="1514945"/>
                <a:ext cx="147062" cy="14400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～</a:t>
                </a:r>
              </a:p>
            </p:txBody>
          </p:sp>
          <p:sp>
            <p:nvSpPr>
              <p:cNvPr id="86" name="직사각형 85">
                <a:extLst>
                  <a:ext uri="{FF2B5EF4-FFF2-40B4-BE49-F238E27FC236}">
                    <a16:creationId xmlns:a16="http://schemas.microsoft.com/office/drawing/2014/main" id="{16BC7ADE-7CA8-4D08-BC41-B046D960B4B0}"/>
                  </a:ext>
                </a:extLst>
              </p:cNvPr>
              <p:cNvSpPr/>
              <p:nvPr/>
            </p:nvSpPr>
            <p:spPr>
              <a:xfrm>
                <a:off x="1260033" y="1522517"/>
                <a:ext cx="671379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2-06-15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87" name="직사각형 86">
                <a:extLst>
                  <a:ext uri="{FF2B5EF4-FFF2-40B4-BE49-F238E27FC236}">
                    <a16:creationId xmlns:a16="http://schemas.microsoft.com/office/drawing/2014/main" id="{7E22A3D3-8F70-4E7D-995D-32C1C218FF75}"/>
                  </a:ext>
                </a:extLst>
              </p:cNvPr>
              <p:cNvSpPr/>
              <p:nvPr/>
            </p:nvSpPr>
            <p:spPr>
              <a:xfrm>
                <a:off x="2129446" y="1522883"/>
                <a:ext cx="720080" cy="17258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ko-KR" sz="80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023-06-14</a:t>
                </a:r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sp>
          <p:nvSpPr>
            <p:cNvPr id="65" name="사각형: 둥근 모서리 64">
              <a:extLst>
                <a:ext uri="{FF2B5EF4-FFF2-40B4-BE49-F238E27FC236}">
                  <a16:creationId xmlns:a16="http://schemas.microsoft.com/office/drawing/2014/main" id="{4EBF175F-42CC-442E-AA14-A21E217C82D5}"/>
                </a:ext>
              </a:extLst>
            </p:cNvPr>
            <p:cNvSpPr/>
            <p:nvPr/>
          </p:nvSpPr>
          <p:spPr>
            <a:xfrm>
              <a:off x="9408368" y="5388797"/>
              <a:ext cx="540000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b="1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월</a:t>
              </a:r>
            </a:p>
          </p:txBody>
        </p:sp>
        <p:sp>
          <p:nvSpPr>
            <p:cNvPr id="67" name="사각형: 둥근 모서리 66">
              <a:extLst>
                <a:ext uri="{FF2B5EF4-FFF2-40B4-BE49-F238E27FC236}">
                  <a16:creationId xmlns:a16="http://schemas.microsoft.com/office/drawing/2014/main" id="{1E78D2B4-067D-44A5-9454-96DD8AC2F95D}"/>
                </a:ext>
              </a:extLst>
            </p:cNvPr>
            <p:cNvSpPr/>
            <p:nvPr/>
          </p:nvSpPr>
          <p:spPr>
            <a:xfrm>
              <a:off x="9984447" y="5388797"/>
              <a:ext cx="540000" cy="169472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3</a:t>
              </a:r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월</a:t>
              </a:r>
            </a:p>
          </p:txBody>
        </p:sp>
      </p:grp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C38FCF65-2FE2-4F63-9B6C-9643D08BABED}"/>
              </a:ext>
            </a:extLst>
          </p:cNvPr>
          <p:cNvGraphicFramePr>
            <a:graphicFrameLocks noGrp="1"/>
          </p:cNvGraphicFramePr>
          <p:nvPr/>
        </p:nvGraphicFramePr>
        <p:xfrm>
          <a:off x="513548" y="3212176"/>
          <a:ext cx="8246749" cy="33851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8107">
                  <a:extLst>
                    <a:ext uri="{9D8B030D-6E8A-4147-A177-3AD203B41FA5}">
                      <a16:colId xmlns:a16="http://schemas.microsoft.com/office/drawing/2014/main" val="1287519327"/>
                    </a:ext>
                  </a:extLst>
                </a:gridCol>
                <a:gridCol w="1178107">
                  <a:extLst>
                    <a:ext uri="{9D8B030D-6E8A-4147-A177-3AD203B41FA5}">
                      <a16:colId xmlns:a16="http://schemas.microsoft.com/office/drawing/2014/main" val="392992179"/>
                    </a:ext>
                  </a:extLst>
                </a:gridCol>
                <a:gridCol w="1178107">
                  <a:extLst>
                    <a:ext uri="{9D8B030D-6E8A-4147-A177-3AD203B41FA5}">
                      <a16:colId xmlns:a16="http://schemas.microsoft.com/office/drawing/2014/main" val="2532934363"/>
                    </a:ext>
                  </a:extLst>
                </a:gridCol>
                <a:gridCol w="1178107">
                  <a:extLst>
                    <a:ext uri="{9D8B030D-6E8A-4147-A177-3AD203B41FA5}">
                      <a16:colId xmlns:a16="http://schemas.microsoft.com/office/drawing/2014/main" val="3868832831"/>
                    </a:ext>
                  </a:extLst>
                </a:gridCol>
                <a:gridCol w="1178107">
                  <a:extLst>
                    <a:ext uri="{9D8B030D-6E8A-4147-A177-3AD203B41FA5}">
                      <a16:colId xmlns:a16="http://schemas.microsoft.com/office/drawing/2014/main" val="987012086"/>
                    </a:ext>
                  </a:extLst>
                </a:gridCol>
                <a:gridCol w="1178107">
                  <a:extLst>
                    <a:ext uri="{9D8B030D-6E8A-4147-A177-3AD203B41FA5}">
                      <a16:colId xmlns:a16="http://schemas.microsoft.com/office/drawing/2014/main" val="2824993428"/>
                    </a:ext>
                  </a:extLst>
                </a:gridCol>
                <a:gridCol w="1178107">
                  <a:extLst>
                    <a:ext uri="{9D8B030D-6E8A-4147-A177-3AD203B41FA5}">
                      <a16:colId xmlns:a16="http://schemas.microsoft.com/office/drawing/2014/main" val="2835593631"/>
                    </a:ext>
                  </a:extLst>
                </a:gridCol>
              </a:tblGrid>
              <a:tr h="20887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rgbClr val="FF0000"/>
                          </a:solidFill>
                        </a:rPr>
                        <a:t>Sun</a:t>
                      </a:r>
                      <a:endParaRPr lang="ko-KR" altLang="en-US" sz="8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on</a:t>
                      </a:r>
                      <a:endParaRPr lang="ko-KR" alt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ue</a:t>
                      </a:r>
                      <a:endParaRPr lang="ko-KR" alt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d</a:t>
                      </a:r>
                      <a:endParaRPr lang="ko-KR" alt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u</a:t>
                      </a:r>
                      <a:endParaRPr lang="ko-KR" alt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ri</a:t>
                      </a:r>
                      <a:endParaRPr lang="ko-KR" alt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>
                          <a:solidFill>
                            <a:srgbClr val="1328A1"/>
                          </a:solidFill>
                        </a:rPr>
                        <a:t>Sat</a:t>
                      </a:r>
                      <a:endParaRPr lang="ko-KR" altLang="en-US" sz="800" dirty="0">
                        <a:solidFill>
                          <a:srgbClr val="1328A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360451"/>
                  </a:ext>
                </a:extLst>
              </a:tr>
              <a:tr h="528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26</a:t>
                      </a:r>
                      <a:endParaRPr lang="ko-KR" altLang="en-US" sz="700" dirty="0">
                        <a:solidFill>
                          <a:srgbClr val="FF0000"/>
                        </a:solidFill>
                      </a:endParaRPr>
                    </a:p>
                  </a:txBody>
                  <a:tcPr marL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7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8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9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0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1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1328A1"/>
                          </a:solidFill>
                        </a:rPr>
                        <a:t>1</a:t>
                      </a:r>
                      <a:endParaRPr lang="ko-KR" altLang="en-US" sz="700" dirty="0">
                        <a:solidFill>
                          <a:srgbClr val="1328A1"/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0280312"/>
                  </a:ext>
                </a:extLst>
              </a:tr>
              <a:tr h="528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2</a:t>
                      </a:r>
                      <a:endParaRPr lang="ko-KR" altLang="en-US" sz="700" dirty="0">
                        <a:solidFill>
                          <a:srgbClr val="FF0000"/>
                        </a:solidFill>
                      </a:endParaRPr>
                    </a:p>
                  </a:txBody>
                  <a:tcPr marL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4</a:t>
                      </a:r>
                      <a:b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altLang="ko-KR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MEA ESG Webinar</a:t>
                      </a: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7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ko-KR" altLang="en-US" sz="7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br>
                        <a:rPr lang="en-US" altLang="ko-KR" sz="7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br>
                        <a:rPr lang="en-US" altLang="ko-KR" sz="7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endParaRPr lang="en-US" altLang="ko-KR" sz="7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1" hangingPunct="1"/>
                      <a:endParaRPr lang="ko-KR" altLang="en-US" sz="7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1328A1"/>
                          </a:solidFill>
                        </a:rPr>
                        <a:t>8</a:t>
                      </a:r>
                      <a:endParaRPr lang="ko-KR" altLang="en-US" sz="700" dirty="0">
                        <a:solidFill>
                          <a:srgbClr val="1328A1"/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556028"/>
                  </a:ext>
                </a:extLst>
              </a:tr>
              <a:tr h="528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9</a:t>
                      </a:r>
                      <a:endParaRPr lang="ko-KR" altLang="en-US" sz="700" dirty="0">
                        <a:solidFill>
                          <a:srgbClr val="FF0000"/>
                        </a:solidFill>
                      </a:endParaRPr>
                    </a:p>
                  </a:txBody>
                  <a:tcPr marL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0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5FF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1 </a:t>
                      </a:r>
                      <a:b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altLang="ko-KR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ustainable Finance Forum</a:t>
                      </a:r>
                      <a:endParaRPr lang="ko-KR" altLang="en-US" sz="700" u="sng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2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3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4 </a:t>
                      </a:r>
                      <a:b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en-US" altLang="ko-KR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023 2nd ESG Insight </a:t>
                      </a:r>
                      <a:r>
                        <a:rPr lang="ko-KR" altLang="en-US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발간</a:t>
                      </a: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kern="1200" dirty="0">
                          <a:solidFill>
                            <a:srgbClr val="1328A1"/>
                          </a:solidFill>
                          <a:latin typeface="+mn-lt"/>
                          <a:ea typeface="+mn-ea"/>
                          <a:cs typeface="+mn-cs"/>
                        </a:rPr>
                        <a:t>15 </a:t>
                      </a:r>
                      <a:endParaRPr lang="ko-KR" altLang="en-US" sz="700" kern="1200" dirty="0">
                        <a:solidFill>
                          <a:srgbClr val="1328A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879563"/>
                  </a:ext>
                </a:extLst>
              </a:tr>
              <a:tr h="528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16</a:t>
                      </a:r>
                      <a:endParaRPr lang="ko-KR" altLang="en-US" sz="700" dirty="0">
                        <a:solidFill>
                          <a:srgbClr val="FF0000"/>
                        </a:solidFill>
                      </a:endParaRPr>
                    </a:p>
                  </a:txBody>
                  <a:tcPr marL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 </a:t>
                      </a:r>
                      <a:endParaRPr lang="ko-KR" altLang="en-US" sz="7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328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8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9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0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1</a:t>
                      </a:r>
                      <a:b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</a:br>
                      <a:r>
                        <a:rPr lang="ko-KR" altLang="en-US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한국 </a:t>
                      </a:r>
                      <a:r>
                        <a:rPr lang="en-US" altLang="ko-KR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SG</a:t>
                      </a:r>
                      <a:r>
                        <a:rPr lang="ko-KR" altLang="en-US" sz="7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기준원 지배구조 피드백 종료 예정일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1328A1"/>
                          </a:solidFill>
                        </a:rPr>
                        <a:t>22</a:t>
                      </a:r>
                      <a:endParaRPr lang="ko-KR" altLang="en-US" sz="700" dirty="0">
                        <a:solidFill>
                          <a:srgbClr val="1328A1"/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4839009"/>
                  </a:ext>
                </a:extLst>
              </a:tr>
              <a:tr h="528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23</a:t>
                      </a:r>
                      <a:endParaRPr lang="ko-KR" altLang="en-US" sz="700" dirty="0">
                        <a:solidFill>
                          <a:srgbClr val="FF0000"/>
                        </a:solidFill>
                      </a:endParaRPr>
                    </a:p>
                  </a:txBody>
                  <a:tcPr marL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4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5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6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7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8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1328A1"/>
                          </a:solidFill>
                        </a:rPr>
                        <a:t>29</a:t>
                      </a:r>
                      <a:endParaRPr lang="ko-KR" altLang="en-US" sz="700" dirty="0">
                        <a:solidFill>
                          <a:srgbClr val="1328A1"/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125502"/>
                  </a:ext>
                </a:extLst>
              </a:tr>
              <a:tr h="528636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FF0000"/>
                          </a:solidFill>
                        </a:rPr>
                        <a:t>30</a:t>
                      </a:r>
                      <a:endParaRPr lang="ko-KR" altLang="en-US" sz="700" dirty="0">
                        <a:solidFill>
                          <a:srgbClr val="FF0000"/>
                        </a:solidFill>
                      </a:endParaRPr>
                    </a:p>
                  </a:txBody>
                  <a:tcPr marL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1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4</a:t>
                      </a:r>
                      <a:endParaRPr lang="ko-KR" altLang="en-US" sz="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700" dirty="0">
                          <a:solidFill>
                            <a:srgbClr val="1328A1"/>
                          </a:solidFill>
                        </a:rPr>
                        <a:t>5</a:t>
                      </a:r>
                      <a:endParaRPr lang="ko-KR" altLang="en-US" sz="700" dirty="0">
                        <a:solidFill>
                          <a:srgbClr val="1328A1"/>
                        </a:solidFill>
                      </a:endParaRPr>
                    </a:p>
                  </a:txBody>
                  <a:tcPr marL="36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63722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E32101BD-CCB1-435A-9B7F-E7BE5E870521}"/>
              </a:ext>
            </a:extLst>
          </p:cNvPr>
          <p:cNvGraphicFramePr>
            <a:graphicFrameLocks noGrp="1"/>
          </p:cNvGraphicFramePr>
          <p:nvPr/>
        </p:nvGraphicFramePr>
        <p:xfrm>
          <a:off x="342797" y="2554424"/>
          <a:ext cx="8644038" cy="58167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4038">
                  <a:extLst>
                    <a:ext uri="{9D8B030D-6E8A-4147-A177-3AD203B41FA5}">
                      <a16:colId xmlns:a16="http://schemas.microsoft.com/office/drawing/2014/main" val="348469015"/>
                    </a:ext>
                  </a:extLst>
                </a:gridCol>
              </a:tblGrid>
              <a:tr h="295988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790411"/>
                  </a:ext>
                </a:extLst>
              </a:tr>
              <a:tr h="28568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◀  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 07 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▶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701720"/>
                  </a:ext>
                </a:extLst>
              </a:tr>
            </a:tbl>
          </a:graphicData>
        </a:graphic>
      </p:graphicFrame>
      <p:grpSp>
        <p:nvGrpSpPr>
          <p:cNvPr id="40" name="그룹 39">
            <a:extLst>
              <a:ext uri="{FF2B5EF4-FFF2-40B4-BE49-F238E27FC236}">
                <a16:creationId xmlns:a16="http://schemas.microsoft.com/office/drawing/2014/main" id="{46477B8D-0B42-492B-877D-016C7519E388}"/>
              </a:ext>
            </a:extLst>
          </p:cNvPr>
          <p:cNvGrpSpPr/>
          <p:nvPr/>
        </p:nvGrpSpPr>
        <p:grpSpPr>
          <a:xfrm>
            <a:off x="5823873" y="1502443"/>
            <a:ext cx="1065951" cy="172800"/>
            <a:chOff x="1418526" y="1508908"/>
            <a:chExt cx="1065951" cy="172800"/>
          </a:xfrm>
        </p:grpSpPr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2D6E03D3-B749-449A-8506-AA37FCC81C48}"/>
                </a:ext>
              </a:extLst>
            </p:cNvPr>
            <p:cNvSpPr/>
            <p:nvPr/>
          </p:nvSpPr>
          <p:spPr>
            <a:xfrm>
              <a:off x="1418526" y="1508908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 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년</a:t>
              </a:r>
            </a:p>
          </p:txBody>
        </p:sp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7AF2F249-714D-4D4E-AE2F-88BB56EA3F44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7021B1C8-D76B-4C07-9172-8DC6EB8C0624}"/>
              </a:ext>
            </a:extLst>
          </p:cNvPr>
          <p:cNvGrpSpPr/>
          <p:nvPr/>
        </p:nvGrpSpPr>
        <p:grpSpPr>
          <a:xfrm>
            <a:off x="6936007" y="1502443"/>
            <a:ext cx="1065951" cy="172800"/>
            <a:chOff x="1418526" y="1508908"/>
            <a:chExt cx="1065951" cy="172800"/>
          </a:xfrm>
        </p:grpSpPr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129F29C0-A806-4F58-8384-DF9F7945D106}"/>
                </a:ext>
              </a:extLst>
            </p:cNvPr>
            <p:cNvSpPr/>
            <p:nvPr/>
          </p:nvSpPr>
          <p:spPr>
            <a:xfrm>
              <a:off x="1418526" y="1508908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7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월</a:t>
              </a:r>
            </a:p>
          </p:txBody>
        </p:sp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EC010A82-45FB-4BC8-BF3F-C093D14AED5F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D34485E3-6B9A-4F44-9A44-9FEF822A5637}"/>
              </a:ext>
            </a:extLst>
          </p:cNvPr>
          <p:cNvSpPr/>
          <p:nvPr/>
        </p:nvSpPr>
        <p:spPr>
          <a:xfrm>
            <a:off x="237999" y="254401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 목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2C3DE22B-C720-43B2-9708-23B5DB02EC1F}"/>
              </a:ext>
            </a:extLst>
          </p:cNvPr>
          <p:cNvSpPr/>
          <p:nvPr/>
        </p:nvSpPr>
        <p:spPr>
          <a:xfrm>
            <a:off x="3637568" y="4100592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행사</a:t>
            </a: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DFB87998-4C4C-4047-822E-7C1B087CD92F}"/>
              </a:ext>
            </a:extLst>
          </p:cNvPr>
          <p:cNvSpPr/>
          <p:nvPr/>
        </p:nvSpPr>
        <p:spPr>
          <a:xfrm>
            <a:off x="2914948" y="4754700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행사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36BE20CA-E133-4575-92ED-78304FDDE23A}"/>
              </a:ext>
            </a:extLst>
          </p:cNvPr>
          <p:cNvSpPr/>
          <p:nvPr/>
        </p:nvSpPr>
        <p:spPr>
          <a:xfrm>
            <a:off x="6436948" y="4752184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발간</a:t>
            </a: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9BD1181F-AF39-4EBD-8F27-F7A8C2550B05}"/>
              </a:ext>
            </a:extLst>
          </p:cNvPr>
          <p:cNvSpPr/>
          <p:nvPr/>
        </p:nvSpPr>
        <p:spPr>
          <a:xfrm>
            <a:off x="6439728" y="5399400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평가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442E9188-CFB7-460B-ABC9-F4C8170BA3BB}"/>
              </a:ext>
            </a:extLst>
          </p:cNvPr>
          <p:cNvSpPr/>
          <p:nvPr/>
        </p:nvSpPr>
        <p:spPr>
          <a:xfrm>
            <a:off x="332992" y="6288833"/>
            <a:ext cx="794455" cy="39504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ko-KR" altLang="en-US" sz="900" b="1" dirty="0" err="1"/>
              <a:t>미확정</a:t>
            </a:r>
            <a:br>
              <a:rPr lang="en-US" altLang="ko-KR" sz="900" b="1" dirty="0"/>
            </a:br>
            <a:r>
              <a:rPr lang="ko-KR" altLang="en-US" sz="900" b="1" dirty="0"/>
              <a:t> 주요 일정</a:t>
            </a: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3A1E5718-A2E9-4E29-AF56-67347506F462}"/>
              </a:ext>
            </a:extLst>
          </p:cNvPr>
          <p:cNvSpPr/>
          <p:nvPr/>
        </p:nvSpPr>
        <p:spPr>
          <a:xfrm>
            <a:off x="1133976" y="6288833"/>
            <a:ext cx="7841802" cy="3950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ko-KR" altLang="en-US" sz="900" b="1" dirty="0"/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7F60CE71-8CC2-4C40-A624-438E6DE8FDE6}"/>
              </a:ext>
            </a:extLst>
          </p:cNvPr>
          <p:cNvSpPr/>
          <p:nvPr/>
        </p:nvSpPr>
        <p:spPr>
          <a:xfrm>
            <a:off x="1218118" y="6390659"/>
            <a:ext cx="2948049" cy="2160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[3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분기</a:t>
            </a:r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]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OOOO 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산업별 기준서 추가 발표 예정</a:t>
            </a:r>
            <a:endParaRPr lang="ko-KR" altLang="en-US" sz="1800" dirty="0">
              <a:solidFill>
                <a:sysClr val="windowText" lastClr="000000"/>
              </a:solidFill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1EEE9E32-CB30-4F4A-9D21-751D85E6C27B}"/>
              </a:ext>
            </a:extLst>
          </p:cNvPr>
          <p:cNvSpPr/>
          <p:nvPr/>
        </p:nvSpPr>
        <p:spPr>
          <a:xfrm>
            <a:off x="4304289" y="6390659"/>
            <a:ext cx="2948049" cy="2160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[7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월</a:t>
            </a:r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]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회계기준원</a:t>
            </a:r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, OOO 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지침 발간 예정</a:t>
            </a:r>
            <a:endParaRPr lang="ko-KR" altLang="en-US" sz="1800" dirty="0">
              <a:solidFill>
                <a:sysClr val="windowText" lastClr="000000"/>
              </a:solidFill>
            </a:endParaRPr>
          </a:p>
        </p:txBody>
      </p: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A3CC36C5-5363-4DDA-89C4-5AB2639719D9}"/>
              </a:ext>
            </a:extLst>
          </p:cNvPr>
          <p:cNvGrpSpPr/>
          <p:nvPr/>
        </p:nvGrpSpPr>
        <p:grpSpPr>
          <a:xfrm>
            <a:off x="8837297" y="3131054"/>
            <a:ext cx="152360" cy="3168000"/>
            <a:chOff x="9201470" y="1601344"/>
            <a:chExt cx="188139" cy="4198758"/>
          </a:xfrm>
        </p:grpSpPr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3FE7F775-DBDD-49AD-8646-8A1FD5C2A3B5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71" name="그룹 70">
              <a:extLst>
                <a:ext uri="{FF2B5EF4-FFF2-40B4-BE49-F238E27FC236}">
                  <a16:creationId xmlns:a16="http://schemas.microsoft.com/office/drawing/2014/main" id="{483FF999-09FB-4545-B75C-CC6D05E8678C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73" name="직사각형 72">
                <a:extLst>
                  <a:ext uri="{FF2B5EF4-FFF2-40B4-BE49-F238E27FC236}">
                    <a16:creationId xmlns:a16="http://schemas.microsoft.com/office/drawing/2014/main" id="{DA53DAE2-6A50-48AF-86C5-5D31D0A9A184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75" name="직사각형 74">
                <a:extLst>
                  <a:ext uri="{FF2B5EF4-FFF2-40B4-BE49-F238E27FC236}">
                    <a16:creationId xmlns:a16="http://schemas.microsoft.com/office/drawing/2014/main" id="{B4159DB6-020C-47C5-AF85-AFD87165F5EB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76" name="직사각형 75">
                <a:extLst>
                  <a:ext uri="{FF2B5EF4-FFF2-40B4-BE49-F238E27FC236}">
                    <a16:creationId xmlns:a16="http://schemas.microsoft.com/office/drawing/2014/main" id="{818EAE43-76BA-4B42-91DF-CF92CB2A2837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2391FB89-B9FB-453C-87F3-921FE149C0F6}"/>
              </a:ext>
            </a:extLst>
          </p:cNvPr>
          <p:cNvSpPr/>
          <p:nvPr/>
        </p:nvSpPr>
        <p:spPr>
          <a:xfrm>
            <a:off x="1312606" y="6448109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공시</a:t>
            </a: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87EAAC88-98C3-48C6-B5C0-9014594511CC}"/>
              </a:ext>
            </a:extLst>
          </p:cNvPr>
          <p:cNvSpPr/>
          <p:nvPr/>
        </p:nvSpPr>
        <p:spPr>
          <a:xfrm>
            <a:off x="4418716" y="6448109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공시</a:t>
            </a: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5627FF37-251D-4B25-BB98-75AAE3EE7A07}"/>
              </a:ext>
            </a:extLst>
          </p:cNvPr>
          <p:cNvSpPr/>
          <p:nvPr/>
        </p:nvSpPr>
        <p:spPr>
          <a:xfrm>
            <a:off x="1114605" y="15338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B0F7F032-6E9C-4BAC-8204-5EFC945CC6DB}"/>
              </a:ext>
            </a:extLst>
          </p:cNvPr>
          <p:cNvSpPr/>
          <p:nvPr/>
        </p:nvSpPr>
        <p:spPr>
          <a:xfrm>
            <a:off x="5485423" y="15338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E290958C-FACB-4D7C-94AC-5137A1AD3065}"/>
              </a:ext>
            </a:extLst>
          </p:cNvPr>
          <p:cNvSpPr/>
          <p:nvPr/>
        </p:nvSpPr>
        <p:spPr>
          <a:xfrm>
            <a:off x="1114605" y="17916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23CE1EDA-6716-42A1-94CC-940A07FD3091}"/>
              </a:ext>
            </a:extLst>
          </p:cNvPr>
          <p:cNvSpPr/>
          <p:nvPr/>
        </p:nvSpPr>
        <p:spPr>
          <a:xfrm>
            <a:off x="1114605" y="204413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74FEBD56-3D7E-4E52-BC67-2A99B202F97E}"/>
              </a:ext>
            </a:extLst>
          </p:cNvPr>
          <p:cNvSpPr/>
          <p:nvPr/>
        </p:nvSpPr>
        <p:spPr>
          <a:xfrm>
            <a:off x="367182" y="245679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2A8AA74C-4672-4040-9AA6-F29179AA98D9}"/>
              </a:ext>
            </a:extLst>
          </p:cNvPr>
          <p:cNvSpPr/>
          <p:nvPr/>
        </p:nvSpPr>
        <p:spPr>
          <a:xfrm>
            <a:off x="3910131" y="29510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031FD94B-2DDE-4B7F-85DB-EACD8AC3BCEC}"/>
              </a:ext>
            </a:extLst>
          </p:cNvPr>
          <p:cNvSpPr/>
          <p:nvPr/>
        </p:nvSpPr>
        <p:spPr>
          <a:xfrm>
            <a:off x="1031085" y="62959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D3666654-67F5-4890-BEA6-F0887F0C66F1}"/>
              </a:ext>
            </a:extLst>
          </p:cNvPr>
          <p:cNvSpPr/>
          <p:nvPr/>
        </p:nvSpPr>
        <p:spPr>
          <a:xfrm>
            <a:off x="8991155" y="4904764"/>
            <a:ext cx="3098119" cy="1844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</a:pP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일정 관리 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BO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기능은 공수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/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일정상 제외하기를 희망</a:t>
            </a:r>
            <a:b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</a:b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제안대로 </a:t>
            </a:r>
            <a:r>
              <a:rPr lang="ko-KR" altLang="en-US" sz="1000" dirty="0" err="1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런칭후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1~2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개월은 프론트만 전시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(</a:t>
            </a:r>
            <a:r>
              <a:rPr lang="ko-KR" altLang="en-US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디자인</a:t>
            </a:r>
            <a:r>
              <a:rPr lang="en-US" altLang="ko-KR" sz="1000" dirty="0">
                <a:solidFill>
                  <a:schemeClr val="tx1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+HTML)</a:t>
            </a:r>
          </a:p>
          <a:p>
            <a:pPr>
              <a:lnSpc>
                <a:spcPct val="120000"/>
              </a:lnSpc>
            </a:pPr>
            <a:r>
              <a:rPr lang="en-US" altLang="ko-KR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- FO</a:t>
            </a:r>
            <a:r>
              <a:rPr lang="ko-KR" altLang="en-US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화면에서 일정이 주간</a:t>
            </a:r>
            <a:r>
              <a:rPr lang="en-US" altLang="ko-KR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월간 캘린더형태로</a:t>
            </a:r>
            <a:endParaRPr lang="en-US" altLang="ko-KR" sz="1000" dirty="0">
              <a:solidFill>
                <a:srgbClr val="0070C0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 </a:t>
            </a:r>
            <a:r>
              <a:rPr lang="ko-KR" altLang="en-US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보여지고</a:t>
            </a:r>
            <a:r>
              <a:rPr lang="en-US" altLang="ko-KR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, </a:t>
            </a:r>
            <a:r>
              <a:rPr lang="ko-KR" altLang="en-US" sz="1000" dirty="0" err="1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일정별</a:t>
            </a:r>
            <a:r>
              <a:rPr lang="ko-KR" altLang="en-US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상세조회도 </a:t>
            </a:r>
            <a:r>
              <a:rPr lang="ko-KR" altLang="en-US" sz="1000" dirty="0" err="1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가능해야함</a:t>
            </a:r>
            <a:r>
              <a:rPr lang="en-US" altLang="ko-KR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. </a:t>
            </a:r>
          </a:p>
          <a:p>
            <a:pPr>
              <a:lnSpc>
                <a:spcPct val="120000"/>
              </a:lnSpc>
            </a:pPr>
            <a:r>
              <a:rPr lang="en-US" altLang="ko-KR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  HTML</a:t>
            </a:r>
            <a:r>
              <a:rPr lang="ko-KR" altLang="en-US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로 일정 상세조회 기능도 구현 가능한지 </a:t>
            </a:r>
            <a:endParaRPr lang="en-US" altLang="ko-KR" sz="1000" dirty="0">
              <a:solidFill>
                <a:srgbClr val="0070C0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  <a:p>
            <a:pPr>
              <a:lnSpc>
                <a:spcPct val="120000"/>
              </a:lnSpc>
            </a:pPr>
            <a:r>
              <a:rPr lang="ko-KR" altLang="en-US" sz="1000" dirty="0">
                <a:solidFill>
                  <a:srgbClr val="0070C0"/>
                </a:solidFill>
                <a:latin typeface="AppleSDGothicNeoM00" panose="02000503000000000000" pitchFamily="2" charset="-127"/>
                <a:ea typeface="AppleSDGothicNeoM00" panose="02000503000000000000" pitchFamily="2" charset="-127"/>
              </a:rPr>
              <a:t>   검토 필요 </a:t>
            </a:r>
            <a:endParaRPr lang="en-US" altLang="ko-KR" sz="1000" dirty="0">
              <a:solidFill>
                <a:srgbClr val="0070C0"/>
              </a:solidFill>
              <a:latin typeface="AppleSDGothicNeoM00" panose="02000503000000000000" pitchFamily="2" charset="-127"/>
              <a:ea typeface="AppleSDGothicNeoM00" panose="02000503000000000000" pitchFamily="2" charset="-127"/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C848AB19-872B-2DEA-0693-9A757A520281}"/>
              </a:ext>
            </a:extLst>
          </p:cNvPr>
          <p:cNvSpPr/>
          <p:nvPr/>
        </p:nvSpPr>
        <p:spPr>
          <a:xfrm>
            <a:off x="8112312" y="2615753"/>
            <a:ext cx="792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추가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CEB484D-441C-218E-D485-0B3B48F3A49C}"/>
              </a:ext>
            </a:extLst>
          </p:cNvPr>
          <p:cNvSpPr/>
          <p:nvPr/>
        </p:nvSpPr>
        <p:spPr>
          <a:xfrm>
            <a:off x="126448" y="613068"/>
            <a:ext cx="11939104" cy="6151002"/>
          </a:xfrm>
          <a:prstGeom prst="rect">
            <a:avLst/>
          </a:prstGeom>
          <a:solidFill>
            <a:srgbClr val="F2F2F2">
              <a:alpha val="89804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400" dirty="0">
                <a:solidFill>
                  <a:srgbClr val="FF0000"/>
                </a:solidFill>
              </a:rPr>
              <a:t>일정 관리 </a:t>
            </a:r>
            <a:r>
              <a:rPr lang="en-US" altLang="ko-KR" sz="1400" dirty="0">
                <a:solidFill>
                  <a:srgbClr val="FF0000"/>
                </a:solidFill>
              </a:rPr>
              <a:t>– BO</a:t>
            </a:r>
            <a:r>
              <a:rPr lang="ko-KR" altLang="en-US" sz="1400" dirty="0">
                <a:solidFill>
                  <a:srgbClr val="FF0000"/>
                </a:solidFill>
              </a:rPr>
              <a:t>에서는 캘린더 형식 출력 양식 삭제</a:t>
            </a:r>
            <a:endParaRPr lang="en-US" altLang="ko-KR" sz="1400" dirty="0">
              <a:solidFill>
                <a:srgbClr val="FF0000"/>
              </a:solidFill>
            </a:endParaRPr>
          </a:p>
          <a:p>
            <a:pPr algn="ctr">
              <a:lnSpc>
                <a:spcPct val="100000"/>
              </a:lnSpc>
            </a:pPr>
            <a:r>
              <a:rPr lang="en-US" altLang="ko-KR" sz="1400" dirty="0">
                <a:solidFill>
                  <a:srgbClr val="FF0000"/>
                </a:solidFill>
              </a:rPr>
              <a:t>(23.10.20 / </a:t>
            </a:r>
            <a:r>
              <a:rPr lang="en-US" altLang="ko-KR" sz="1400" dirty="0" err="1">
                <a:solidFill>
                  <a:srgbClr val="FF0000"/>
                </a:solidFill>
              </a:rPr>
              <a:t>ver</a:t>
            </a:r>
            <a:r>
              <a:rPr lang="en-US" altLang="ko-KR" sz="1400" dirty="0">
                <a:solidFill>
                  <a:srgbClr val="FF0000"/>
                </a:solidFill>
              </a:rPr>
              <a:t> 1.7)</a:t>
            </a:r>
            <a:endParaRPr lang="ko-KR" alt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037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885571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020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운영자 랜딩 페이지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err="1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어드민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으로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입하기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위한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6" name="표 10">
            <a:extLst>
              <a:ext uri="{FF2B5EF4-FFF2-40B4-BE49-F238E27FC236}">
                <a16:creationId xmlns:a16="http://schemas.microsoft.com/office/drawing/2014/main" id="{32059804-D2E1-4965-9079-E97C93665C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1869070"/>
              </p:ext>
            </p:extLst>
          </p:nvPr>
        </p:nvGraphicFramePr>
        <p:xfrm>
          <a:off x="9273919" y="746533"/>
          <a:ext cx="2922885" cy="56809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44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당일 날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월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일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71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일 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 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뉴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회원 수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 문의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의 요청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M001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는 당일 기준 신규문의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 뉴스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 입수 뉴스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M003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이동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리스트는 당일 기준 신규 입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뉴스만 보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신규 회원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M014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이동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스트는 당일 기준 신규 회원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임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5574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일 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의 일별 발문자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자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건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번달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합계 표기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바로가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M014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7167615"/>
                  </a:ext>
                </a:extLst>
              </a:tr>
              <a:tr h="5574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시점 기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라인 문의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별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개수 표기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확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IT)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처리중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Biz)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부서전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바로가기 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청 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M001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이동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5574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확인 문의 리스트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질의 제목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요청 상세 조회 및 답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[ID:M002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화면 출력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088763"/>
                  </a:ext>
                </a:extLst>
              </a:tr>
              <a:tr h="5574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조회 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일자 기준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로 조회된 화면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5178216"/>
                  </a:ext>
                </a:extLst>
              </a:tr>
              <a:tr h="5574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요청 조회 화면으로 이동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 기준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로 조회된 화면 출력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783236"/>
                  </a:ext>
                </a:extLst>
              </a:tr>
            </a:tbl>
          </a:graphicData>
        </a:graphic>
      </p:graphicFrame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29407DCF-0724-4A11-8025-125706411AAC}"/>
              </a:ext>
            </a:extLst>
          </p:cNvPr>
          <p:cNvSpPr/>
          <p:nvPr/>
        </p:nvSpPr>
        <p:spPr>
          <a:xfrm>
            <a:off x="623392" y="1484784"/>
            <a:ext cx="3205490" cy="1512168"/>
          </a:xfrm>
          <a:prstGeom prst="roundRect">
            <a:avLst>
              <a:gd name="adj" fmla="val 449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bIns="360000" rtlCol="0" anchor="ctr" anchorCtr="0"/>
          <a:lstStyle/>
          <a:p>
            <a:pPr>
              <a:lnSpc>
                <a:spcPct val="200000"/>
              </a:lnSpc>
            </a:pP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200000"/>
              </a:lnSpc>
            </a:pP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2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CAB021CF-F290-42EF-B958-2334FCCFB670}"/>
              </a:ext>
            </a:extLst>
          </p:cNvPr>
          <p:cNvCxnSpPr>
            <a:cxnSpLocks/>
          </p:cNvCxnSpPr>
          <p:nvPr/>
        </p:nvCxnSpPr>
        <p:spPr>
          <a:xfrm>
            <a:off x="695400" y="1946604"/>
            <a:ext cx="3044324" cy="0"/>
          </a:xfrm>
          <a:prstGeom prst="line">
            <a:avLst/>
          </a:prstGeom>
          <a:ln w="1270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5" name="직사각형 4">
            <a:extLst>
              <a:ext uri="{FF2B5EF4-FFF2-40B4-BE49-F238E27FC236}">
                <a16:creationId xmlns:a16="http://schemas.microsoft.com/office/drawing/2014/main" id="{EF7E2395-A5A7-4598-96F4-2D6C9C9A243D}"/>
              </a:ext>
            </a:extLst>
          </p:cNvPr>
          <p:cNvSpPr/>
          <p:nvPr/>
        </p:nvSpPr>
        <p:spPr>
          <a:xfrm>
            <a:off x="2420484" y="1659869"/>
            <a:ext cx="1509378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altLang="ko-KR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3-09-28 </a:t>
            </a:r>
            <a:r>
              <a:rPr lang="ko-KR" altLang="en-US" sz="10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요일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F919AF5-B2F7-4024-89CB-0E9E3E91863B}"/>
              </a:ext>
            </a:extLst>
          </p:cNvPr>
          <p:cNvSpPr/>
          <p:nvPr/>
        </p:nvSpPr>
        <p:spPr>
          <a:xfrm>
            <a:off x="724372" y="1630214"/>
            <a:ext cx="1509378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오늘의 할 일</a:t>
            </a: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24D4322D-3586-4860-8F37-4E898C081827}"/>
              </a:ext>
            </a:extLst>
          </p:cNvPr>
          <p:cNvSpPr/>
          <p:nvPr/>
        </p:nvSpPr>
        <p:spPr>
          <a:xfrm>
            <a:off x="743829" y="2075734"/>
            <a:ext cx="943683" cy="792088"/>
          </a:xfrm>
          <a:prstGeom prst="roundRect">
            <a:avLst>
              <a:gd name="adj" fmla="val 87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DEA2FC81-7E32-4CE7-9913-B42038540624}"/>
              </a:ext>
            </a:extLst>
          </p:cNvPr>
          <p:cNvSpPr/>
          <p:nvPr/>
        </p:nvSpPr>
        <p:spPr>
          <a:xfrm>
            <a:off x="947024" y="2213447"/>
            <a:ext cx="614571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2400" b="1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05</a:t>
            </a:r>
            <a:endParaRPr lang="ko-KR" altLang="en-US" sz="2400" b="1" u="sng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E1082682-FC05-403B-8059-8D6C1E8B392B}"/>
              </a:ext>
            </a:extLst>
          </p:cNvPr>
          <p:cNvSpPr/>
          <p:nvPr/>
        </p:nvSpPr>
        <p:spPr>
          <a:xfrm>
            <a:off x="743829" y="2541660"/>
            <a:ext cx="943683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문의</a:t>
            </a:r>
          </a:p>
        </p:txBody>
      </p:sp>
      <p:sp>
        <p:nvSpPr>
          <p:cNvPr id="34" name="사각형: 둥근 모서리 33">
            <a:extLst>
              <a:ext uri="{FF2B5EF4-FFF2-40B4-BE49-F238E27FC236}">
                <a16:creationId xmlns:a16="http://schemas.microsoft.com/office/drawing/2014/main" id="{C101A0B4-6834-48C3-910D-084B8ABADBB7}"/>
              </a:ext>
            </a:extLst>
          </p:cNvPr>
          <p:cNvSpPr/>
          <p:nvPr/>
        </p:nvSpPr>
        <p:spPr>
          <a:xfrm>
            <a:off x="1767942" y="2072314"/>
            <a:ext cx="943683" cy="792088"/>
          </a:xfrm>
          <a:prstGeom prst="roundRect">
            <a:avLst>
              <a:gd name="adj" fmla="val 87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8C195DE3-9596-4C05-91B5-739E118BC557}"/>
              </a:ext>
            </a:extLst>
          </p:cNvPr>
          <p:cNvSpPr/>
          <p:nvPr/>
        </p:nvSpPr>
        <p:spPr>
          <a:xfrm>
            <a:off x="1777914" y="2554112"/>
            <a:ext cx="943683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뉴스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B296DE8E-B876-44AD-8779-58B1930F2530}"/>
              </a:ext>
            </a:extLst>
          </p:cNvPr>
          <p:cNvSpPr/>
          <p:nvPr/>
        </p:nvSpPr>
        <p:spPr>
          <a:xfrm>
            <a:off x="1979138" y="2194985"/>
            <a:ext cx="688443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2400" b="1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1</a:t>
            </a:r>
            <a:endParaRPr lang="ko-KR" altLang="en-US" sz="2400" b="1" u="sng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4485C7BE-C33A-4931-AC8F-0BA354ECB407}"/>
              </a:ext>
            </a:extLst>
          </p:cNvPr>
          <p:cNvGrpSpPr/>
          <p:nvPr/>
        </p:nvGrpSpPr>
        <p:grpSpPr>
          <a:xfrm>
            <a:off x="4050724" y="1484783"/>
            <a:ext cx="4392249" cy="4833875"/>
            <a:chOff x="623630" y="3176970"/>
            <a:chExt cx="4392249" cy="4833875"/>
          </a:xfrm>
        </p:grpSpPr>
        <p:sp>
          <p:nvSpPr>
            <p:cNvPr id="38" name="사각형: 둥근 모서리 37">
              <a:extLst>
                <a:ext uri="{FF2B5EF4-FFF2-40B4-BE49-F238E27FC236}">
                  <a16:creationId xmlns:a16="http://schemas.microsoft.com/office/drawing/2014/main" id="{8D8E7846-7CFD-4206-9775-23F04511FA41}"/>
                </a:ext>
              </a:extLst>
            </p:cNvPr>
            <p:cNvSpPr/>
            <p:nvPr/>
          </p:nvSpPr>
          <p:spPr>
            <a:xfrm>
              <a:off x="623630" y="3176970"/>
              <a:ext cx="4392249" cy="4833875"/>
            </a:xfrm>
            <a:prstGeom prst="roundRect">
              <a:avLst>
                <a:gd name="adj" fmla="val 4497"/>
              </a:avLst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0000" bIns="360000" rtlCol="0" anchor="ctr" anchorCtr="0"/>
            <a:lstStyle/>
            <a:p>
              <a:pPr>
                <a:lnSpc>
                  <a:spcPct val="200000"/>
                </a:lnSpc>
              </a:pPr>
              <a:endPara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>
                <a:lnSpc>
                  <a:spcPct val="200000"/>
                </a:lnSpc>
              </a:pPr>
              <a:endParaRPr lang="en-US" altLang="ko-KR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  <a:p>
              <a:pPr>
                <a:lnSpc>
                  <a:spcPct val="200000"/>
                </a:lnSpc>
              </a:pPr>
              <a:r>
                <a:rPr lang="ko-KR" altLang="en-US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 </a:t>
              </a:r>
            </a:p>
          </p:txBody>
        </p:sp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5BE73565-22F1-44C2-9986-4AFB7D6E2678}"/>
                </a:ext>
              </a:extLst>
            </p:cNvPr>
            <p:cNvSpPr/>
            <p:nvPr/>
          </p:nvSpPr>
          <p:spPr>
            <a:xfrm>
              <a:off x="695400" y="3310774"/>
              <a:ext cx="1656184" cy="279895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ko-KR" altLang="en-US" sz="13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온라인 문의 현황</a:t>
              </a:r>
            </a:p>
          </p:txBody>
        </p:sp>
        <p:cxnSp>
          <p:nvCxnSpPr>
            <p:cNvPr id="40" name="직선 연결선 39">
              <a:extLst>
                <a:ext uri="{FF2B5EF4-FFF2-40B4-BE49-F238E27FC236}">
                  <a16:creationId xmlns:a16="http://schemas.microsoft.com/office/drawing/2014/main" id="{0EAE11F5-F1D0-4773-8F43-0A3E96134B13}"/>
                </a:ext>
              </a:extLst>
            </p:cNvPr>
            <p:cNvCxnSpPr>
              <a:cxnSpLocks/>
            </p:cNvCxnSpPr>
            <p:nvPr/>
          </p:nvCxnSpPr>
          <p:spPr>
            <a:xfrm>
              <a:off x="743828" y="3641574"/>
              <a:ext cx="4190414" cy="0"/>
            </a:xfrm>
            <a:prstGeom prst="line">
              <a:avLst/>
            </a:prstGeom>
            <a:ln w="12700" cap="sq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grpSp>
          <p:nvGrpSpPr>
            <p:cNvPr id="37" name="그룹 36">
              <a:extLst>
                <a:ext uri="{FF2B5EF4-FFF2-40B4-BE49-F238E27FC236}">
                  <a16:creationId xmlns:a16="http://schemas.microsoft.com/office/drawing/2014/main" id="{72EC32CF-F61E-4D98-974B-FBF6061412A2}"/>
                </a:ext>
              </a:extLst>
            </p:cNvPr>
            <p:cNvGrpSpPr/>
            <p:nvPr/>
          </p:nvGrpSpPr>
          <p:grpSpPr>
            <a:xfrm>
              <a:off x="756675" y="3767603"/>
              <a:ext cx="2046945" cy="795508"/>
              <a:chOff x="756675" y="3767603"/>
              <a:chExt cx="2869293" cy="795508"/>
            </a:xfrm>
          </p:grpSpPr>
          <p:sp>
            <p:nvSpPr>
              <p:cNvPr id="42" name="사각형: 둥근 모서리 41">
                <a:extLst>
                  <a:ext uri="{FF2B5EF4-FFF2-40B4-BE49-F238E27FC236}">
                    <a16:creationId xmlns:a16="http://schemas.microsoft.com/office/drawing/2014/main" id="{23A89C4C-C005-46F8-8DDD-23AF1B365382}"/>
                  </a:ext>
                </a:extLst>
              </p:cNvPr>
              <p:cNvSpPr/>
              <p:nvPr/>
            </p:nvSpPr>
            <p:spPr>
              <a:xfrm>
                <a:off x="756675" y="3771023"/>
                <a:ext cx="1362572" cy="792088"/>
              </a:xfrm>
              <a:prstGeom prst="roundRect">
                <a:avLst>
                  <a:gd name="adj" fmla="val 879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/>
              </a:p>
            </p:txBody>
          </p:sp>
          <p:sp>
            <p:nvSpPr>
              <p:cNvPr id="43" name="직사각형 42">
                <a:extLst>
                  <a:ext uri="{FF2B5EF4-FFF2-40B4-BE49-F238E27FC236}">
                    <a16:creationId xmlns:a16="http://schemas.microsoft.com/office/drawing/2014/main" id="{A4FDABFF-1B38-48CD-B44F-2DDC51CEB4EC}"/>
                  </a:ext>
                </a:extLst>
              </p:cNvPr>
              <p:cNvSpPr/>
              <p:nvPr/>
            </p:nvSpPr>
            <p:spPr>
              <a:xfrm>
                <a:off x="1059502" y="3905970"/>
                <a:ext cx="957531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0000"/>
                  </a:lnSpc>
                </a:pPr>
                <a:r>
                  <a:rPr lang="en-US" altLang="ko-KR" sz="24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5</a:t>
                </a:r>
                <a:endParaRPr lang="ko-KR" altLang="en-US" sz="24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44" name="직사각형 43">
                <a:extLst>
                  <a:ext uri="{FF2B5EF4-FFF2-40B4-BE49-F238E27FC236}">
                    <a16:creationId xmlns:a16="http://schemas.microsoft.com/office/drawing/2014/main" id="{3C7B7D83-6B67-4BEB-AAC7-8C074FCFAAC0}"/>
                  </a:ext>
                </a:extLst>
              </p:cNvPr>
              <p:cNvSpPr/>
              <p:nvPr/>
            </p:nvSpPr>
            <p:spPr>
              <a:xfrm>
                <a:off x="756675" y="4236949"/>
                <a:ext cx="1362572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미확인</a:t>
                </a:r>
              </a:p>
            </p:txBody>
          </p:sp>
          <p:sp>
            <p:nvSpPr>
              <p:cNvPr id="45" name="사각형: 둥근 모서리 44">
                <a:extLst>
                  <a:ext uri="{FF2B5EF4-FFF2-40B4-BE49-F238E27FC236}">
                    <a16:creationId xmlns:a16="http://schemas.microsoft.com/office/drawing/2014/main" id="{9646C34A-FAF6-4EDE-BAA8-D9063D9DEEDC}"/>
                  </a:ext>
                </a:extLst>
              </p:cNvPr>
              <p:cNvSpPr/>
              <p:nvPr/>
            </p:nvSpPr>
            <p:spPr>
              <a:xfrm>
                <a:off x="2235378" y="3767603"/>
                <a:ext cx="1362572" cy="792088"/>
              </a:xfrm>
              <a:prstGeom prst="roundRect">
                <a:avLst>
                  <a:gd name="adj" fmla="val 879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/>
              </a:p>
            </p:txBody>
          </p:sp>
          <p:sp>
            <p:nvSpPr>
              <p:cNvPr id="46" name="직사각형 45">
                <a:extLst>
                  <a:ext uri="{FF2B5EF4-FFF2-40B4-BE49-F238E27FC236}">
                    <a16:creationId xmlns:a16="http://schemas.microsoft.com/office/drawing/2014/main" id="{7F94E8E5-A36B-45E6-A208-F2BAE3601C57}"/>
                  </a:ext>
                </a:extLst>
              </p:cNvPr>
              <p:cNvSpPr/>
              <p:nvPr/>
            </p:nvSpPr>
            <p:spPr>
              <a:xfrm>
                <a:off x="2263396" y="4249401"/>
                <a:ext cx="1362572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1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처리중</a:t>
                </a:r>
                <a:r>
                  <a:rPr lang="en-US" altLang="ko-KR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IT)</a:t>
                </a:r>
                <a:endPara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47" name="직사각형 46">
                <a:extLst>
                  <a:ext uri="{FF2B5EF4-FFF2-40B4-BE49-F238E27FC236}">
                    <a16:creationId xmlns:a16="http://schemas.microsoft.com/office/drawing/2014/main" id="{CD327BFC-D377-4447-97B9-3D1BC4ABC882}"/>
                  </a:ext>
                </a:extLst>
              </p:cNvPr>
              <p:cNvSpPr/>
              <p:nvPr/>
            </p:nvSpPr>
            <p:spPr>
              <a:xfrm>
                <a:off x="2574203" y="3905970"/>
                <a:ext cx="960155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0000"/>
                  </a:lnSpc>
                </a:pPr>
                <a:r>
                  <a:rPr lang="en-US" altLang="ko-KR" sz="24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3</a:t>
                </a:r>
                <a:endParaRPr lang="ko-KR" altLang="en-US" sz="24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49" name="그룹 48">
              <a:extLst>
                <a:ext uri="{FF2B5EF4-FFF2-40B4-BE49-F238E27FC236}">
                  <a16:creationId xmlns:a16="http://schemas.microsoft.com/office/drawing/2014/main" id="{4991050F-28D8-41EC-A267-A634FFE9D34A}"/>
                </a:ext>
              </a:extLst>
            </p:cNvPr>
            <p:cNvGrpSpPr/>
            <p:nvPr/>
          </p:nvGrpSpPr>
          <p:grpSpPr>
            <a:xfrm>
              <a:off x="2884405" y="3774443"/>
              <a:ext cx="2049837" cy="792088"/>
              <a:chOff x="756675" y="3771023"/>
              <a:chExt cx="2873347" cy="792088"/>
            </a:xfrm>
          </p:grpSpPr>
          <p:sp>
            <p:nvSpPr>
              <p:cNvPr id="50" name="사각형: 둥근 모서리 49">
                <a:extLst>
                  <a:ext uri="{FF2B5EF4-FFF2-40B4-BE49-F238E27FC236}">
                    <a16:creationId xmlns:a16="http://schemas.microsoft.com/office/drawing/2014/main" id="{66E1062F-FD63-45F0-A33B-22F847A93F56}"/>
                  </a:ext>
                </a:extLst>
              </p:cNvPr>
              <p:cNvSpPr/>
              <p:nvPr/>
            </p:nvSpPr>
            <p:spPr>
              <a:xfrm>
                <a:off x="756675" y="3771023"/>
                <a:ext cx="1362572" cy="792088"/>
              </a:xfrm>
              <a:prstGeom prst="roundRect">
                <a:avLst>
                  <a:gd name="adj" fmla="val 879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/>
              </a:p>
            </p:txBody>
          </p:sp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B18B9003-DA75-47BE-AAE0-3179EC60B92E}"/>
                  </a:ext>
                </a:extLst>
              </p:cNvPr>
              <p:cNvSpPr/>
              <p:nvPr/>
            </p:nvSpPr>
            <p:spPr>
              <a:xfrm>
                <a:off x="1059502" y="3905970"/>
                <a:ext cx="957531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0000"/>
                  </a:lnSpc>
                </a:pPr>
                <a:r>
                  <a:rPr lang="en-US" altLang="ko-KR" sz="24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05</a:t>
                </a:r>
                <a:endParaRPr lang="ko-KR" altLang="en-US" sz="24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2" name="직사각형 51">
                <a:extLst>
                  <a:ext uri="{FF2B5EF4-FFF2-40B4-BE49-F238E27FC236}">
                    <a16:creationId xmlns:a16="http://schemas.microsoft.com/office/drawing/2014/main" id="{4AE909D7-B21B-4F89-B408-C3881DA0F9AB}"/>
                  </a:ext>
                </a:extLst>
              </p:cNvPr>
              <p:cNvSpPr/>
              <p:nvPr/>
            </p:nvSpPr>
            <p:spPr>
              <a:xfrm>
                <a:off x="756675" y="4236949"/>
                <a:ext cx="1362572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100" b="1" dirty="0" err="1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처리중</a:t>
                </a:r>
                <a:r>
                  <a:rPr lang="en-US" altLang="ko-KR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(Biz)</a:t>
                </a:r>
                <a:endParaRPr lang="ko-KR" altLang="en-US" sz="11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53" name="사각형: 둥근 모서리 52">
                <a:extLst>
                  <a:ext uri="{FF2B5EF4-FFF2-40B4-BE49-F238E27FC236}">
                    <a16:creationId xmlns:a16="http://schemas.microsoft.com/office/drawing/2014/main" id="{DF62AA2F-8E3F-4199-84FE-8058BC8898AC}"/>
                  </a:ext>
                </a:extLst>
              </p:cNvPr>
              <p:cNvSpPr/>
              <p:nvPr/>
            </p:nvSpPr>
            <p:spPr>
              <a:xfrm>
                <a:off x="2267450" y="3771023"/>
                <a:ext cx="1362572" cy="792088"/>
              </a:xfrm>
              <a:prstGeom prst="roundRect">
                <a:avLst>
                  <a:gd name="adj" fmla="val 879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1400"/>
              </a:p>
            </p:txBody>
          </p:sp>
          <p:sp>
            <p:nvSpPr>
              <p:cNvPr id="54" name="직사각형 53">
                <a:extLst>
                  <a:ext uri="{FF2B5EF4-FFF2-40B4-BE49-F238E27FC236}">
                    <a16:creationId xmlns:a16="http://schemas.microsoft.com/office/drawing/2014/main" id="{D85D55FD-B8EE-4797-987E-39F71031E9F2}"/>
                  </a:ext>
                </a:extLst>
              </p:cNvPr>
              <p:cNvSpPr/>
              <p:nvPr/>
            </p:nvSpPr>
            <p:spPr>
              <a:xfrm>
                <a:off x="2263396" y="4249401"/>
                <a:ext cx="1362572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ko-KR" altLang="en-US" sz="11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부서전달</a:t>
                </a:r>
              </a:p>
            </p:txBody>
          </p:sp>
          <p:sp>
            <p:nvSpPr>
              <p:cNvPr id="55" name="직사각형 54">
                <a:extLst>
                  <a:ext uri="{FF2B5EF4-FFF2-40B4-BE49-F238E27FC236}">
                    <a16:creationId xmlns:a16="http://schemas.microsoft.com/office/drawing/2014/main" id="{F9F50810-743F-4646-B4F9-D6C524ECA354}"/>
                  </a:ext>
                </a:extLst>
              </p:cNvPr>
              <p:cNvSpPr/>
              <p:nvPr/>
            </p:nvSpPr>
            <p:spPr>
              <a:xfrm>
                <a:off x="2574203" y="3905970"/>
                <a:ext cx="960155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0000"/>
                  </a:lnSpc>
                </a:pPr>
                <a:r>
                  <a:rPr lang="en-US" altLang="ko-KR" sz="2400" b="1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2</a:t>
                </a:r>
                <a:endParaRPr lang="ko-KR" altLang="en-US" sz="24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37B8BE63-9F06-4AC4-BC07-69446B5B62A3}"/>
              </a:ext>
            </a:extLst>
          </p:cNvPr>
          <p:cNvSpPr/>
          <p:nvPr/>
        </p:nvSpPr>
        <p:spPr>
          <a:xfrm>
            <a:off x="623392" y="3134007"/>
            <a:ext cx="3239745" cy="3184652"/>
          </a:xfrm>
          <a:prstGeom prst="roundRect">
            <a:avLst>
              <a:gd name="adj" fmla="val 2213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bIns="360000" rtlCol="0" anchor="ctr" anchorCtr="0"/>
          <a:lstStyle/>
          <a:p>
            <a:pPr>
              <a:lnSpc>
                <a:spcPct val="200000"/>
              </a:lnSpc>
            </a:pP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200000"/>
              </a:lnSpc>
            </a:pPr>
            <a:endParaRPr lang="en-US" altLang="ko-KR" sz="13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>
              <a:lnSpc>
                <a:spcPct val="2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732C85B4-57CF-404C-ACFF-BA0B6F7815E0}"/>
              </a:ext>
            </a:extLst>
          </p:cNvPr>
          <p:cNvSpPr/>
          <p:nvPr/>
        </p:nvSpPr>
        <p:spPr>
          <a:xfrm>
            <a:off x="695162" y="3267811"/>
            <a:ext cx="1221610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회원 현황</a:t>
            </a:r>
          </a:p>
        </p:txBody>
      </p:sp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D6A79451-3C0F-4BB0-AED4-A07A04199539}"/>
              </a:ext>
            </a:extLst>
          </p:cNvPr>
          <p:cNvCxnSpPr>
            <a:cxnSpLocks/>
          </p:cNvCxnSpPr>
          <p:nvPr/>
        </p:nvCxnSpPr>
        <p:spPr>
          <a:xfrm>
            <a:off x="743590" y="3598611"/>
            <a:ext cx="3006106" cy="0"/>
          </a:xfrm>
          <a:prstGeom prst="line">
            <a:avLst/>
          </a:prstGeom>
          <a:ln w="1270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B2306833-A32F-43A9-BB82-F0CE21DF9D4F}"/>
              </a:ext>
            </a:extLst>
          </p:cNvPr>
          <p:cNvSpPr/>
          <p:nvPr/>
        </p:nvSpPr>
        <p:spPr>
          <a:xfrm>
            <a:off x="2796041" y="2078836"/>
            <a:ext cx="943683" cy="792088"/>
          </a:xfrm>
          <a:prstGeom prst="roundRect">
            <a:avLst>
              <a:gd name="adj" fmla="val 87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8E1F0C22-3F7B-43B7-A974-93AB8E2DB70C}"/>
              </a:ext>
            </a:extLst>
          </p:cNvPr>
          <p:cNvSpPr/>
          <p:nvPr/>
        </p:nvSpPr>
        <p:spPr>
          <a:xfrm>
            <a:off x="2806013" y="2560634"/>
            <a:ext cx="943683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ko-KR" altLang="en-US" sz="11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신규 회원</a:t>
            </a: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9D75232F-55D7-45AA-9575-112B11CB34A2}"/>
              </a:ext>
            </a:extLst>
          </p:cNvPr>
          <p:cNvSpPr/>
          <p:nvPr/>
        </p:nvSpPr>
        <p:spPr>
          <a:xfrm>
            <a:off x="3007237" y="2201507"/>
            <a:ext cx="688443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2400" b="1" u="sng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1</a:t>
            </a:r>
            <a:endParaRPr lang="ko-KR" altLang="en-US" sz="2400" b="1" u="sng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81" name="표 2">
            <a:extLst>
              <a:ext uri="{FF2B5EF4-FFF2-40B4-BE49-F238E27FC236}">
                <a16:creationId xmlns:a16="http://schemas.microsoft.com/office/drawing/2014/main" id="{4B8CFCEA-666A-496D-BE9F-53BFD4276B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9788208"/>
              </p:ext>
            </p:extLst>
          </p:nvPr>
        </p:nvGraphicFramePr>
        <p:xfrm>
          <a:off x="730451" y="3664392"/>
          <a:ext cx="3009272" cy="24250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52318">
                  <a:extLst>
                    <a:ext uri="{9D8B030D-6E8A-4147-A177-3AD203B41FA5}">
                      <a16:colId xmlns:a16="http://schemas.microsoft.com/office/drawing/2014/main" val="501644273"/>
                    </a:ext>
                  </a:extLst>
                </a:gridCol>
                <a:gridCol w="752318">
                  <a:extLst>
                    <a:ext uri="{9D8B030D-6E8A-4147-A177-3AD203B41FA5}">
                      <a16:colId xmlns:a16="http://schemas.microsoft.com/office/drawing/2014/main" val="3814020206"/>
                    </a:ext>
                  </a:extLst>
                </a:gridCol>
                <a:gridCol w="752318">
                  <a:extLst>
                    <a:ext uri="{9D8B030D-6E8A-4147-A177-3AD203B41FA5}">
                      <a16:colId xmlns:a16="http://schemas.microsoft.com/office/drawing/2014/main" val="2053263931"/>
                    </a:ext>
                  </a:extLst>
                </a:gridCol>
                <a:gridCol w="752318">
                  <a:extLst>
                    <a:ext uri="{9D8B030D-6E8A-4147-A177-3AD203B41FA5}">
                      <a16:colId xmlns:a16="http://schemas.microsoft.com/office/drawing/2014/main" val="1661561398"/>
                    </a:ext>
                  </a:extLst>
                </a:gridCol>
              </a:tblGrid>
              <a:tr h="27254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자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방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입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7525474"/>
                  </a:ext>
                </a:extLst>
              </a:tr>
              <a:tr h="2725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10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3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5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3519844"/>
                  </a:ext>
                </a:extLst>
              </a:tr>
              <a:tr h="2725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09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12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2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9971888"/>
                  </a:ext>
                </a:extLst>
              </a:tr>
              <a:tr h="2725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08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3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4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8658074"/>
                  </a:ext>
                </a:extLst>
              </a:tr>
              <a:tr h="2725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07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40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1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2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39120382"/>
                  </a:ext>
                </a:extLst>
              </a:tr>
              <a:tr h="2725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06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07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45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0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109601"/>
                  </a:ext>
                </a:extLst>
              </a:tr>
              <a:tr h="24463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-10-05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93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92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</a:t>
                      </a:r>
                      <a:endParaRPr lang="ko-KR" altLang="en-US" sz="9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9643740"/>
                  </a:ext>
                </a:extLst>
              </a:tr>
              <a:tr h="272546"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868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09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1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516282"/>
                  </a:ext>
                </a:extLst>
              </a:tr>
              <a:tr h="272546"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번달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312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450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23</a:t>
                      </a:r>
                      <a:endParaRPr lang="ko-KR" altLang="en-US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523760"/>
                  </a:ext>
                </a:extLst>
              </a:tr>
            </a:tbl>
          </a:graphicData>
        </a:graphic>
      </p:graphicFrame>
      <p:sp>
        <p:nvSpPr>
          <p:cNvPr id="82" name="사각형: 둥근 모서리 81">
            <a:extLst>
              <a:ext uri="{FF2B5EF4-FFF2-40B4-BE49-F238E27FC236}">
                <a16:creationId xmlns:a16="http://schemas.microsoft.com/office/drawing/2014/main" id="{926CCF7C-0E41-4916-AABB-E5CE7D3C4C81}"/>
              </a:ext>
            </a:extLst>
          </p:cNvPr>
          <p:cNvSpPr/>
          <p:nvPr/>
        </p:nvSpPr>
        <p:spPr>
          <a:xfrm>
            <a:off x="2520833" y="162975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3" name="사각형: 둥근 모서리 82">
            <a:extLst>
              <a:ext uri="{FF2B5EF4-FFF2-40B4-BE49-F238E27FC236}">
                <a16:creationId xmlns:a16="http://schemas.microsoft.com/office/drawing/2014/main" id="{0B8570EE-3377-49F6-9B28-4288C3C59855}"/>
              </a:ext>
            </a:extLst>
          </p:cNvPr>
          <p:cNvSpPr/>
          <p:nvPr/>
        </p:nvSpPr>
        <p:spPr>
          <a:xfrm>
            <a:off x="559286" y="201812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4" name="사각형: 둥근 모서리 83">
            <a:extLst>
              <a:ext uri="{FF2B5EF4-FFF2-40B4-BE49-F238E27FC236}">
                <a16:creationId xmlns:a16="http://schemas.microsoft.com/office/drawing/2014/main" id="{0B0B4DCB-6DA0-45E3-90B8-16AD0D02F616}"/>
              </a:ext>
            </a:extLst>
          </p:cNvPr>
          <p:cNvSpPr/>
          <p:nvPr/>
        </p:nvSpPr>
        <p:spPr>
          <a:xfrm>
            <a:off x="4091801" y="152138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5" name="사각형: 둥근 모서리 84">
            <a:extLst>
              <a:ext uri="{FF2B5EF4-FFF2-40B4-BE49-F238E27FC236}">
                <a16:creationId xmlns:a16="http://schemas.microsoft.com/office/drawing/2014/main" id="{FC161027-A277-4CC2-9DC6-A674B18C3C5E}"/>
              </a:ext>
            </a:extLst>
          </p:cNvPr>
          <p:cNvSpPr/>
          <p:nvPr/>
        </p:nvSpPr>
        <p:spPr>
          <a:xfrm>
            <a:off x="679126" y="3639626"/>
            <a:ext cx="106925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2CD9C97B-A6FE-4A9D-86F0-BEF75FAE18F8}"/>
              </a:ext>
            </a:extLst>
          </p:cNvPr>
          <p:cNvSpPr/>
          <p:nvPr/>
        </p:nvSpPr>
        <p:spPr>
          <a:xfrm>
            <a:off x="4108321" y="3261398"/>
            <a:ext cx="1656184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미확인 온라인 문의 </a:t>
            </a:r>
          </a:p>
        </p:txBody>
      </p:sp>
      <p:cxnSp>
        <p:nvCxnSpPr>
          <p:cNvPr id="58" name="직선 연결선 57">
            <a:extLst>
              <a:ext uri="{FF2B5EF4-FFF2-40B4-BE49-F238E27FC236}">
                <a16:creationId xmlns:a16="http://schemas.microsoft.com/office/drawing/2014/main" id="{1F843730-D6B2-4956-91D3-5FC49C91903B}"/>
              </a:ext>
            </a:extLst>
          </p:cNvPr>
          <p:cNvCxnSpPr>
            <a:cxnSpLocks/>
          </p:cNvCxnSpPr>
          <p:nvPr/>
        </p:nvCxnSpPr>
        <p:spPr>
          <a:xfrm>
            <a:off x="4156749" y="3592198"/>
            <a:ext cx="4190414" cy="0"/>
          </a:xfrm>
          <a:prstGeom prst="line">
            <a:avLst/>
          </a:prstGeom>
          <a:ln w="1270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D540963F-30B1-413E-9484-74F74FBDE850}"/>
              </a:ext>
            </a:extLst>
          </p:cNvPr>
          <p:cNvSpPr/>
          <p:nvPr/>
        </p:nvSpPr>
        <p:spPr>
          <a:xfrm>
            <a:off x="7647593" y="1659868"/>
            <a:ext cx="664995" cy="211121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바로가기</a:t>
            </a: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F6FC7317-9E2B-4CB0-ACE6-EF48803307C1}"/>
              </a:ext>
            </a:extLst>
          </p:cNvPr>
          <p:cNvSpPr/>
          <p:nvPr/>
        </p:nvSpPr>
        <p:spPr>
          <a:xfrm>
            <a:off x="3044076" y="3305133"/>
            <a:ext cx="664995" cy="211121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바로가기</a:t>
            </a:r>
          </a:p>
        </p:txBody>
      </p:sp>
      <p:graphicFrame>
        <p:nvGraphicFramePr>
          <p:cNvPr id="64" name="표 66">
            <a:extLst>
              <a:ext uri="{FF2B5EF4-FFF2-40B4-BE49-F238E27FC236}">
                <a16:creationId xmlns:a16="http://schemas.microsoft.com/office/drawing/2014/main" id="{F183485A-0888-4AC0-8D5E-CF460AAB6B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0297295"/>
              </p:ext>
            </p:extLst>
          </p:nvPr>
        </p:nvGraphicFramePr>
        <p:xfrm>
          <a:off x="4164282" y="3678119"/>
          <a:ext cx="4164584" cy="23084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2721">
                  <a:extLst>
                    <a:ext uri="{9D8B030D-6E8A-4147-A177-3AD203B41FA5}">
                      <a16:colId xmlns:a16="http://schemas.microsoft.com/office/drawing/2014/main" val="2704810097"/>
                    </a:ext>
                  </a:extLst>
                </a:gridCol>
                <a:gridCol w="1236989">
                  <a:extLst>
                    <a:ext uri="{9D8B030D-6E8A-4147-A177-3AD203B41FA5}">
                      <a16:colId xmlns:a16="http://schemas.microsoft.com/office/drawing/2014/main" val="3254535049"/>
                    </a:ext>
                  </a:extLst>
                </a:gridCol>
                <a:gridCol w="2304874">
                  <a:extLst>
                    <a:ext uri="{9D8B030D-6E8A-4147-A177-3AD203B41FA5}">
                      <a16:colId xmlns:a16="http://schemas.microsoft.com/office/drawing/2014/main" val="2998315519"/>
                    </a:ext>
                  </a:extLst>
                </a:gridCol>
              </a:tblGrid>
              <a:tr h="226066"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자</a:t>
                      </a:r>
                      <a:endParaRPr lang="en-US" altLang="ko-KR" sz="9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유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/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의</a:t>
                      </a:r>
                      <a:r>
                        <a:rPr lang="en-US" altLang="ko-KR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9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질의 제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839420"/>
                  </a:ext>
                </a:extLst>
              </a:tr>
              <a:tr h="207355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7.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</a:t>
                      </a: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비스 제공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전략 및 중장기 계획 수립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98563"/>
                  </a:ext>
                </a:extLst>
              </a:tr>
              <a:tr h="207355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7.24</a:t>
                      </a:r>
                      <a:endParaRPr lang="ko-KR" altLang="en-US" sz="800" b="0" kern="1200" spc="-2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가입</a:t>
                      </a: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지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가입 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193815"/>
                  </a:ext>
                </a:extLst>
              </a:tr>
              <a:tr h="207355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7.21</a:t>
                      </a:r>
                      <a:endParaRPr lang="ko-KR" altLang="en-US" sz="800" b="0" kern="1200" spc="-2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서비스 제공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평가 대응 관련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511051"/>
                  </a:ext>
                </a:extLst>
              </a:tr>
              <a:tr h="207355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7.15</a:t>
                      </a:r>
                      <a:endParaRPr lang="ko-KR" altLang="en-US" sz="800" b="0" kern="1200" spc="-2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시스템 기능</a:t>
                      </a: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sng" kern="1200" spc="-2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웹뷰어</a:t>
                      </a: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기능 중 주석 보기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678932"/>
                  </a:ext>
                </a:extLst>
              </a:tr>
              <a:tr h="207355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7.11</a:t>
                      </a:r>
                      <a:endParaRPr lang="ko-KR" altLang="en-US" sz="800" b="0" kern="1200" spc="-2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게시 자료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GRI</a:t>
                      </a: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원문 및 사례에 대한 질의사항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7636723"/>
                  </a:ext>
                </a:extLst>
              </a:tr>
              <a:tr h="213698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7.11</a:t>
                      </a:r>
                      <a:endParaRPr lang="ko-KR" altLang="en-US" sz="800" b="0" kern="1200" spc="-2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가 자료 요청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sng" kern="1200" spc="-2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리스크</a:t>
                      </a: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측정 및 관리에 대한 추가 자료 요청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4098066"/>
                  </a:ext>
                </a:extLst>
              </a:tr>
              <a:tr h="207355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023.07.05</a:t>
                      </a:r>
                      <a:endParaRPr lang="ko-KR" altLang="en-US" sz="800" b="0" kern="1200" spc="-2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타 문의</a:t>
                      </a: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질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내 </a:t>
                      </a:r>
                      <a:r>
                        <a:rPr lang="en-US" altLang="ko-KR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식 개선 활동 추진에 대한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3432845"/>
                  </a:ext>
                </a:extLst>
              </a:tr>
              <a:tr h="207355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7.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서비스 제공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경영전략 및 중장기 계획 수립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9167152"/>
                  </a:ext>
                </a:extLst>
              </a:tr>
              <a:tr h="207355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7.24</a:t>
                      </a:r>
                      <a:endParaRPr lang="ko-KR" altLang="en-US" sz="800" b="0" kern="1200" spc="-2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가입</a:t>
                      </a: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지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 가입 오류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3314753"/>
                  </a:ext>
                </a:extLst>
              </a:tr>
              <a:tr h="207355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023.07.21</a:t>
                      </a:r>
                      <a:endParaRPr lang="ko-KR" altLang="en-US" sz="800" b="0" kern="1200" spc="-2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서비스 제공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698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0" u="sng" kern="1200" spc="-2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평가 대응 관련 문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9326273"/>
                  </a:ext>
                </a:extLst>
              </a:tr>
            </a:tbl>
          </a:graphicData>
        </a:graphic>
      </p:graphicFrame>
      <p:graphicFrame>
        <p:nvGraphicFramePr>
          <p:cNvPr id="65" name="표 21">
            <a:extLst>
              <a:ext uri="{FF2B5EF4-FFF2-40B4-BE49-F238E27FC236}">
                <a16:creationId xmlns:a16="http://schemas.microsoft.com/office/drawing/2014/main" id="{4EA9B5B8-64EC-4CC1-8215-80D8D8320F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3594907"/>
              </p:ext>
            </p:extLst>
          </p:nvPr>
        </p:nvGraphicFramePr>
        <p:xfrm>
          <a:off x="5645243" y="6077640"/>
          <a:ext cx="1296145" cy="1741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9">
                  <a:extLst>
                    <a:ext uri="{9D8B030D-6E8A-4147-A177-3AD203B41FA5}">
                      <a16:colId xmlns:a16="http://schemas.microsoft.com/office/drawing/2014/main" val="398993122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195679884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2522026307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826950398"/>
                    </a:ext>
                  </a:extLst>
                </a:gridCol>
                <a:gridCol w="259229">
                  <a:extLst>
                    <a:ext uri="{9D8B030D-6E8A-4147-A177-3AD203B41FA5}">
                      <a16:colId xmlns:a16="http://schemas.microsoft.com/office/drawing/2014/main" val="3846157716"/>
                    </a:ext>
                  </a:extLst>
                </a:gridCol>
              </a:tblGrid>
              <a:tr h="174192"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42950" rtl="0" eaLnBrk="1" latinLnBrk="1" hangingPunct="1"/>
                      <a:r>
                        <a:rPr lang="en-US" altLang="ko-KR" sz="80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000122"/>
                  </a:ext>
                </a:extLst>
              </a:tr>
            </a:tbl>
          </a:graphicData>
        </a:graphic>
      </p:graphicFrame>
      <p:sp>
        <p:nvSpPr>
          <p:cNvPr id="66" name="직사각형 65">
            <a:extLst>
              <a:ext uri="{FF2B5EF4-FFF2-40B4-BE49-F238E27FC236}">
                <a16:creationId xmlns:a16="http://schemas.microsoft.com/office/drawing/2014/main" id="{B80C8A5A-E51D-48F0-89C7-E3270D70D0D7}"/>
              </a:ext>
            </a:extLst>
          </p:cNvPr>
          <p:cNvSpPr/>
          <p:nvPr/>
        </p:nvSpPr>
        <p:spPr>
          <a:xfrm>
            <a:off x="5079016" y="6077030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72146BF1-39BA-4AF6-8142-59C061BCDDBD}"/>
              </a:ext>
            </a:extLst>
          </p:cNvPr>
          <p:cNvSpPr/>
          <p:nvPr/>
        </p:nvSpPr>
        <p:spPr>
          <a:xfrm flipV="1">
            <a:off x="6871077" y="6097960"/>
            <a:ext cx="576064" cy="18069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 defTabSz="742950" latinLnBrk="1"/>
            <a:r>
              <a:rPr lang="en-US" altLang="ko-KR" sz="10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lt;&lt;   &lt;</a:t>
            </a:r>
            <a:endParaRPr lang="ko-KR" altLang="en-US" sz="10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44B2EE84-0499-49A1-B64E-6979DA0AF587}"/>
              </a:ext>
            </a:extLst>
          </p:cNvPr>
          <p:cNvSpPr/>
          <p:nvPr/>
        </p:nvSpPr>
        <p:spPr>
          <a:xfrm>
            <a:off x="4091801" y="317948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5780D837-5193-2708-5F63-A54DE9F7911E}"/>
              </a:ext>
            </a:extLst>
          </p:cNvPr>
          <p:cNvSpPr/>
          <p:nvPr/>
        </p:nvSpPr>
        <p:spPr>
          <a:xfrm>
            <a:off x="2971595" y="326640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3AC5B610-A9F2-3BD5-8438-3F67BCB94556}"/>
              </a:ext>
            </a:extLst>
          </p:cNvPr>
          <p:cNvSpPr/>
          <p:nvPr/>
        </p:nvSpPr>
        <p:spPr>
          <a:xfrm>
            <a:off x="7575112" y="15895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672907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6D3D615-DEFE-4AD5-96EA-A3D2D4C07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902440"/>
              </p:ext>
            </p:extLst>
          </p:nvPr>
        </p:nvGraphicFramePr>
        <p:xfrm>
          <a:off x="345126" y="1459939"/>
          <a:ext cx="8630652" cy="10859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3375128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  <a:gridCol w="1028854">
                  <a:extLst>
                    <a:ext uri="{9D8B030D-6E8A-4147-A177-3AD203B41FA5}">
                      <a16:colId xmlns:a16="http://schemas.microsoft.com/office/drawing/2014/main" val="3063788811"/>
                    </a:ext>
                  </a:extLst>
                </a:gridCol>
                <a:gridCol w="3314969">
                  <a:extLst>
                    <a:ext uri="{9D8B030D-6E8A-4147-A177-3AD203B41FA5}">
                      <a16:colId xmlns:a16="http://schemas.microsoft.com/office/drawing/2014/main" val="20688133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 형식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○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캘린더 형식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●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 형식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리 일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유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행사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포럼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미나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도서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발간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책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  <a:endParaRPr lang="en-US" altLang="ko-KR" sz="800" b="0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28944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4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7474450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7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캘린더 관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목록 형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주요 행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도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적용 일정 등을  조회하여 관리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836491"/>
              </p:ext>
            </p:extLst>
          </p:nvPr>
        </p:nvGraphicFramePr>
        <p:xfrm>
          <a:off x="9267391" y="759199"/>
          <a:ext cx="2922885" cy="3745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조회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번 달 기준으로 캘린더 형식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136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력 형식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관리 출력 형식 선택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endParaRPr lang="en-US" altLang="ko-KR" sz="800" b="0" i="0" u="none" strike="sng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캘린더 형식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91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리일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리 대상이 되는 일정 기간 선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캘린더 형식을 선택한 경우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도와 월을 설정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 형식을 선택한 경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로 기간을 설정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간편 기능으로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3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월 설정도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설정 기간 내에 시작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종료일 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기가 겹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치는 모든 일정을 출력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조회하는 일정의 유형 값 선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값을 선택하여 조회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행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도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 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를 입력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검색어로 일정제목을 조회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목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정보를 가져와서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등록일자 값을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'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＇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일정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추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버튼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정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주요 일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정보 중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정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정인 정보를 가져와서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기나 월 예정사항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월 또는 분기 값을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부일정 조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또는 공란 일정 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팝업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0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별 일정 선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복수선택 가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후 삭제 버튼 클릭 시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일정 삭제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2585906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캘린더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운영관리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캘린더 관리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lang="ko-KR" altLang="en-US" sz="9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6" name="직사각형 225">
            <a:extLst>
              <a:ext uri="{FF2B5EF4-FFF2-40B4-BE49-F238E27FC236}">
                <a16:creationId xmlns:a16="http://schemas.microsoft.com/office/drawing/2014/main" id="{29405672-7434-45AF-BF2E-91D670F7E03E}"/>
              </a:ext>
            </a:extLst>
          </p:cNvPr>
          <p:cNvSpPr/>
          <p:nvPr/>
        </p:nvSpPr>
        <p:spPr>
          <a:xfrm>
            <a:off x="1406149" y="2014007"/>
            <a:ext cx="2300919" cy="17280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72000" rtlCol="0" anchor="ctr"/>
          <a:lstStyle/>
          <a:p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검색내용입력</a:t>
            </a:r>
          </a:p>
        </p:txBody>
      </p:sp>
      <p:sp>
        <p:nvSpPr>
          <p:cNvPr id="254" name="사각형: 둥근 모서리 253">
            <a:extLst>
              <a:ext uri="{FF2B5EF4-FFF2-40B4-BE49-F238E27FC236}">
                <a16:creationId xmlns:a16="http://schemas.microsoft.com/office/drawing/2014/main" id="{8EC27BE3-484C-45BA-8FC0-E42A83E9C7F1}"/>
              </a:ext>
            </a:extLst>
          </p:cNvPr>
          <p:cNvSpPr/>
          <p:nvPr/>
        </p:nvSpPr>
        <p:spPr>
          <a:xfrm>
            <a:off x="4085841" y="23043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255" name="사각형: 둥근 모서리 254">
            <a:extLst>
              <a:ext uri="{FF2B5EF4-FFF2-40B4-BE49-F238E27FC236}">
                <a16:creationId xmlns:a16="http://schemas.microsoft.com/office/drawing/2014/main" id="{FD2ED7F2-F775-4EF3-9F91-4405BE241A32}"/>
              </a:ext>
            </a:extLst>
          </p:cNvPr>
          <p:cNvSpPr/>
          <p:nvPr/>
        </p:nvSpPr>
        <p:spPr>
          <a:xfrm>
            <a:off x="4795393" y="23043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73D7B8F0-497D-4292-9F8C-E0111B9E5BF1}"/>
              </a:ext>
            </a:extLst>
          </p:cNvPr>
          <p:cNvGrpSpPr/>
          <p:nvPr/>
        </p:nvGrpSpPr>
        <p:grpSpPr>
          <a:xfrm>
            <a:off x="5842833" y="1488852"/>
            <a:ext cx="1697790" cy="180527"/>
            <a:chOff x="1260033" y="1514945"/>
            <a:chExt cx="1697790" cy="180527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2CB77E35-E495-48AC-933C-78143479AE3B}"/>
                </a:ext>
              </a:extLst>
            </p:cNvPr>
            <p:cNvGrpSpPr/>
            <p:nvPr/>
          </p:nvGrpSpPr>
          <p:grpSpPr>
            <a:xfrm>
              <a:off x="1260034" y="1522883"/>
              <a:ext cx="767981" cy="172589"/>
              <a:chOff x="1260034" y="1522884"/>
              <a:chExt cx="767981" cy="144000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4105991-6501-4168-8BA9-5D85EFD54B01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15685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2F827555-4081-4261-9A9A-2148AC4049B3}"/>
                  </a:ext>
                </a:extLst>
              </p:cNvPr>
              <p:cNvSpPr/>
              <p:nvPr/>
            </p:nvSpPr>
            <p:spPr>
              <a:xfrm>
                <a:off x="1879097" y="1525529"/>
                <a:ext cx="148918" cy="13871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01070033-EF9A-4A47-9A9E-D68F061C23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2134" y="1543493"/>
                <a:ext cx="108000" cy="104242"/>
              </a:xfrm>
              <a:prstGeom prst="rect">
                <a:avLst/>
              </a:prstGeom>
            </p:spPr>
          </p:pic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FE848C4E-6177-4ED8-8E14-42C73B29F256}"/>
                </a:ext>
              </a:extLst>
            </p:cNvPr>
            <p:cNvGrpSpPr/>
            <p:nvPr/>
          </p:nvGrpSpPr>
          <p:grpSpPr>
            <a:xfrm>
              <a:off x="2177088" y="1522883"/>
              <a:ext cx="780735" cy="172589"/>
              <a:chOff x="1260034" y="1522884"/>
              <a:chExt cx="780735" cy="144000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26FC3911-9203-4AAB-9BBC-4B1B8159950D}"/>
                  </a:ext>
                </a:extLst>
              </p:cNvPr>
              <p:cNvSpPr/>
              <p:nvPr/>
            </p:nvSpPr>
            <p:spPr>
              <a:xfrm>
                <a:off x="1260034" y="1522884"/>
                <a:ext cx="625672" cy="144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0DD98797-A83A-434A-AD2E-BE76B395A606}"/>
                  </a:ext>
                </a:extLst>
              </p:cNvPr>
              <p:cNvSpPr/>
              <p:nvPr/>
            </p:nvSpPr>
            <p:spPr>
              <a:xfrm>
                <a:off x="1891851" y="1526539"/>
                <a:ext cx="148918" cy="1376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pic>
            <p:nvPicPr>
              <p:cNvPr id="81" name="그림 80">
                <a:extLst>
                  <a:ext uri="{FF2B5EF4-FFF2-40B4-BE49-F238E27FC236}">
                    <a16:creationId xmlns:a16="http://schemas.microsoft.com/office/drawing/2014/main" id="{CE0F8CC6-8026-4DAE-B6B9-8F986ED1D3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08983" y="1543493"/>
                <a:ext cx="108000" cy="104242"/>
              </a:xfrm>
              <a:prstGeom prst="rect">
                <a:avLst/>
              </a:prstGeom>
            </p:spPr>
          </p:pic>
        </p:grp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0864696-D459-493D-8276-58432E010678}"/>
                </a:ext>
              </a:extLst>
            </p:cNvPr>
            <p:cNvSpPr/>
            <p:nvPr/>
          </p:nvSpPr>
          <p:spPr>
            <a:xfrm>
              <a:off x="2037897" y="1514945"/>
              <a:ext cx="147062" cy="144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16BC7ADE-7CA8-4D08-BC41-B046D960B4B0}"/>
                </a:ext>
              </a:extLst>
            </p:cNvPr>
            <p:cNvSpPr/>
            <p:nvPr/>
          </p:nvSpPr>
          <p:spPr>
            <a:xfrm>
              <a:off x="1260033" y="1522517"/>
              <a:ext cx="671379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2-03-15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7E22A3D3-8F70-4E7D-995D-32C1C218FF75}"/>
                </a:ext>
              </a:extLst>
            </p:cNvPr>
            <p:cNvSpPr/>
            <p:nvPr/>
          </p:nvSpPr>
          <p:spPr>
            <a:xfrm>
              <a:off x="2129446" y="1522883"/>
              <a:ext cx="720080" cy="17258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3-07-10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</p:grp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E32101BD-CCB1-435A-9B7F-E7BE5E870521}"/>
              </a:ext>
            </a:extLst>
          </p:cNvPr>
          <p:cNvGraphicFramePr>
            <a:graphicFrameLocks noGrp="1"/>
          </p:cNvGraphicFramePr>
          <p:nvPr/>
        </p:nvGraphicFramePr>
        <p:xfrm>
          <a:off x="342797" y="2554424"/>
          <a:ext cx="8644038" cy="2959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4038">
                  <a:extLst>
                    <a:ext uri="{9D8B030D-6E8A-4147-A177-3AD203B41FA5}">
                      <a16:colId xmlns:a16="http://schemas.microsoft.com/office/drawing/2014/main" val="348469015"/>
                    </a:ext>
                  </a:extLst>
                </a:gridCol>
              </a:tblGrid>
              <a:tr h="295988">
                <a:tc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790411"/>
                  </a:ext>
                </a:extLst>
              </a:tr>
            </a:tbl>
          </a:graphicData>
        </a:graphic>
      </p:graphicFrame>
      <p:sp>
        <p:nvSpPr>
          <p:cNvPr id="46" name="직사각형 45">
            <a:extLst>
              <a:ext uri="{FF2B5EF4-FFF2-40B4-BE49-F238E27FC236}">
                <a16:creationId xmlns:a16="http://schemas.microsoft.com/office/drawing/2014/main" id="{D34485E3-6B9A-4F44-9A44-9FEF822A5637}"/>
              </a:ext>
            </a:extLst>
          </p:cNvPr>
          <p:cNvSpPr/>
          <p:nvPr/>
        </p:nvSpPr>
        <p:spPr>
          <a:xfrm>
            <a:off x="237999" y="2544016"/>
            <a:ext cx="1665236" cy="287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 목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- 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총 </a:t>
            </a:r>
            <a:r>
              <a:rPr lang="en-US" altLang="ko-KR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2</a:t>
            </a:r>
            <a:r>
              <a:rPr lang="ko-KR" altLang="en-US" sz="9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건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442E9188-CFB7-460B-ABC9-F4C8170BA3BB}"/>
              </a:ext>
            </a:extLst>
          </p:cNvPr>
          <p:cNvSpPr/>
          <p:nvPr/>
        </p:nvSpPr>
        <p:spPr>
          <a:xfrm>
            <a:off x="332992" y="6093297"/>
            <a:ext cx="794455" cy="59058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err="1"/>
              <a:t>미확정</a:t>
            </a:r>
            <a:br>
              <a:rPr lang="en-US" altLang="ko-KR" sz="900" b="1" dirty="0"/>
            </a:br>
            <a:r>
              <a:rPr lang="ko-KR" altLang="en-US" sz="900" b="1" dirty="0"/>
              <a:t> 주요 일정</a:t>
            </a: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3A1E5718-A2E9-4E29-AF56-67347506F462}"/>
              </a:ext>
            </a:extLst>
          </p:cNvPr>
          <p:cNvSpPr/>
          <p:nvPr/>
        </p:nvSpPr>
        <p:spPr>
          <a:xfrm>
            <a:off x="1133976" y="6093297"/>
            <a:ext cx="7841802" cy="5905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b="1" dirty="0"/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7F60CE71-8CC2-4C40-A624-438E6DE8FDE6}"/>
              </a:ext>
            </a:extLst>
          </p:cNvPr>
          <p:cNvSpPr/>
          <p:nvPr/>
        </p:nvSpPr>
        <p:spPr>
          <a:xfrm>
            <a:off x="1218118" y="6409321"/>
            <a:ext cx="2948049" cy="2160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[7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월</a:t>
            </a:r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]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회계기준원</a:t>
            </a:r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, OOO 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지침 공표 예정</a:t>
            </a:r>
            <a:endParaRPr lang="ko-KR" altLang="en-US" sz="1800" dirty="0">
              <a:solidFill>
                <a:sysClr val="windowText" lastClr="000000"/>
              </a:solidFill>
            </a:endParaRPr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FA720905-7A00-4240-82CB-F33AA4333279}"/>
              </a:ext>
            </a:extLst>
          </p:cNvPr>
          <p:cNvSpPr/>
          <p:nvPr/>
        </p:nvSpPr>
        <p:spPr>
          <a:xfrm>
            <a:off x="7644218" y="1503187"/>
            <a:ext cx="540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</a:t>
            </a:r>
          </a:p>
        </p:txBody>
      </p:sp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F94C8F20-200D-4087-9CB4-7FB7CC21C355}"/>
              </a:ext>
            </a:extLst>
          </p:cNvPr>
          <p:cNvSpPr/>
          <p:nvPr/>
        </p:nvSpPr>
        <p:spPr>
          <a:xfrm>
            <a:off x="8220297" y="1503187"/>
            <a:ext cx="540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</a:t>
            </a:r>
          </a:p>
        </p:txBody>
      </p:sp>
      <p:sp>
        <p:nvSpPr>
          <p:cNvPr id="53" name="사각형: 둥근 모서리 52">
            <a:extLst>
              <a:ext uri="{FF2B5EF4-FFF2-40B4-BE49-F238E27FC236}">
                <a16:creationId xmlns:a16="http://schemas.microsoft.com/office/drawing/2014/main" id="{844B836D-EA54-4ECF-90AB-EADD43281006}"/>
              </a:ext>
            </a:extLst>
          </p:cNvPr>
          <p:cNvSpPr/>
          <p:nvPr/>
        </p:nvSpPr>
        <p:spPr>
          <a:xfrm>
            <a:off x="1218118" y="6155594"/>
            <a:ext cx="2948049" cy="2160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[2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분기</a:t>
            </a:r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]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OOOO 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기준서 추가 발표 예정</a:t>
            </a:r>
            <a:endParaRPr lang="ko-KR" altLang="en-US" sz="1800" dirty="0">
              <a:solidFill>
                <a:sysClr val="windowText" lastClr="000000"/>
              </a:solidFill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6873C4F9-9F58-464B-A247-B4A50FD88AAA}"/>
              </a:ext>
            </a:extLst>
          </p:cNvPr>
          <p:cNvSpPr/>
          <p:nvPr/>
        </p:nvSpPr>
        <p:spPr>
          <a:xfrm>
            <a:off x="4304289" y="6155594"/>
            <a:ext cx="2948049" cy="2160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[3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분기</a:t>
            </a:r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]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OOOO </a:t>
            </a:r>
            <a:r>
              <a:rPr kumimoji="0" lang="ko-KR" altLang="en-US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산업별 기준서 추가 발표 예정</a:t>
            </a:r>
            <a:endParaRPr lang="ko-KR" altLang="en-US" sz="1800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8BF866C8-D51D-4697-A4C8-2EBF32FABB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8146048"/>
              </p:ext>
            </p:extLst>
          </p:nvPr>
        </p:nvGraphicFramePr>
        <p:xfrm>
          <a:off x="343571" y="2866528"/>
          <a:ext cx="8632206" cy="32237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7853">
                  <a:extLst>
                    <a:ext uri="{9D8B030D-6E8A-4147-A177-3AD203B41FA5}">
                      <a16:colId xmlns:a16="http://schemas.microsoft.com/office/drawing/2014/main" val="652755667"/>
                    </a:ext>
                  </a:extLst>
                </a:gridCol>
                <a:gridCol w="548581">
                  <a:extLst>
                    <a:ext uri="{9D8B030D-6E8A-4147-A177-3AD203B41FA5}">
                      <a16:colId xmlns:a16="http://schemas.microsoft.com/office/drawing/2014/main" val="3975101744"/>
                    </a:ext>
                  </a:extLst>
                </a:gridCol>
                <a:gridCol w="1775193">
                  <a:extLst>
                    <a:ext uri="{9D8B030D-6E8A-4147-A177-3AD203B41FA5}">
                      <a16:colId xmlns:a16="http://schemas.microsoft.com/office/drawing/2014/main" val="3759039434"/>
                    </a:ext>
                  </a:extLst>
                </a:gridCol>
                <a:gridCol w="3376474">
                  <a:extLst>
                    <a:ext uri="{9D8B030D-6E8A-4147-A177-3AD203B41FA5}">
                      <a16:colId xmlns:a16="http://schemas.microsoft.com/office/drawing/2014/main" val="897638762"/>
                    </a:ext>
                  </a:extLst>
                </a:gridCol>
                <a:gridCol w="956487">
                  <a:extLst>
                    <a:ext uri="{9D8B030D-6E8A-4147-A177-3AD203B41FA5}">
                      <a16:colId xmlns:a16="http://schemas.microsoft.com/office/drawing/2014/main" val="1305194521"/>
                    </a:ext>
                  </a:extLst>
                </a:gridCol>
                <a:gridCol w="1407618">
                  <a:extLst>
                    <a:ext uri="{9D8B030D-6E8A-4147-A177-3AD203B41FA5}">
                      <a16:colId xmlns:a16="http://schemas.microsoft.com/office/drawing/2014/main" val="2995250646"/>
                    </a:ext>
                  </a:extLst>
                </a:gridCol>
              </a:tblGrid>
              <a:tr h="244011">
                <a:tc>
                  <a:txBody>
                    <a:bodyPr/>
                    <a:lstStyle/>
                    <a:p>
                      <a:pPr algn="ctr" latinLnBrk="1"/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유형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제목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등록일자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142330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3.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행사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년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O ESG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포럼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운영자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(1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1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7184352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3.28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+mn-ea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+mn-ea"/>
                          <a:cs typeface="+mn-cs"/>
                        </a:rPr>
                        <a:t>행사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3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년 상반기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OOOO ESG </a:t>
                      </a:r>
                      <a:r>
                        <a:rPr kumimoji="0" lang="ko-KR" altLang="en-US" sz="800" b="0" i="0" u="sng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컨퍼넌스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운영자 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(2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2023.02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0327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3.29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정책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회계기준원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ISSB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기준에 대한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OOO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공표 예정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운영자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1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2023.01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387617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4.15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행사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3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년 상반기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OOOO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지속가능경영 세미나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운영자 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(2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2023.02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225240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5.1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행사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환경부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OOOO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대응을 위한 설명회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운영자 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(1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2023.01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6814969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5.2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평가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한국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기준원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OO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에 대한 평가 피드백 시작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운영자 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(1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2023.01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2966949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04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행사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산업 대상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인식 개선 컨퍼런스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운영자 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(2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2023.02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7105276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행사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중소기업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경영전략수립을 위한 설명회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운영자 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(1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2023.01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8000479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15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행사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PwC 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글로벌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, Sustainable Finance Forum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운영자 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(2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2023.02.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1392122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24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평가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한국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G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기준원 </a:t>
                      </a:r>
                      <a:r>
                        <a:rPr kumimoji="0" lang="en-US" altLang="ko-KR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OOO</a:t>
                      </a:r>
                      <a:r>
                        <a:rPr kumimoji="0" lang="ko-KR" altLang="en-US" sz="8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에 대한 평가 피드백 종료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운영자 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(3)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2023.03.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0427282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1222374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4213417"/>
                  </a:ext>
                </a:extLst>
              </a:tr>
            </a:tbl>
          </a:graphicData>
        </a:graphic>
      </p:graphicFrame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0E377E05-25D4-4DEE-B75A-11B8012E3469}"/>
              </a:ext>
            </a:extLst>
          </p:cNvPr>
          <p:cNvSpPr/>
          <p:nvPr/>
        </p:nvSpPr>
        <p:spPr>
          <a:xfrm>
            <a:off x="4304289" y="6407751"/>
            <a:ext cx="2948049" cy="2160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ko-KR" sz="8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…</a:t>
            </a:r>
            <a:endParaRPr lang="ko-KR" altLang="en-US" sz="1800" dirty="0">
              <a:solidFill>
                <a:sysClr val="windowText" lastClr="000000"/>
              </a:solidFill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B66E1172-143C-4B36-B810-A16F63195FB8}"/>
              </a:ext>
            </a:extLst>
          </p:cNvPr>
          <p:cNvSpPr/>
          <p:nvPr/>
        </p:nvSpPr>
        <p:spPr>
          <a:xfrm>
            <a:off x="8112312" y="2615753"/>
            <a:ext cx="792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+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추가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EF55A889-CC3C-4897-9E85-3F90C703B49D}"/>
              </a:ext>
            </a:extLst>
          </p:cNvPr>
          <p:cNvSpPr/>
          <p:nvPr/>
        </p:nvSpPr>
        <p:spPr>
          <a:xfrm>
            <a:off x="9599039" y="5023755"/>
            <a:ext cx="2351425" cy="21602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/>
              <a:t>ESG </a:t>
            </a:r>
            <a:r>
              <a:rPr lang="ko-KR" altLang="en-US" sz="900" b="1" dirty="0"/>
              <a:t>주요 일정</a:t>
            </a:r>
          </a:p>
        </p:txBody>
      </p:sp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84F2E4F8-25C4-401C-B3B1-3ED10DD1734B}"/>
              </a:ext>
            </a:extLst>
          </p:cNvPr>
          <p:cNvGraphicFramePr>
            <a:graphicFrameLocks noGrp="1"/>
          </p:cNvGraphicFramePr>
          <p:nvPr/>
        </p:nvGraphicFramePr>
        <p:xfrm>
          <a:off x="9599039" y="5283794"/>
          <a:ext cx="2351425" cy="12415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9425">
                  <a:extLst>
                    <a:ext uri="{9D8B030D-6E8A-4147-A177-3AD203B41FA5}">
                      <a16:colId xmlns:a16="http://schemas.microsoft.com/office/drawing/2014/main" val="4004167405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1786350933"/>
                    </a:ext>
                  </a:extLst>
                </a:gridCol>
              </a:tblGrid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5.21</a:t>
                      </a:r>
                      <a:endParaRPr kumimoji="0" lang="ko-KR" altLang="en-US" sz="7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한국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</a:t>
                      </a: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기준원 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OO</a:t>
                      </a: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에 대한 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…</a:t>
                      </a:r>
                      <a:endParaRPr kumimoji="0" lang="ko-KR" altLang="en-US" sz="7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296136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04</a:t>
                      </a:r>
                      <a:endParaRPr kumimoji="0" lang="ko-KR" altLang="en-US" sz="7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OO </a:t>
                      </a: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산업 대상 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인식 개선 </a:t>
                      </a:r>
                      <a:r>
                        <a:rPr kumimoji="0" lang="ko-KR" altLang="en-US" sz="700" b="0" i="0" u="sng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컨퍼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..</a:t>
                      </a:r>
                      <a:endParaRPr kumimoji="0" lang="ko-KR" altLang="en-US" sz="7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497792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7.0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중소기업 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ESG </a:t>
                      </a: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경영전략수립을 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…</a:t>
                      </a:r>
                      <a:endParaRPr kumimoji="0" lang="ko-KR" altLang="en-US" sz="7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0373816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15</a:t>
                      </a:r>
                      <a:endParaRPr kumimoji="0" lang="ko-KR" altLang="en-US" sz="7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PwC </a:t>
                      </a: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글로벌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, Sustainable Finance …</a:t>
                      </a:r>
                      <a:endParaRPr kumimoji="0" lang="ko-KR" altLang="en-US" sz="7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2816144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23.07.24</a:t>
                      </a:r>
                      <a:endParaRPr kumimoji="0" lang="ko-KR" altLang="en-US" sz="7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한국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G</a:t>
                      </a: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기준원 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OOO</a:t>
                      </a:r>
                      <a:r>
                        <a:rPr kumimoji="0" lang="ko-KR" altLang="en-US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에 대한 평가 </a:t>
                      </a:r>
                      <a:r>
                        <a:rPr kumimoji="0" lang="en-US" altLang="ko-KR" sz="7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kumimoji="0" lang="ko-KR" altLang="en-US" sz="7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032578"/>
                  </a:ext>
                </a:extLst>
              </a:tr>
            </a:tbl>
          </a:graphicData>
        </a:graphic>
      </p:graphicFrame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07A025D0-5AF2-49F3-A669-E63E270E3B33}"/>
              </a:ext>
            </a:extLst>
          </p:cNvPr>
          <p:cNvSpPr/>
          <p:nvPr/>
        </p:nvSpPr>
        <p:spPr>
          <a:xfrm>
            <a:off x="10128448" y="5345431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기타</a:t>
            </a: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081B017D-108D-4634-8547-94EFBE77E57E}"/>
              </a:ext>
            </a:extLst>
          </p:cNvPr>
          <p:cNvSpPr/>
          <p:nvPr/>
        </p:nvSpPr>
        <p:spPr>
          <a:xfrm>
            <a:off x="10128448" y="5608602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행사</a:t>
            </a:r>
          </a:p>
        </p:txBody>
      </p:sp>
      <p:sp>
        <p:nvSpPr>
          <p:cNvPr id="63" name="사각형: 둥근 모서리 62">
            <a:extLst>
              <a:ext uri="{FF2B5EF4-FFF2-40B4-BE49-F238E27FC236}">
                <a16:creationId xmlns:a16="http://schemas.microsoft.com/office/drawing/2014/main" id="{4DC2C0B6-9A70-4D87-8282-97914A21948E}"/>
              </a:ext>
            </a:extLst>
          </p:cNvPr>
          <p:cNvSpPr/>
          <p:nvPr/>
        </p:nvSpPr>
        <p:spPr>
          <a:xfrm>
            <a:off x="10128448" y="5866598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행사</a:t>
            </a:r>
          </a:p>
        </p:txBody>
      </p:sp>
      <p:sp>
        <p:nvSpPr>
          <p:cNvPr id="64" name="사각형: 둥근 모서리 63">
            <a:extLst>
              <a:ext uri="{FF2B5EF4-FFF2-40B4-BE49-F238E27FC236}">
                <a16:creationId xmlns:a16="http://schemas.microsoft.com/office/drawing/2014/main" id="{6B9BE5AD-0E91-48C0-A3B6-3F5DE38C3FD3}"/>
              </a:ext>
            </a:extLst>
          </p:cNvPr>
          <p:cNvSpPr/>
          <p:nvPr/>
        </p:nvSpPr>
        <p:spPr>
          <a:xfrm>
            <a:off x="10128448" y="6090259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행사</a:t>
            </a:r>
          </a:p>
        </p:txBody>
      </p:sp>
      <p:sp>
        <p:nvSpPr>
          <p:cNvPr id="66" name="사각형: 둥근 모서리 65">
            <a:extLst>
              <a:ext uri="{FF2B5EF4-FFF2-40B4-BE49-F238E27FC236}">
                <a16:creationId xmlns:a16="http://schemas.microsoft.com/office/drawing/2014/main" id="{A001A7A9-2E8F-447E-BEAE-59E86DBDFA76}"/>
              </a:ext>
            </a:extLst>
          </p:cNvPr>
          <p:cNvSpPr/>
          <p:nvPr/>
        </p:nvSpPr>
        <p:spPr>
          <a:xfrm>
            <a:off x="10128448" y="6348255"/>
            <a:ext cx="252000" cy="108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600" b="1" dirty="0"/>
              <a:t>기타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14D671E8-419E-45BD-B9CE-E0E830AF90D4}"/>
              </a:ext>
            </a:extLst>
          </p:cNvPr>
          <p:cNvSpPr/>
          <p:nvPr/>
        </p:nvSpPr>
        <p:spPr>
          <a:xfrm>
            <a:off x="9408368" y="4780218"/>
            <a:ext cx="756000" cy="180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solidFill>
                  <a:schemeClr val="bg1"/>
                </a:solidFill>
              </a:rPr>
              <a:t>홈 화면 예시</a:t>
            </a:r>
            <a:endParaRPr lang="ko-KR" altLang="en-US" sz="1100" b="1" dirty="0">
              <a:solidFill>
                <a:schemeClr val="bg1"/>
              </a:solidFill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D5D42033-6648-449A-A197-D9D8039DE160}"/>
              </a:ext>
            </a:extLst>
          </p:cNvPr>
          <p:cNvSpPr/>
          <p:nvPr/>
        </p:nvSpPr>
        <p:spPr>
          <a:xfrm>
            <a:off x="1114605" y="15338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2B00E55B-512F-47A1-9586-2166CB0D77FC}"/>
              </a:ext>
            </a:extLst>
          </p:cNvPr>
          <p:cNvSpPr/>
          <p:nvPr/>
        </p:nvSpPr>
        <p:spPr>
          <a:xfrm>
            <a:off x="5485423" y="15338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59A79FE3-3971-44E1-9A58-FED91C9898D2}"/>
              </a:ext>
            </a:extLst>
          </p:cNvPr>
          <p:cNvSpPr/>
          <p:nvPr/>
        </p:nvSpPr>
        <p:spPr>
          <a:xfrm>
            <a:off x="1114605" y="17916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50CC0E4-1287-4FD1-BDE0-E6F1A08A399F}"/>
              </a:ext>
            </a:extLst>
          </p:cNvPr>
          <p:cNvSpPr/>
          <p:nvPr/>
        </p:nvSpPr>
        <p:spPr>
          <a:xfrm>
            <a:off x="1114605" y="204413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FA2CE65C-C259-49B9-B301-98F19A429D98}"/>
              </a:ext>
            </a:extLst>
          </p:cNvPr>
          <p:cNvSpPr/>
          <p:nvPr/>
        </p:nvSpPr>
        <p:spPr>
          <a:xfrm>
            <a:off x="367182" y="245679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E39BE7E5-8529-4CD8-AD8C-C234DCD28D29}"/>
              </a:ext>
            </a:extLst>
          </p:cNvPr>
          <p:cNvSpPr/>
          <p:nvPr/>
        </p:nvSpPr>
        <p:spPr>
          <a:xfrm>
            <a:off x="1031085" y="62959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0D21425B-4275-5543-70A4-3AB0C8F097D0}"/>
              </a:ext>
            </a:extLst>
          </p:cNvPr>
          <p:cNvSpPr/>
          <p:nvPr/>
        </p:nvSpPr>
        <p:spPr>
          <a:xfrm>
            <a:off x="370867" y="1472623"/>
            <a:ext cx="4036811" cy="244154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cs typeface="Arial"/>
              </a:rPr>
              <a:t>출력 형식 설정 기능 삭제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6CDB9AAA-C088-F332-7FE6-8F7897BE8C7A}"/>
              </a:ext>
            </a:extLst>
          </p:cNvPr>
          <p:cNvSpPr/>
          <p:nvPr/>
        </p:nvSpPr>
        <p:spPr>
          <a:xfrm>
            <a:off x="9073581" y="1"/>
            <a:ext cx="3123223" cy="50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 10. 20&gt;</a:t>
            </a: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출력 형식 설정 기능 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일정 삭제 기능 추가 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EBFB33BA-4640-81CE-0FD0-4C8A323D023A}"/>
              </a:ext>
            </a:extLst>
          </p:cNvPr>
          <p:cNvGrpSpPr/>
          <p:nvPr/>
        </p:nvGrpSpPr>
        <p:grpSpPr>
          <a:xfrm>
            <a:off x="615780" y="3177416"/>
            <a:ext cx="72000" cy="2815385"/>
            <a:chOff x="615780" y="3177416"/>
            <a:chExt cx="72000" cy="2815385"/>
          </a:xfrm>
        </p:grpSpPr>
        <p:sp>
          <p:nvSpPr>
            <p:cNvPr id="11" name="사각형: 둥근 모서리 10">
              <a:extLst>
                <a:ext uri="{FF2B5EF4-FFF2-40B4-BE49-F238E27FC236}">
                  <a16:creationId xmlns:a16="http://schemas.microsoft.com/office/drawing/2014/main" id="{30571674-0F6C-3F00-2C1A-0348EB574D47}"/>
                </a:ext>
              </a:extLst>
            </p:cNvPr>
            <p:cNvSpPr/>
            <p:nvPr/>
          </p:nvSpPr>
          <p:spPr>
            <a:xfrm>
              <a:off x="615780" y="3177416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사각형: 둥근 모서리 17">
              <a:extLst>
                <a:ext uri="{FF2B5EF4-FFF2-40B4-BE49-F238E27FC236}">
                  <a16:creationId xmlns:a16="http://schemas.microsoft.com/office/drawing/2014/main" id="{1E890453-7BF9-37FB-0A39-DF1B95862474}"/>
                </a:ext>
              </a:extLst>
            </p:cNvPr>
            <p:cNvSpPr/>
            <p:nvPr/>
          </p:nvSpPr>
          <p:spPr>
            <a:xfrm>
              <a:off x="615780" y="3676214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사각형: 둥근 모서리 18">
              <a:extLst>
                <a:ext uri="{FF2B5EF4-FFF2-40B4-BE49-F238E27FC236}">
                  <a16:creationId xmlns:a16="http://schemas.microsoft.com/office/drawing/2014/main" id="{D3E8136A-C2DD-EC83-86DB-B14DE64FAABD}"/>
                </a:ext>
              </a:extLst>
            </p:cNvPr>
            <p:cNvSpPr/>
            <p:nvPr/>
          </p:nvSpPr>
          <p:spPr>
            <a:xfrm>
              <a:off x="615780" y="3426815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사각형: 둥근 모서리 19">
              <a:extLst>
                <a:ext uri="{FF2B5EF4-FFF2-40B4-BE49-F238E27FC236}">
                  <a16:creationId xmlns:a16="http://schemas.microsoft.com/office/drawing/2014/main" id="{5692B500-4399-14BE-1DA1-9DC1330751A5}"/>
                </a:ext>
              </a:extLst>
            </p:cNvPr>
            <p:cNvSpPr/>
            <p:nvPr/>
          </p:nvSpPr>
          <p:spPr>
            <a:xfrm>
              <a:off x="615780" y="3925613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사각형: 둥근 모서리 20">
              <a:extLst>
                <a:ext uri="{FF2B5EF4-FFF2-40B4-BE49-F238E27FC236}">
                  <a16:creationId xmlns:a16="http://schemas.microsoft.com/office/drawing/2014/main" id="{43E30F5D-D3C7-9413-FEC8-695A34E37654}"/>
                </a:ext>
              </a:extLst>
            </p:cNvPr>
            <p:cNvSpPr/>
            <p:nvPr/>
          </p:nvSpPr>
          <p:spPr>
            <a:xfrm>
              <a:off x="615780" y="4175012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사각형: 둥근 모서리 21">
              <a:extLst>
                <a:ext uri="{FF2B5EF4-FFF2-40B4-BE49-F238E27FC236}">
                  <a16:creationId xmlns:a16="http://schemas.microsoft.com/office/drawing/2014/main" id="{E0E3ED79-A343-9C0B-486A-ABB7C51CA9EA}"/>
                </a:ext>
              </a:extLst>
            </p:cNvPr>
            <p:cNvSpPr/>
            <p:nvPr/>
          </p:nvSpPr>
          <p:spPr>
            <a:xfrm>
              <a:off x="615780" y="4673810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사각형: 둥근 모서리 26">
              <a:extLst>
                <a:ext uri="{FF2B5EF4-FFF2-40B4-BE49-F238E27FC236}">
                  <a16:creationId xmlns:a16="http://schemas.microsoft.com/office/drawing/2014/main" id="{B321DF06-B038-3D14-CB74-561AE94A794A}"/>
                </a:ext>
              </a:extLst>
            </p:cNvPr>
            <p:cNvSpPr/>
            <p:nvPr/>
          </p:nvSpPr>
          <p:spPr>
            <a:xfrm>
              <a:off x="615780" y="4424411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8" name="사각형: 둥근 모서리 27">
              <a:extLst>
                <a:ext uri="{FF2B5EF4-FFF2-40B4-BE49-F238E27FC236}">
                  <a16:creationId xmlns:a16="http://schemas.microsoft.com/office/drawing/2014/main" id="{16EB826B-C60D-31F8-B36E-13A7C69BA8D9}"/>
                </a:ext>
              </a:extLst>
            </p:cNvPr>
            <p:cNvSpPr/>
            <p:nvPr/>
          </p:nvSpPr>
          <p:spPr>
            <a:xfrm>
              <a:off x="615780" y="4923209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9" name="사각형: 둥근 모서리 28">
              <a:extLst>
                <a:ext uri="{FF2B5EF4-FFF2-40B4-BE49-F238E27FC236}">
                  <a16:creationId xmlns:a16="http://schemas.microsoft.com/office/drawing/2014/main" id="{36F75082-74B8-3FB4-CD5B-E90DBC5D4EBF}"/>
                </a:ext>
              </a:extLst>
            </p:cNvPr>
            <p:cNvSpPr/>
            <p:nvPr/>
          </p:nvSpPr>
          <p:spPr>
            <a:xfrm>
              <a:off x="615780" y="5172608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0" name="사각형: 둥근 모서리 29">
              <a:extLst>
                <a:ext uri="{FF2B5EF4-FFF2-40B4-BE49-F238E27FC236}">
                  <a16:creationId xmlns:a16="http://schemas.microsoft.com/office/drawing/2014/main" id="{C384E1B5-497D-FE75-E0EF-53465B09BC33}"/>
                </a:ext>
              </a:extLst>
            </p:cNvPr>
            <p:cNvSpPr/>
            <p:nvPr/>
          </p:nvSpPr>
          <p:spPr>
            <a:xfrm>
              <a:off x="615780" y="5671406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1" name="사각형: 둥근 모서리 30">
              <a:extLst>
                <a:ext uri="{FF2B5EF4-FFF2-40B4-BE49-F238E27FC236}">
                  <a16:creationId xmlns:a16="http://schemas.microsoft.com/office/drawing/2014/main" id="{8355C280-F8E8-2174-A483-2A114634273D}"/>
                </a:ext>
              </a:extLst>
            </p:cNvPr>
            <p:cNvSpPr/>
            <p:nvPr/>
          </p:nvSpPr>
          <p:spPr>
            <a:xfrm>
              <a:off x="615780" y="5422007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2" name="사각형: 둥근 모서리 31">
              <a:extLst>
                <a:ext uri="{FF2B5EF4-FFF2-40B4-BE49-F238E27FC236}">
                  <a16:creationId xmlns:a16="http://schemas.microsoft.com/office/drawing/2014/main" id="{3244322D-EB73-2E67-7C10-82AAF3F6D12F}"/>
                </a:ext>
              </a:extLst>
            </p:cNvPr>
            <p:cNvSpPr/>
            <p:nvPr/>
          </p:nvSpPr>
          <p:spPr>
            <a:xfrm>
              <a:off x="615780" y="5920801"/>
              <a:ext cx="72000" cy="72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A43BADDE-D4DC-3A15-F373-E57CC22AB53B}"/>
              </a:ext>
            </a:extLst>
          </p:cNvPr>
          <p:cNvSpPr/>
          <p:nvPr/>
        </p:nvSpPr>
        <p:spPr>
          <a:xfrm>
            <a:off x="7252338" y="2615753"/>
            <a:ext cx="792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 삭제</a:t>
            </a: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4D6F4305-D0A4-0863-A5E9-4353BDB030BC}"/>
              </a:ext>
            </a:extLst>
          </p:cNvPr>
          <p:cNvSpPr/>
          <p:nvPr/>
        </p:nvSpPr>
        <p:spPr>
          <a:xfrm>
            <a:off x="7219235" y="257119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064950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6F7A47CB-C80C-46A4-B26E-FC58D9E8208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247160" y="619972"/>
            <a:ext cx="8763000" cy="6073140"/>
          </a:xfrm>
          <a:prstGeom prst="rect">
            <a:avLst/>
          </a:prstGeom>
        </p:spPr>
      </p:pic>
      <p:grpSp>
        <p:nvGrpSpPr>
          <p:cNvPr id="51" name="그룹 50">
            <a:extLst>
              <a:ext uri="{FF2B5EF4-FFF2-40B4-BE49-F238E27FC236}">
                <a16:creationId xmlns:a16="http://schemas.microsoft.com/office/drawing/2014/main" id="{E41F62A0-A52E-4412-AD71-8E1DEE320942}"/>
              </a:ext>
            </a:extLst>
          </p:cNvPr>
          <p:cNvGrpSpPr/>
          <p:nvPr/>
        </p:nvGrpSpPr>
        <p:grpSpPr>
          <a:xfrm>
            <a:off x="1031557" y="908720"/>
            <a:ext cx="7291679" cy="5308223"/>
            <a:chOff x="1274139" y="1023155"/>
            <a:chExt cx="6833233" cy="6570201"/>
          </a:xfrm>
        </p:grpSpPr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CEE8367E-6C38-49A8-954F-C45DE70C222C}"/>
                </a:ext>
              </a:extLst>
            </p:cNvPr>
            <p:cNvSpPr/>
            <p:nvPr/>
          </p:nvSpPr>
          <p:spPr>
            <a:xfrm>
              <a:off x="1274139" y="1362967"/>
              <a:ext cx="6833233" cy="623038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1FBF4427-AD54-4D93-B610-67BE772B435B}"/>
                </a:ext>
              </a:extLst>
            </p:cNvPr>
            <p:cNvSpPr/>
            <p:nvPr/>
          </p:nvSpPr>
          <p:spPr>
            <a:xfrm>
              <a:off x="1274141" y="1023155"/>
              <a:ext cx="6833231" cy="3898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ESG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일정 등록</a:t>
              </a:r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·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변경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03DC802-77E5-4590-AF6B-2BCB0E0F5DEE}"/>
                </a:ext>
              </a:extLst>
            </p:cNvPr>
            <p:cNvSpPr txBox="1"/>
            <p:nvPr/>
          </p:nvSpPr>
          <p:spPr>
            <a:xfrm>
              <a:off x="7734233" y="1066760"/>
              <a:ext cx="215999" cy="3593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X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A4030A8-4726-4FD1-8F32-41AB714B1682}"/>
              </a:ext>
            </a:extLst>
          </p:cNvPr>
          <p:cNvSpPr/>
          <p:nvPr/>
        </p:nvSpPr>
        <p:spPr>
          <a:xfrm>
            <a:off x="1778036" y="1923203"/>
            <a:ext cx="633943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058135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등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·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변경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련 주요 행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도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적용 일정 등을  등록 또는 변경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1461123"/>
              </p:ext>
            </p:extLst>
          </p:nvPr>
        </p:nvGraphicFramePr>
        <p:xfrm>
          <a:off x="9267391" y="759199"/>
          <a:ext cx="2922885" cy="4083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신규등록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란으로 출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Radio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디폴트 제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 시에는 기존 입력 정보를 기입하여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02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제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수 입력되어야 하는 일정 제목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91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유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선택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Default) -&gt;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필수적으로 선택 필요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행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도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보고서 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정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공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일정의 일자 등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조회하여 입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Default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 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작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종료일 조회하여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미확정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일정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도 및 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기 설정하여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연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202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부터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03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까지 설정가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7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1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기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분기 설정 가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6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반복설정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위로 반복되는 일정 설정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Default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단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횟수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)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준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기준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반복단위 선택범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월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반복횟수 선택범위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~99</a:t>
                      </a:r>
                      <a:b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반복기준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자 기준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</a:t>
                      </a:r>
                      <a:r>
                        <a:rPr lang="en-US" altLang="ko-KR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+</a:t>
                      </a:r>
                      <a:r>
                        <a:rPr lang="ko-KR" altLang="en-US" sz="800" b="0" i="0" u="none" strike="sng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일 기준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상세내용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정 관련 상세내용 입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                 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TM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디터 기능 제공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URL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관련 일정의 상세 정보가 있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URL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소 입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0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2585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78030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143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546863"/>
                  </a:ext>
                </a:extLst>
              </a:tr>
            </a:tbl>
          </a:graphicData>
        </a:graphic>
      </p:graphicFrame>
      <p:sp>
        <p:nvSpPr>
          <p:cNvPr id="47" name="직사각형 46">
            <a:extLst>
              <a:ext uri="{FF2B5EF4-FFF2-40B4-BE49-F238E27FC236}">
                <a16:creationId xmlns:a16="http://schemas.microsoft.com/office/drawing/2014/main" id="{4A1E93C0-6D6F-459C-ABB7-516F5953B234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028B1B96-0ECF-4392-8F2C-C2E2744C5345}"/>
              </a:ext>
            </a:extLst>
          </p:cNvPr>
          <p:cNvSpPr/>
          <p:nvPr/>
        </p:nvSpPr>
        <p:spPr>
          <a:xfrm>
            <a:off x="1079179" y="1264320"/>
            <a:ext cx="3432643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cs typeface="Arial"/>
              </a:rPr>
              <a:t>ESG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cs typeface="Arial"/>
              </a:rPr>
              <a:t>일정정보</a:t>
            </a: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7A6A7579-C643-481D-B52A-99DBC1AAEA4F}"/>
              </a:ext>
            </a:extLst>
          </p:cNvPr>
          <p:cNvSpPr/>
          <p:nvPr/>
        </p:nvSpPr>
        <p:spPr>
          <a:xfrm>
            <a:off x="7104111" y="5841663"/>
            <a:ext cx="1021579" cy="22806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동록</a:t>
            </a: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2DE39141-82F1-44CA-9F02-C7745BDA401E}"/>
              </a:ext>
            </a:extLst>
          </p:cNvPr>
          <p:cNvSpPr/>
          <p:nvPr/>
        </p:nvSpPr>
        <p:spPr>
          <a:xfrm>
            <a:off x="1132286" y="1628825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제목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*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8F357AD5-55A8-40D4-B253-9FCF1FEA04EA}"/>
              </a:ext>
            </a:extLst>
          </p:cNvPr>
          <p:cNvSpPr/>
          <p:nvPr/>
        </p:nvSpPr>
        <p:spPr>
          <a:xfrm>
            <a:off x="1785992" y="1628824"/>
            <a:ext cx="4398863" cy="21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MEA ESG Webinar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90D59BDC-E772-4801-9B42-E0D6A37E027A}"/>
              </a:ext>
            </a:extLst>
          </p:cNvPr>
          <p:cNvSpPr/>
          <p:nvPr/>
        </p:nvSpPr>
        <p:spPr>
          <a:xfrm>
            <a:off x="1132286" y="2745242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세내용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AAEA206E-D159-4CAB-89E6-F77988411DEC}"/>
              </a:ext>
            </a:extLst>
          </p:cNvPr>
          <p:cNvSpPr/>
          <p:nvPr/>
        </p:nvSpPr>
        <p:spPr>
          <a:xfrm>
            <a:off x="1785992" y="2745240"/>
            <a:ext cx="6339429" cy="2662996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fontAlgn="base"/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algn="l" fontAlgn="base"/>
            <a:endParaRPr lang="en-US" altLang="ko-KR" sz="800" dirty="0">
              <a:solidFill>
                <a:srgbClr val="202124"/>
              </a:solidFill>
              <a:latin typeface="Arial Unicode MS"/>
              <a:ea typeface="inherit"/>
            </a:endParaRPr>
          </a:p>
          <a:p>
            <a:pPr algn="l" fontAlgn="base"/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algn="l" fontAlgn="base"/>
            <a:r>
              <a:rPr kumimoji="0" lang="ko-KR" altLang="en-US" sz="800" b="0" i="0" u="none" strike="noStrike" cap="none" normalizeH="0" baseline="0" dirty="0" err="1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웨비나</a:t>
            </a:r>
            <a:r>
              <a:rPr kumimoji="0" lang="ko-KR" altLang="en-US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 발표자</a:t>
            </a:r>
            <a:r>
              <a: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: </a:t>
            </a:r>
            <a:r>
              <a:rPr lang="en-US" altLang="ko-KR" sz="800" b="0" i="0" dirty="0">
                <a:solidFill>
                  <a:srgbClr val="2D2D2D"/>
                </a:solidFill>
                <a:effectLst/>
                <a:latin typeface="PwC Helvetica Neue"/>
              </a:rPr>
              <a:t>Nathalie </a:t>
            </a:r>
            <a:r>
              <a:rPr lang="en-US" altLang="ko-KR" sz="800" b="0" i="0" dirty="0" err="1">
                <a:solidFill>
                  <a:srgbClr val="2D2D2D"/>
                </a:solidFill>
                <a:effectLst/>
                <a:latin typeface="PwC Helvetica Neue"/>
              </a:rPr>
              <a:t>Dogniez</a:t>
            </a:r>
            <a:r>
              <a:rPr lang="en-US" altLang="ko-KR" sz="800" dirty="0">
                <a:solidFill>
                  <a:srgbClr val="2D2D2D"/>
                </a:solidFill>
                <a:latin typeface="PwC Helvetica Neue"/>
              </a:rPr>
              <a:t> (AWM EMEA ESG Leader, PwC)</a:t>
            </a:r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800" dirty="0">
              <a:solidFill>
                <a:srgbClr val="202124"/>
              </a:solidFill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유럽 ​​그린 딜의 초점 영역 중 하나는 환경 위험 및 영향으로부터 시민의 건강과 복지에 관한 것입니다.</a:t>
            </a:r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글로벌 코로나</a:t>
            </a:r>
            <a:r>
              <a: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 </a:t>
            </a: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바이러스 대유행의 영향을 감안할 때 </a:t>
            </a:r>
            <a:r>
              <a:rPr kumimoji="0" lang="ko-KR" altLang="ko-KR" sz="800" b="0" i="0" u="none" strike="noStrike" cap="none" normalizeH="0" baseline="0" dirty="0" err="1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ESG와</a:t>
            </a: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 지속 가능한 금융은 유럽 위원회의 최우선 과제로 남아 있으며 </a:t>
            </a:r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이 분야의 모멘텀이 가속화될 것으로 예상됩니다.</a:t>
            </a:r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800" dirty="0">
              <a:solidFill>
                <a:srgbClr val="202124"/>
              </a:solidFill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* </a:t>
            </a:r>
            <a:r>
              <a:rPr kumimoji="0" lang="ko-KR" altLang="en-US" sz="800" b="0" i="0" u="none" strike="noStrike" cap="none" normalizeH="0" baseline="0" dirty="0" err="1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웹비나</a:t>
            </a:r>
            <a:r>
              <a:rPr kumimoji="0" lang="ko-KR" altLang="en-US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 신청 및 상세정보 확인은 </a:t>
            </a:r>
            <a:r>
              <a: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URL</a:t>
            </a:r>
            <a:r>
              <a:rPr kumimoji="0" lang="ko-KR" altLang="en-US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정보 참고</a:t>
            </a:r>
            <a:r>
              <a: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.</a:t>
            </a: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D2F3A9AA-D666-4936-9927-BC31BE2B6640}"/>
              </a:ext>
            </a:extLst>
          </p:cNvPr>
          <p:cNvGrpSpPr/>
          <p:nvPr/>
        </p:nvGrpSpPr>
        <p:grpSpPr>
          <a:xfrm>
            <a:off x="7973330" y="3021582"/>
            <a:ext cx="152360" cy="2386653"/>
            <a:chOff x="9201470" y="1601344"/>
            <a:chExt cx="188139" cy="4198753"/>
          </a:xfrm>
        </p:grpSpPr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7399680F-9558-4C25-A5C3-43473A7214D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E024DFED-176A-4718-A0F9-7011616E33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3"/>
              <a:chOff x="9201470" y="1601344"/>
              <a:chExt cx="188139" cy="4198753"/>
            </a:xfrm>
          </p:grpSpPr>
          <p:sp>
            <p:nvSpPr>
              <p:cNvPr id="77" name="직사각형 76">
                <a:extLst>
                  <a:ext uri="{FF2B5EF4-FFF2-40B4-BE49-F238E27FC236}">
                    <a16:creationId xmlns:a16="http://schemas.microsoft.com/office/drawing/2014/main" id="{2D615383-2CAF-4DB5-92E4-EF8439845B47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79" name="직사각형 78">
                <a:extLst>
                  <a:ext uri="{FF2B5EF4-FFF2-40B4-BE49-F238E27FC236}">
                    <a16:creationId xmlns:a16="http://schemas.microsoft.com/office/drawing/2014/main" id="{041F1B03-A98B-4CC5-8761-B5F35E3CDD22}"/>
                  </a:ext>
                </a:extLst>
              </p:cNvPr>
              <p:cNvSpPr/>
              <p:nvPr/>
            </p:nvSpPr>
            <p:spPr>
              <a:xfrm rot="10800000">
                <a:off x="9201470" y="5590993"/>
                <a:ext cx="188114" cy="20910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0" name="직사각형 79">
                <a:extLst>
                  <a:ext uri="{FF2B5EF4-FFF2-40B4-BE49-F238E27FC236}">
                    <a16:creationId xmlns:a16="http://schemas.microsoft.com/office/drawing/2014/main" id="{CF950D47-C4C2-4DA8-910E-576E70A5618E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4811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8A6353F1-E231-4430-B38F-4C99A792CA76}"/>
              </a:ext>
            </a:extLst>
          </p:cNvPr>
          <p:cNvSpPr/>
          <p:nvPr/>
        </p:nvSpPr>
        <p:spPr>
          <a:xfrm>
            <a:off x="6456110" y="1633386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유형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BC632290-9D4A-43C1-A04A-685FA1BE6C02}"/>
              </a:ext>
            </a:extLst>
          </p:cNvPr>
          <p:cNvGrpSpPr/>
          <p:nvPr/>
        </p:nvGrpSpPr>
        <p:grpSpPr>
          <a:xfrm>
            <a:off x="7057527" y="1630230"/>
            <a:ext cx="1065951" cy="216000"/>
            <a:chOff x="1418526" y="1508908"/>
            <a:chExt cx="1065951" cy="172800"/>
          </a:xfrm>
        </p:grpSpPr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616F4EC8-C166-42BB-BE4D-3DA2DCA1E63B}"/>
                </a:ext>
              </a:extLst>
            </p:cNvPr>
            <p:cNvSpPr/>
            <p:nvPr/>
          </p:nvSpPr>
          <p:spPr>
            <a:xfrm>
              <a:off x="1418526" y="1508908"/>
              <a:ext cx="851394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행사</a:t>
              </a:r>
            </a:p>
          </p:txBody>
        </p:sp>
        <p:sp>
          <p:nvSpPr>
            <p:cNvPr id="118" name="직사각형 117">
              <a:extLst>
                <a:ext uri="{FF2B5EF4-FFF2-40B4-BE49-F238E27FC236}">
                  <a16:creationId xmlns:a16="http://schemas.microsoft.com/office/drawing/2014/main" id="{D882F07F-DA8B-4D2B-ABC7-F3B3968FDCF9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80E3A9F3-7628-44B2-A40C-F1BE23352BBD}"/>
              </a:ext>
            </a:extLst>
          </p:cNvPr>
          <p:cNvSpPr/>
          <p:nvPr/>
        </p:nvSpPr>
        <p:spPr>
          <a:xfrm>
            <a:off x="1779521" y="1954932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● 일자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E78BE6E7-D6E7-4C4E-928D-8223B63282A0}"/>
              </a:ext>
            </a:extLst>
          </p:cNvPr>
          <p:cNvSpPr/>
          <p:nvPr/>
        </p:nvSpPr>
        <p:spPr>
          <a:xfrm>
            <a:off x="1132286" y="5517256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RL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직사각형 125">
            <a:extLst>
              <a:ext uri="{FF2B5EF4-FFF2-40B4-BE49-F238E27FC236}">
                <a16:creationId xmlns:a16="http://schemas.microsoft.com/office/drawing/2014/main" id="{008527C7-A108-4206-965C-1F6B069FAD7C}"/>
              </a:ext>
            </a:extLst>
          </p:cNvPr>
          <p:cNvSpPr/>
          <p:nvPr/>
        </p:nvSpPr>
        <p:spPr>
          <a:xfrm>
            <a:off x="1785992" y="5517256"/>
            <a:ext cx="6339429" cy="21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ttps://www.pwc.lu/en/events/emea-esg-webinar.html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0A4DBCD4-DBCA-425E-8E9F-84B03FA43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1318"/>
            <a:ext cx="65" cy="25456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1109" rIns="0" bIns="-11109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B56A34B3-1969-4833-9BC9-19B64D51C214}"/>
              </a:ext>
            </a:extLst>
          </p:cNvPr>
          <p:cNvSpPr/>
          <p:nvPr/>
        </p:nvSpPr>
        <p:spPr>
          <a:xfrm>
            <a:off x="6023992" y="1950765"/>
            <a:ext cx="1368081" cy="215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○ 미확정일정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28" name="그룹 127">
            <a:extLst>
              <a:ext uri="{FF2B5EF4-FFF2-40B4-BE49-F238E27FC236}">
                <a16:creationId xmlns:a16="http://schemas.microsoft.com/office/drawing/2014/main" id="{B77976E5-A759-4053-ADF0-A802D79E255F}"/>
              </a:ext>
            </a:extLst>
          </p:cNvPr>
          <p:cNvGrpSpPr/>
          <p:nvPr/>
        </p:nvGrpSpPr>
        <p:grpSpPr>
          <a:xfrm>
            <a:off x="6845342" y="1987277"/>
            <a:ext cx="572998" cy="144000"/>
            <a:chOff x="1418527" y="1508908"/>
            <a:chExt cx="848317" cy="172800"/>
          </a:xfrm>
        </p:grpSpPr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CB1D4B77-98DB-4E28-BBE3-21CE179D9C18}"/>
                </a:ext>
              </a:extLst>
            </p:cNvPr>
            <p:cNvSpPr/>
            <p:nvPr/>
          </p:nvSpPr>
          <p:spPr>
            <a:xfrm>
              <a:off x="1418527" y="1508908"/>
              <a:ext cx="65272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2024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년</a:t>
              </a:r>
            </a:p>
          </p:txBody>
        </p:sp>
        <p:sp>
          <p:nvSpPr>
            <p:cNvPr id="130" name="직사각형 129">
              <a:extLst>
                <a:ext uri="{FF2B5EF4-FFF2-40B4-BE49-F238E27FC236}">
                  <a16:creationId xmlns:a16="http://schemas.microsoft.com/office/drawing/2014/main" id="{0DD1353C-5B3A-4240-A8F5-2ABC7174C6DC}"/>
                </a:ext>
              </a:extLst>
            </p:cNvPr>
            <p:cNvSpPr/>
            <p:nvPr/>
          </p:nvSpPr>
          <p:spPr>
            <a:xfrm>
              <a:off x="2020174" y="1509227"/>
              <a:ext cx="246670" cy="172481"/>
            </a:xfrm>
            <a:prstGeom prst="rect">
              <a:avLst/>
            </a:prstGeom>
            <a:solidFill>
              <a:srgbClr val="F2F2F2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F1F0216E-5102-469D-BCD2-158EC6DB239D}"/>
              </a:ext>
            </a:extLst>
          </p:cNvPr>
          <p:cNvSpPr/>
          <p:nvPr/>
        </p:nvSpPr>
        <p:spPr>
          <a:xfrm>
            <a:off x="1142924" y="1982925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*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38EAC2A0-CFD7-43C8-97D3-3424849BF798}"/>
              </a:ext>
            </a:extLst>
          </p:cNvPr>
          <p:cNvSpPr/>
          <p:nvPr/>
        </p:nvSpPr>
        <p:spPr>
          <a:xfrm>
            <a:off x="1142924" y="2356251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반복설정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65D8098F-761F-4278-8A30-A8F10A2A2C70}"/>
              </a:ext>
            </a:extLst>
          </p:cNvPr>
          <p:cNvSpPr/>
          <p:nvPr/>
        </p:nvSpPr>
        <p:spPr>
          <a:xfrm>
            <a:off x="1816124" y="2322652"/>
            <a:ext cx="633943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4" name="직사각형 143">
            <a:extLst>
              <a:ext uri="{FF2B5EF4-FFF2-40B4-BE49-F238E27FC236}">
                <a16:creationId xmlns:a16="http://schemas.microsoft.com/office/drawing/2014/main" id="{7E429BB7-71D0-47E6-85D2-1FE3D3EF4165}"/>
              </a:ext>
            </a:extLst>
          </p:cNvPr>
          <p:cNvSpPr/>
          <p:nvPr/>
        </p:nvSpPr>
        <p:spPr>
          <a:xfrm>
            <a:off x="1847528" y="236417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반복 단위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FEBFED97-A58A-4479-B30F-765D5636101E}"/>
              </a:ext>
            </a:extLst>
          </p:cNvPr>
          <p:cNvSpPr/>
          <p:nvPr/>
        </p:nvSpPr>
        <p:spPr>
          <a:xfrm>
            <a:off x="2495529" y="2365820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●  일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BFE38FCC-BED1-4833-BDA3-D4A406AA11D2}"/>
              </a:ext>
            </a:extLst>
          </p:cNvPr>
          <p:cNvSpPr/>
          <p:nvPr/>
        </p:nvSpPr>
        <p:spPr>
          <a:xfrm>
            <a:off x="2917442" y="2365820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○  주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0" name="직사각형 149">
            <a:extLst>
              <a:ext uri="{FF2B5EF4-FFF2-40B4-BE49-F238E27FC236}">
                <a16:creationId xmlns:a16="http://schemas.microsoft.com/office/drawing/2014/main" id="{DFB6047D-AB6E-4EAB-AF48-13AADE7E7FFD}"/>
              </a:ext>
            </a:extLst>
          </p:cNvPr>
          <p:cNvSpPr/>
          <p:nvPr/>
        </p:nvSpPr>
        <p:spPr>
          <a:xfrm>
            <a:off x="3375338" y="2365820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○  월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30277741-362B-4EE2-824C-9945157DB9E8}"/>
              </a:ext>
            </a:extLst>
          </p:cNvPr>
          <p:cNvSpPr/>
          <p:nvPr/>
        </p:nvSpPr>
        <p:spPr>
          <a:xfrm>
            <a:off x="4088328" y="236417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반복 횟수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CDCA3F96-6BA4-4810-BD29-85E70A136671}"/>
              </a:ext>
            </a:extLst>
          </p:cNvPr>
          <p:cNvSpPr/>
          <p:nvPr/>
        </p:nvSpPr>
        <p:spPr>
          <a:xfrm>
            <a:off x="4781127" y="2365820"/>
            <a:ext cx="248814" cy="216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6315D1F9-1919-4E64-B4B2-D9BF5569E823}"/>
              </a:ext>
            </a:extLst>
          </p:cNvPr>
          <p:cNvSpPr/>
          <p:nvPr/>
        </p:nvSpPr>
        <p:spPr>
          <a:xfrm>
            <a:off x="5378387" y="236417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반복 기준</a:t>
            </a: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3F44A144-6129-4A12-BAAF-2A23B98A1B0D}"/>
              </a:ext>
            </a:extLst>
          </p:cNvPr>
          <p:cNvSpPr/>
          <p:nvPr/>
        </p:nvSpPr>
        <p:spPr>
          <a:xfrm>
            <a:off x="6025077" y="2365820"/>
            <a:ext cx="909619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●  일자 기준</a:t>
            </a:r>
          </a:p>
        </p:txBody>
      </p:sp>
      <p:sp>
        <p:nvSpPr>
          <p:cNvPr id="156" name="직사각형 155">
            <a:extLst>
              <a:ext uri="{FF2B5EF4-FFF2-40B4-BE49-F238E27FC236}">
                <a16:creationId xmlns:a16="http://schemas.microsoft.com/office/drawing/2014/main" id="{4298D4A7-79C6-462E-B7D1-DDBD773A3106}"/>
              </a:ext>
            </a:extLst>
          </p:cNvPr>
          <p:cNvSpPr/>
          <p:nvPr/>
        </p:nvSpPr>
        <p:spPr>
          <a:xfrm>
            <a:off x="6816080" y="2365820"/>
            <a:ext cx="1091374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○  주</a:t>
            </a:r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+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요일 기준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7" name="사각형: 둥근 모서리 56">
            <a:extLst>
              <a:ext uri="{FF2B5EF4-FFF2-40B4-BE49-F238E27FC236}">
                <a16:creationId xmlns:a16="http://schemas.microsoft.com/office/drawing/2014/main" id="{C3092433-1195-4C1A-91B5-F386F3CD5CA6}"/>
              </a:ext>
            </a:extLst>
          </p:cNvPr>
          <p:cNvSpPr/>
          <p:nvPr/>
        </p:nvSpPr>
        <p:spPr>
          <a:xfrm>
            <a:off x="1698434" y="15338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8" name="사각형: 둥근 모서리 57">
            <a:extLst>
              <a:ext uri="{FF2B5EF4-FFF2-40B4-BE49-F238E27FC236}">
                <a16:creationId xmlns:a16="http://schemas.microsoft.com/office/drawing/2014/main" id="{A6992892-5F56-4B7D-955E-2DEE97E0EF41}"/>
              </a:ext>
            </a:extLst>
          </p:cNvPr>
          <p:cNvSpPr/>
          <p:nvPr/>
        </p:nvSpPr>
        <p:spPr>
          <a:xfrm>
            <a:off x="6959150" y="153388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0F49D0AD-E6B2-459A-904B-B0EC1A94790C}"/>
              </a:ext>
            </a:extLst>
          </p:cNvPr>
          <p:cNvSpPr/>
          <p:nvPr/>
        </p:nvSpPr>
        <p:spPr>
          <a:xfrm>
            <a:off x="1698434" y="190836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사각형: 둥근 모서리 59">
            <a:extLst>
              <a:ext uri="{FF2B5EF4-FFF2-40B4-BE49-F238E27FC236}">
                <a16:creationId xmlns:a16="http://schemas.microsoft.com/office/drawing/2014/main" id="{80E26370-2EDE-479F-BA0B-DAB00DA067C2}"/>
              </a:ext>
            </a:extLst>
          </p:cNvPr>
          <p:cNvSpPr/>
          <p:nvPr/>
        </p:nvSpPr>
        <p:spPr>
          <a:xfrm>
            <a:off x="1890040" y="227323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9E9F8F64-D4CF-422E-B045-578502B42D42}"/>
              </a:ext>
            </a:extLst>
          </p:cNvPr>
          <p:cNvSpPr/>
          <p:nvPr/>
        </p:nvSpPr>
        <p:spPr>
          <a:xfrm>
            <a:off x="1670595" y="542436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1B09773A-B011-C32B-1C97-B16DBE2B9229}"/>
              </a:ext>
            </a:extLst>
          </p:cNvPr>
          <p:cNvGrpSpPr/>
          <p:nvPr/>
        </p:nvGrpSpPr>
        <p:grpSpPr>
          <a:xfrm>
            <a:off x="2241476" y="1977792"/>
            <a:ext cx="707300" cy="185196"/>
            <a:chOff x="1932005" y="1938206"/>
            <a:chExt cx="707300" cy="185196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749E7183-F5DB-4936-960B-FDAF6F894264}"/>
                </a:ext>
              </a:extLst>
            </p:cNvPr>
            <p:cNvSpPr/>
            <p:nvPr/>
          </p:nvSpPr>
          <p:spPr>
            <a:xfrm>
              <a:off x="1932005" y="1938206"/>
              <a:ext cx="707300" cy="185196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en-US" altLang="ko-KR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2023.07.25</a:t>
              </a:r>
              <a:endParaRPr lang="ko-KR" altLang="en-US" sz="9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id="{C1CF20C1-B5C9-752A-EB59-25649D431950}"/>
                </a:ext>
              </a:extLst>
            </p:cNvPr>
            <p:cNvGrpSpPr/>
            <p:nvPr/>
          </p:nvGrpSpPr>
          <p:grpSpPr>
            <a:xfrm>
              <a:off x="2459876" y="1965921"/>
              <a:ext cx="143261" cy="127792"/>
              <a:chOff x="11323535" y="1798079"/>
              <a:chExt cx="143261" cy="127792"/>
            </a:xfrm>
          </p:grpSpPr>
          <p:sp>
            <p:nvSpPr>
              <p:cNvPr id="6" name="직사각형 5">
                <a:extLst>
                  <a:ext uri="{FF2B5EF4-FFF2-40B4-BE49-F238E27FC236}">
                    <a16:creationId xmlns:a16="http://schemas.microsoft.com/office/drawing/2014/main" id="{FAAA6DD4-EE2F-BCD7-82EA-C89F96A96B6A}"/>
                  </a:ext>
                </a:extLst>
              </p:cNvPr>
              <p:cNvSpPr/>
              <p:nvPr/>
            </p:nvSpPr>
            <p:spPr>
              <a:xfrm>
                <a:off x="11323535" y="1798079"/>
                <a:ext cx="143261" cy="12779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pic>
            <p:nvPicPr>
              <p:cNvPr id="7" name="그림 6">
                <a:extLst>
                  <a:ext uri="{FF2B5EF4-FFF2-40B4-BE49-F238E27FC236}">
                    <a16:creationId xmlns:a16="http://schemas.microsoft.com/office/drawing/2014/main" id="{F01F9459-E997-6D1A-3F5B-1EB104473A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350301" y="1808518"/>
                <a:ext cx="92680" cy="107215"/>
              </a:xfrm>
              <a:prstGeom prst="rect">
                <a:avLst/>
              </a:prstGeom>
            </p:spPr>
          </p:pic>
        </p:grpSp>
      </p:grp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84ED8CA1-77C5-4E33-DE25-1EFFB94C404F}"/>
              </a:ext>
            </a:extLst>
          </p:cNvPr>
          <p:cNvGrpSpPr/>
          <p:nvPr/>
        </p:nvGrpSpPr>
        <p:grpSpPr>
          <a:xfrm>
            <a:off x="3395543" y="1946209"/>
            <a:ext cx="2221801" cy="228684"/>
            <a:chOff x="3467551" y="1946209"/>
            <a:chExt cx="2221801" cy="228684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48EAE53B-31DF-B91C-8F4F-51BFAAA382BB}"/>
                </a:ext>
              </a:extLst>
            </p:cNvPr>
            <p:cNvSpPr/>
            <p:nvPr/>
          </p:nvSpPr>
          <p:spPr>
            <a:xfrm>
              <a:off x="3467551" y="1958894"/>
              <a:ext cx="766675" cy="215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○ 기간 범위</a:t>
              </a:r>
              <a:endPara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C046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D720CA8E-6A60-0C51-9139-A4FAA0244EE1}"/>
                </a:ext>
              </a:extLst>
            </p:cNvPr>
            <p:cNvGrpSpPr/>
            <p:nvPr/>
          </p:nvGrpSpPr>
          <p:grpSpPr>
            <a:xfrm>
              <a:off x="4171998" y="1968270"/>
              <a:ext cx="707300" cy="185196"/>
              <a:chOff x="1957405" y="1938206"/>
              <a:chExt cx="707300" cy="185196"/>
            </a:xfrm>
          </p:grpSpPr>
          <p:sp>
            <p:nvSpPr>
              <p:cNvPr id="29" name="직사각형 28">
                <a:extLst>
                  <a:ext uri="{FF2B5EF4-FFF2-40B4-BE49-F238E27FC236}">
                    <a16:creationId xmlns:a16="http://schemas.microsoft.com/office/drawing/2014/main" id="{3545DF7F-A9EF-A25B-ED89-540A896A1D07}"/>
                  </a:ext>
                </a:extLst>
              </p:cNvPr>
              <p:cNvSpPr/>
              <p:nvPr/>
            </p:nvSpPr>
            <p:spPr>
              <a:xfrm>
                <a:off x="1957405" y="1938206"/>
                <a:ext cx="707300" cy="1851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r>
                  <a:rPr lang="en-US" altLang="ko-KR" sz="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 2023.07.25</a:t>
                </a:r>
                <a:endParaRPr lang="ko-KR" alt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grpSp>
            <p:nvGrpSpPr>
              <p:cNvPr id="30" name="그룹 29">
                <a:extLst>
                  <a:ext uri="{FF2B5EF4-FFF2-40B4-BE49-F238E27FC236}">
                    <a16:creationId xmlns:a16="http://schemas.microsoft.com/office/drawing/2014/main" id="{AECB9278-9940-31C0-0DCB-200CD8EFA243}"/>
                  </a:ext>
                </a:extLst>
              </p:cNvPr>
              <p:cNvGrpSpPr/>
              <p:nvPr/>
            </p:nvGrpSpPr>
            <p:grpSpPr>
              <a:xfrm>
                <a:off x="2492581" y="1965921"/>
                <a:ext cx="143261" cy="127792"/>
                <a:chOff x="11356240" y="1798079"/>
                <a:chExt cx="143261" cy="127792"/>
              </a:xfrm>
            </p:grpSpPr>
            <p:sp>
              <p:nvSpPr>
                <p:cNvPr id="31" name="직사각형 30">
                  <a:extLst>
                    <a:ext uri="{FF2B5EF4-FFF2-40B4-BE49-F238E27FC236}">
                      <a16:creationId xmlns:a16="http://schemas.microsoft.com/office/drawing/2014/main" id="{777C6110-88F2-287A-D841-44D012C8BA41}"/>
                    </a:ext>
                  </a:extLst>
                </p:cNvPr>
                <p:cNvSpPr/>
                <p:nvPr/>
              </p:nvSpPr>
              <p:spPr>
                <a:xfrm>
                  <a:off x="11356240" y="1798079"/>
                  <a:ext cx="143261" cy="127792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pic>
              <p:nvPicPr>
                <p:cNvPr id="32" name="그림 31">
                  <a:extLst>
                    <a:ext uri="{FF2B5EF4-FFF2-40B4-BE49-F238E27FC236}">
                      <a16:creationId xmlns:a16="http://schemas.microsoft.com/office/drawing/2014/main" id="{34921D90-19C1-2F44-EA38-2B3E372558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1383006" y="1808518"/>
                  <a:ext cx="92680" cy="10721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D85EB36B-BFD7-F090-914D-E338926B047D}"/>
                </a:ext>
              </a:extLst>
            </p:cNvPr>
            <p:cNvGrpSpPr/>
            <p:nvPr/>
          </p:nvGrpSpPr>
          <p:grpSpPr>
            <a:xfrm>
              <a:off x="4982052" y="1972761"/>
              <a:ext cx="707300" cy="185196"/>
              <a:chOff x="1957405" y="1938206"/>
              <a:chExt cx="707300" cy="185196"/>
            </a:xfrm>
          </p:grpSpPr>
          <p:sp>
            <p:nvSpPr>
              <p:cNvPr id="34" name="직사각형 33">
                <a:extLst>
                  <a:ext uri="{FF2B5EF4-FFF2-40B4-BE49-F238E27FC236}">
                    <a16:creationId xmlns:a16="http://schemas.microsoft.com/office/drawing/2014/main" id="{A43FF00D-F61D-D115-4C7F-A2FF99E1F440}"/>
                  </a:ext>
                </a:extLst>
              </p:cNvPr>
              <p:cNvSpPr/>
              <p:nvPr/>
            </p:nvSpPr>
            <p:spPr>
              <a:xfrm>
                <a:off x="1957405" y="1938206"/>
                <a:ext cx="707300" cy="18519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r>
                  <a:rPr lang="en-US" altLang="ko-KR" sz="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 2023.07.25</a:t>
                </a:r>
                <a:endParaRPr lang="ko-KR" alt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grpSp>
            <p:nvGrpSpPr>
              <p:cNvPr id="35" name="그룹 34">
                <a:extLst>
                  <a:ext uri="{FF2B5EF4-FFF2-40B4-BE49-F238E27FC236}">
                    <a16:creationId xmlns:a16="http://schemas.microsoft.com/office/drawing/2014/main" id="{DE49BA20-B46E-7976-2745-1E1C6C91BFC1}"/>
                  </a:ext>
                </a:extLst>
              </p:cNvPr>
              <p:cNvGrpSpPr/>
              <p:nvPr/>
            </p:nvGrpSpPr>
            <p:grpSpPr>
              <a:xfrm>
                <a:off x="2496044" y="1965921"/>
                <a:ext cx="143261" cy="127792"/>
                <a:chOff x="11359703" y="1798079"/>
                <a:chExt cx="143261" cy="127792"/>
              </a:xfrm>
            </p:grpSpPr>
            <p:sp>
              <p:nvSpPr>
                <p:cNvPr id="36" name="직사각형 35">
                  <a:extLst>
                    <a:ext uri="{FF2B5EF4-FFF2-40B4-BE49-F238E27FC236}">
                      <a16:creationId xmlns:a16="http://schemas.microsoft.com/office/drawing/2014/main" id="{191B8086-AEB7-3EE6-ACBE-C346FD8D04A6}"/>
                    </a:ext>
                  </a:extLst>
                </p:cNvPr>
                <p:cNvSpPr/>
                <p:nvPr/>
              </p:nvSpPr>
              <p:spPr>
                <a:xfrm>
                  <a:off x="11359703" y="1798079"/>
                  <a:ext cx="143261" cy="127792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dirty="0"/>
                </a:p>
              </p:txBody>
            </p:sp>
            <p:pic>
              <p:nvPicPr>
                <p:cNvPr id="37" name="그림 36">
                  <a:extLst>
                    <a:ext uri="{FF2B5EF4-FFF2-40B4-BE49-F238E27FC236}">
                      <a16:creationId xmlns:a16="http://schemas.microsoft.com/office/drawing/2014/main" id="{AA7E5003-381D-1556-F663-75E5B5D690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1386469" y="1808518"/>
                  <a:ext cx="92680" cy="107215"/>
                </a:xfrm>
                <a:prstGeom prst="rect">
                  <a:avLst/>
                </a:prstGeom>
              </p:spPr>
            </p:pic>
          </p:grpSp>
        </p:grp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D22CFFC7-B2B4-DA66-C658-A51ECBCDC366}"/>
                </a:ext>
              </a:extLst>
            </p:cNvPr>
            <p:cNvSpPr/>
            <p:nvPr/>
          </p:nvSpPr>
          <p:spPr>
            <a:xfrm>
              <a:off x="4797939" y="1946209"/>
              <a:ext cx="257735" cy="215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800" b="1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～</a:t>
              </a:r>
            </a:p>
          </p:txBody>
        </p:sp>
      </p:grp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6F5597EB-954F-833D-6378-7BC637103149}"/>
              </a:ext>
            </a:extLst>
          </p:cNvPr>
          <p:cNvGrpSpPr/>
          <p:nvPr/>
        </p:nvGrpSpPr>
        <p:grpSpPr>
          <a:xfrm>
            <a:off x="7466567" y="1986861"/>
            <a:ext cx="471925" cy="144000"/>
            <a:chOff x="1418529" y="1508908"/>
            <a:chExt cx="698683" cy="172800"/>
          </a:xfrm>
        </p:grpSpPr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804263FA-51A5-AA4D-8DB3-6F9C2A4A714E}"/>
                </a:ext>
              </a:extLst>
            </p:cNvPr>
            <p:cNvSpPr/>
            <p:nvPr/>
          </p:nvSpPr>
          <p:spPr>
            <a:xfrm>
              <a:off x="1418529" y="1508908"/>
              <a:ext cx="488656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2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월</a:t>
              </a:r>
            </a:p>
          </p:txBody>
        </p:sp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CC0BA308-8CA2-2048-3672-B0590B28EB45}"/>
                </a:ext>
              </a:extLst>
            </p:cNvPr>
            <p:cNvSpPr/>
            <p:nvPr/>
          </p:nvSpPr>
          <p:spPr>
            <a:xfrm>
              <a:off x="1880722" y="1508973"/>
              <a:ext cx="236490" cy="172480"/>
            </a:xfrm>
            <a:prstGeom prst="rect">
              <a:avLst/>
            </a:prstGeom>
            <a:solidFill>
              <a:srgbClr val="F2F2F2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267311F5-D578-4866-BB9F-99FE0513457D}"/>
              </a:ext>
            </a:extLst>
          </p:cNvPr>
          <p:cNvSpPr/>
          <p:nvPr/>
        </p:nvSpPr>
        <p:spPr>
          <a:xfrm>
            <a:off x="1142923" y="2276455"/>
            <a:ext cx="6974543" cy="347757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반복설정 기능 삭제</a:t>
            </a:r>
          </a:p>
        </p:txBody>
      </p:sp>
      <p:pic>
        <p:nvPicPr>
          <p:cNvPr id="44" name="그림 43">
            <a:extLst>
              <a:ext uri="{FF2B5EF4-FFF2-40B4-BE49-F238E27FC236}">
                <a16:creationId xmlns:a16="http://schemas.microsoft.com/office/drawing/2014/main" id="{290AACB6-A335-438F-F2EF-BF0EA499FD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1688" y="2747781"/>
            <a:ext cx="6342661" cy="280244"/>
          </a:xfrm>
          <a:prstGeom prst="rect">
            <a:avLst/>
          </a:prstGeom>
        </p:spPr>
      </p:pic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3119640F-0C26-4596-8877-A1864AEDBB6D}"/>
              </a:ext>
            </a:extLst>
          </p:cNvPr>
          <p:cNvSpPr/>
          <p:nvPr/>
        </p:nvSpPr>
        <p:spPr>
          <a:xfrm>
            <a:off x="1670595" y="270008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DF469C26-F0E3-5E98-BE82-AFDCBB4A2B70}"/>
              </a:ext>
            </a:extLst>
          </p:cNvPr>
          <p:cNvSpPr/>
          <p:nvPr/>
        </p:nvSpPr>
        <p:spPr>
          <a:xfrm>
            <a:off x="9073581" y="0"/>
            <a:ext cx="3123223" cy="75919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 10. 20&gt;</a:t>
            </a: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일정 설정 기능 변경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: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일자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간 범위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,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미확정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일정 구분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반복 설정 기능 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상세 내용 등록 시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HTML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에디터 기능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283317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6F7A47CB-C80C-46A4-B26E-FC58D9E8208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247160" y="619972"/>
            <a:ext cx="8763000" cy="6073140"/>
          </a:xfrm>
          <a:prstGeom prst="rect">
            <a:avLst/>
          </a:prstGeom>
        </p:spPr>
      </p:pic>
      <p:grpSp>
        <p:nvGrpSpPr>
          <p:cNvPr id="51" name="그룹 50">
            <a:extLst>
              <a:ext uri="{FF2B5EF4-FFF2-40B4-BE49-F238E27FC236}">
                <a16:creationId xmlns:a16="http://schemas.microsoft.com/office/drawing/2014/main" id="{E41F62A0-A52E-4412-AD71-8E1DEE320942}"/>
              </a:ext>
            </a:extLst>
          </p:cNvPr>
          <p:cNvGrpSpPr/>
          <p:nvPr/>
        </p:nvGrpSpPr>
        <p:grpSpPr>
          <a:xfrm>
            <a:off x="1055440" y="908720"/>
            <a:ext cx="7291679" cy="5308223"/>
            <a:chOff x="1274139" y="1023155"/>
            <a:chExt cx="6833233" cy="6570201"/>
          </a:xfrm>
        </p:grpSpPr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CEE8367E-6C38-49A8-954F-C45DE70C222C}"/>
                </a:ext>
              </a:extLst>
            </p:cNvPr>
            <p:cNvSpPr/>
            <p:nvPr/>
          </p:nvSpPr>
          <p:spPr>
            <a:xfrm>
              <a:off x="1274139" y="1362967"/>
              <a:ext cx="6833233" cy="623038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 dirty="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1FBF4427-AD54-4D93-B610-67BE772B435B}"/>
                </a:ext>
              </a:extLst>
            </p:cNvPr>
            <p:cNvSpPr/>
            <p:nvPr/>
          </p:nvSpPr>
          <p:spPr>
            <a:xfrm>
              <a:off x="1274141" y="1023155"/>
              <a:ext cx="6833231" cy="3898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ctr" anchorCtr="0"/>
            <a:lstStyle/>
            <a:p>
              <a:r>
                <a:rPr lang="en-US" altLang="ko-KR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ESG </a:t>
              </a:r>
              <a:r>
                <a:rPr lang="ko-KR" altLang="en-US" sz="900" b="1" dirty="0">
                  <a:solidFill>
                    <a:schemeClr val="bg1"/>
                  </a:solidFill>
                  <a:latin typeface="+mn-ea"/>
                  <a:cs typeface="Segoe UI" panose="020B0502040204020203" pitchFamily="34" charset="0"/>
                </a:rPr>
                <a:t>일정 상세조회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03DC802-77E5-4590-AF6B-2BCB0E0F5DEE}"/>
                </a:ext>
              </a:extLst>
            </p:cNvPr>
            <p:cNvSpPr txBox="1"/>
            <p:nvPr/>
          </p:nvSpPr>
          <p:spPr>
            <a:xfrm>
              <a:off x="7734233" y="1066760"/>
              <a:ext cx="215999" cy="3593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Segoe UI" panose="020B0502040204020203" pitchFamily="34" charset="0"/>
                </a:rPr>
                <a:t>X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Segoe UI" panose="020B0502040204020203" pitchFamily="34" charset="0"/>
              </a:endParaRPr>
            </a:p>
          </p:txBody>
        </p:sp>
      </p:grp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35725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3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 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상세조회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운영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팝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을 선택하여 상세정보를 확인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graphicFrame>
        <p:nvGraphicFramePr>
          <p:cNvPr id="10" name="표 10">
            <a:extLst>
              <a:ext uri="{FF2B5EF4-FFF2-40B4-BE49-F238E27FC236}">
                <a16:creationId xmlns:a16="http://schemas.microsoft.com/office/drawing/2014/main" id="{3AF2932B-10A2-47DD-9469-0D0073D7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064772"/>
              </p:ext>
            </p:extLst>
          </p:nvPr>
        </p:nvGraphicFramePr>
        <p:xfrm>
          <a:off x="9267391" y="759199"/>
          <a:ext cx="2922885" cy="2620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*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된 일정 정보를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유형 값을 우측 상단에 태그로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802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수정 버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운영자에게만 활성화하여 노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당 화면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‘ESG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일정 등록변경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’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ID: M035]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변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191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확인 버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모든 사용자에게 노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화면 팝업이 종료됨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13553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삭제 버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08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2585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780305"/>
                  </a:ext>
                </a:extLst>
              </a:tr>
              <a:tr h="1581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143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T="36000" marB="3600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546863"/>
                  </a:ext>
                </a:extLst>
              </a:tr>
            </a:tbl>
          </a:graphicData>
        </a:graphic>
      </p:graphicFrame>
      <p:sp>
        <p:nvSpPr>
          <p:cNvPr id="47" name="직사각형 46">
            <a:extLst>
              <a:ext uri="{FF2B5EF4-FFF2-40B4-BE49-F238E27FC236}">
                <a16:creationId xmlns:a16="http://schemas.microsoft.com/office/drawing/2014/main" id="{4A1E93C0-6D6F-459C-ABB7-516F5953B234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028B1B96-0ECF-4392-8F2C-C2E2744C5345}"/>
              </a:ext>
            </a:extLst>
          </p:cNvPr>
          <p:cNvSpPr/>
          <p:nvPr/>
        </p:nvSpPr>
        <p:spPr>
          <a:xfrm>
            <a:off x="1079179" y="1264320"/>
            <a:ext cx="3432643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cs typeface="Arial"/>
              </a:rPr>
              <a:t>ESG </a:t>
            </a:r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/>
                </a:solidFill>
                <a:latin typeface="+mn-ea"/>
                <a:cs typeface="Arial"/>
              </a:rPr>
              <a:t>일정정보</a:t>
            </a: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7A6A7579-C643-481D-B52A-99DBC1AAEA4F}"/>
              </a:ext>
            </a:extLst>
          </p:cNvPr>
          <p:cNvSpPr/>
          <p:nvPr/>
        </p:nvSpPr>
        <p:spPr>
          <a:xfrm>
            <a:off x="7104111" y="5841663"/>
            <a:ext cx="1021579" cy="22806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확인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2DE39141-82F1-44CA-9F02-C7745BDA401E}"/>
              </a:ext>
            </a:extLst>
          </p:cNvPr>
          <p:cNvSpPr/>
          <p:nvPr/>
        </p:nvSpPr>
        <p:spPr>
          <a:xfrm>
            <a:off x="1132286" y="1698193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제목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8F357AD5-55A8-40D4-B253-9FCF1FEA04EA}"/>
              </a:ext>
            </a:extLst>
          </p:cNvPr>
          <p:cNvSpPr/>
          <p:nvPr/>
        </p:nvSpPr>
        <p:spPr>
          <a:xfrm>
            <a:off x="1785992" y="1698192"/>
            <a:ext cx="4398863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MEA ESG Webinar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90D59BDC-E772-4801-9B42-E0D6A37E027A}"/>
              </a:ext>
            </a:extLst>
          </p:cNvPr>
          <p:cNvSpPr/>
          <p:nvPr/>
        </p:nvSpPr>
        <p:spPr>
          <a:xfrm>
            <a:off x="1132286" y="2058210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상세내용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AAEA206E-D159-4CAB-89E6-F77988411DEC}"/>
              </a:ext>
            </a:extLst>
          </p:cNvPr>
          <p:cNvSpPr/>
          <p:nvPr/>
        </p:nvSpPr>
        <p:spPr>
          <a:xfrm>
            <a:off x="1785992" y="2058207"/>
            <a:ext cx="6339429" cy="26637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fontAlgn="base"/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algn="l" fontAlgn="base"/>
            <a:endParaRPr lang="en-US" altLang="ko-KR" sz="800" dirty="0">
              <a:solidFill>
                <a:srgbClr val="202124"/>
              </a:solidFill>
              <a:latin typeface="Arial Unicode MS"/>
              <a:ea typeface="inherit"/>
            </a:endParaRPr>
          </a:p>
          <a:p>
            <a:pPr algn="l" fontAlgn="base"/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algn="l" fontAlgn="base"/>
            <a:endParaRPr lang="en-US" altLang="ko-KR" sz="800" dirty="0">
              <a:solidFill>
                <a:srgbClr val="202124"/>
              </a:solidFill>
              <a:latin typeface="Arial Unicode MS"/>
              <a:ea typeface="inherit"/>
            </a:endParaRPr>
          </a:p>
          <a:p>
            <a:pPr algn="l" fontAlgn="base"/>
            <a:r>
              <a:rPr kumimoji="0" lang="ko-KR" altLang="en-US" sz="800" b="0" i="0" u="none" strike="noStrike" cap="none" normalizeH="0" baseline="0" dirty="0" err="1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웨비나</a:t>
            </a:r>
            <a:r>
              <a:rPr kumimoji="0" lang="ko-KR" altLang="en-US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 발표자</a:t>
            </a:r>
            <a:r>
              <a: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: </a:t>
            </a:r>
            <a:r>
              <a:rPr lang="en-US" altLang="ko-KR" sz="800" b="0" i="0" dirty="0">
                <a:solidFill>
                  <a:srgbClr val="2D2D2D"/>
                </a:solidFill>
                <a:effectLst/>
                <a:latin typeface="PwC Helvetica Neue"/>
              </a:rPr>
              <a:t>Nathalie </a:t>
            </a:r>
            <a:r>
              <a:rPr lang="en-US" altLang="ko-KR" sz="800" b="0" i="0" dirty="0" err="1">
                <a:solidFill>
                  <a:srgbClr val="2D2D2D"/>
                </a:solidFill>
                <a:effectLst/>
                <a:latin typeface="PwC Helvetica Neue"/>
              </a:rPr>
              <a:t>Dogniez</a:t>
            </a:r>
            <a:r>
              <a:rPr lang="en-US" altLang="ko-KR" sz="800" dirty="0">
                <a:solidFill>
                  <a:srgbClr val="2D2D2D"/>
                </a:solidFill>
                <a:latin typeface="PwC Helvetica Neue"/>
              </a:rPr>
              <a:t> (AWM EMEA ESG Leader, PwC)</a:t>
            </a:r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800" dirty="0">
              <a:solidFill>
                <a:srgbClr val="202124"/>
              </a:solidFill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유럽 ​​그린 딜의 초점 영역 중 하나는 환경 위험 및 영향으로부터 시민의 건강과 복지에 관한 것입니다.</a:t>
            </a:r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글로벌 코로나</a:t>
            </a:r>
            <a:r>
              <a: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 </a:t>
            </a: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바이러스 대유행의 영향을 감안할 때 </a:t>
            </a:r>
            <a:r>
              <a:rPr kumimoji="0" lang="ko-KR" altLang="ko-KR" sz="800" b="0" i="0" u="none" strike="noStrike" cap="none" normalizeH="0" baseline="0" dirty="0" err="1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ESG와</a:t>
            </a: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 지속 가능한 금융은 유럽 위원회의 최우선 과제로 남아 있으며 </a:t>
            </a:r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이 분야의 모멘텀이 가속화될 것으로 예상됩니다.</a:t>
            </a:r>
            <a:endParaRPr kumimoji="0" lang="en-US" altLang="ko-KR" sz="800" b="0" i="0" u="none" strike="noStrike" cap="none" normalizeH="0" baseline="0" dirty="0">
              <a:ln>
                <a:noFill/>
              </a:ln>
              <a:solidFill>
                <a:srgbClr val="202124"/>
              </a:solidFill>
              <a:effectLst/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ko-KR" sz="800" dirty="0">
              <a:solidFill>
                <a:srgbClr val="202124"/>
              </a:solidFill>
              <a:latin typeface="Arial Unicode MS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* </a:t>
            </a:r>
            <a:r>
              <a:rPr kumimoji="0" lang="ko-KR" altLang="en-US" sz="800" b="0" i="0" u="none" strike="noStrike" cap="none" normalizeH="0" baseline="0" dirty="0" err="1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웹비나</a:t>
            </a:r>
            <a:r>
              <a:rPr kumimoji="0" lang="ko-KR" altLang="en-US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 신청 및 상세정보 확인은 </a:t>
            </a:r>
            <a:r>
              <a: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URL</a:t>
            </a:r>
            <a:r>
              <a:rPr kumimoji="0" lang="ko-KR" altLang="en-US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정보 참고</a:t>
            </a:r>
            <a:r>
              <a:rPr kumimoji="0" lang="en-US" altLang="ko-KR" sz="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.</a:t>
            </a: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D2F3A9AA-D666-4936-9927-BC31BE2B6640}"/>
              </a:ext>
            </a:extLst>
          </p:cNvPr>
          <p:cNvGrpSpPr/>
          <p:nvPr/>
        </p:nvGrpSpPr>
        <p:grpSpPr>
          <a:xfrm>
            <a:off x="7973330" y="2342305"/>
            <a:ext cx="152360" cy="2379661"/>
            <a:chOff x="9201470" y="1601344"/>
            <a:chExt cx="188139" cy="4198758"/>
          </a:xfrm>
        </p:grpSpPr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7399680F-9558-4C25-A5C3-43473A7214D7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E024DFED-176A-4718-A0F9-7011616E3360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77" name="직사각형 76">
                <a:extLst>
                  <a:ext uri="{FF2B5EF4-FFF2-40B4-BE49-F238E27FC236}">
                    <a16:creationId xmlns:a16="http://schemas.microsoft.com/office/drawing/2014/main" id="{2D615383-2CAF-4DB5-92E4-EF8439845B47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79" name="직사각형 78">
                <a:extLst>
                  <a:ext uri="{FF2B5EF4-FFF2-40B4-BE49-F238E27FC236}">
                    <a16:creationId xmlns:a16="http://schemas.microsoft.com/office/drawing/2014/main" id="{041F1B03-A98B-4CC5-8761-B5F35E3CDD22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80" name="직사각형 79">
                <a:extLst>
                  <a:ext uri="{FF2B5EF4-FFF2-40B4-BE49-F238E27FC236}">
                    <a16:creationId xmlns:a16="http://schemas.microsoft.com/office/drawing/2014/main" id="{CF950D47-C4C2-4DA8-910E-576E70A5618E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E78BE6E7-D6E7-4C4E-928D-8223B63282A0}"/>
              </a:ext>
            </a:extLst>
          </p:cNvPr>
          <p:cNvSpPr/>
          <p:nvPr/>
        </p:nvSpPr>
        <p:spPr>
          <a:xfrm>
            <a:off x="1132286" y="4869184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URL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6" name="직사각형 125">
            <a:extLst>
              <a:ext uri="{FF2B5EF4-FFF2-40B4-BE49-F238E27FC236}">
                <a16:creationId xmlns:a16="http://schemas.microsoft.com/office/drawing/2014/main" id="{008527C7-A108-4206-965C-1F6B069FAD7C}"/>
              </a:ext>
            </a:extLst>
          </p:cNvPr>
          <p:cNvSpPr/>
          <p:nvPr/>
        </p:nvSpPr>
        <p:spPr>
          <a:xfrm>
            <a:off x="1785992" y="4869184"/>
            <a:ext cx="6339429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ttps://www.pwc.lu/en/events/emea-esg-webinar.html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0A4DBCD4-DBCA-425E-8E9F-84B03FA43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1318"/>
            <a:ext cx="65" cy="25456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1109" rIns="0" bIns="-11109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C5B89698-4F04-40F7-9FB0-9C0ED0453B40}"/>
              </a:ext>
            </a:extLst>
          </p:cNvPr>
          <p:cNvSpPr/>
          <p:nvPr/>
        </p:nvSpPr>
        <p:spPr>
          <a:xfrm>
            <a:off x="7431312" y="1332075"/>
            <a:ext cx="684000" cy="216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/>
              <a:t>행사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BF909982-D74F-47A5-A02B-C396113287D8}"/>
              </a:ext>
            </a:extLst>
          </p:cNvPr>
          <p:cNvSpPr/>
          <p:nvPr/>
        </p:nvSpPr>
        <p:spPr>
          <a:xfrm>
            <a:off x="6259301" y="1715848"/>
            <a:ext cx="648001" cy="206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일정</a:t>
            </a:r>
            <a:endParaRPr lang="ko-KR" altLang="en-US" sz="80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C04600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5B0D9E3B-B6B9-43BA-822D-2FFE148FA0FA}"/>
              </a:ext>
            </a:extLst>
          </p:cNvPr>
          <p:cNvSpPr/>
          <p:nvPr/>
        </p:nvSpPr>
        <p:spPr>
          <a:xfrm>
            <a:off x="6672064" y="1698192"/>
            <a:ext cx="1426137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3.07.04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1" name="사각형: 둥근 모서리 60">
            <a:extLst>
              <a:ext uri="{FF2B5EF4-FFF2-40B4-BE49-F238E27FC236}">
                <a16:creationId xmlns:a16="http://schemas.microsoft.com/office/drawing/2014/main" id="{7F440C9D-87C0-485E-8664-D1830A4CEEFE}"/>
              </a:ext>
            </a:extLst>
          </p:cNvPr>
          <p:cNvSpPr/>
          <p:nvPr/>
        </p:nvSpPr>
        <p:spPr>
          <a:xfrm>
            <a:off x="5979183" y="5851188"/>
            <a:ext cx="1021579" cy="22806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수정</a:t>
            </a:r>
          </a:p>
        </p:txBody>
      </p: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CD5B4F01-3439-4508-B092-80F84EB1D10D}"/>
              </a:ext>
            </a:extLst>
          </p:cNvPr>
          <p:cNvSpPr/>
          <p:nvPr/>
        </p:nvSpPr>
        <p:spPr>
          <a:xfrm>
            <a:off x="5969397" y="580614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2" name="사각형: 둥근 모서리 31">
            <a:extLst>
              <a:ext uri="{FF2B5EF4-FFF2-40B4-BE49-F238E27FC236}">
                <a16:creationId xmlns:a16="http://schemas.microsoft.com/office/drawing/2014/main" id="{69ABAD97-FA2B-4D5A-B7F5-F3341C3B6B56}"/>
              </a:ext>
            </a:extLst>
          </p:cNvPr>
          <p:cNvSpPr/>
          <p:nvPr/>
        </p:nvSpPr>
        <p:spPr>
          <a:xfrm>
            <a:off x="7112425" y="5816363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66099C01-30A8-CBF6-0649-7D1EFCE88B5D}"/>
              </a:ext>
            </a:extLst>
          </p:cNvPr>
          <p:cNvSpPr/>
          <p:nvPr/>
        </p:nvSpPr>
        <p:spPr>
          <a:xfrm>
            <a:off x="4885851" y="5850808"/>
            <a:ext cx="1021579" cy="22806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삭제</a:t>
            </a: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5411A9EA-F68F-40D7-1BE3-8F294C6CEBFB}"/>
              </a:ext>
            </a:extLst>
          </p:cNvPr>
          <p:cNvSpPr/>
          <p:nvPr/>
        </p:nvSpPr>
        <p:spPr>
          <a:xfrm>
            <a:off x="4870918" y="580526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EF9405C0-DCEC-FC64-20AF-51601B21C5D2}"/>
              </a:ext>
            </a:extLst>
          </p:cNvPr>
          <p:cNvSpPr/>
          <p:nvPr/>
        </p:nvSpPr>
        <p:spPr>
          <a:xfrm>
            <a:off x="9073581" y="0"/>
            <a:ext cx="3123223" cy="75919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 10. 20&gt;</a:t>
            </a:r>
          </a:p>
          <a:p>
            <a:pPr defTabSz="914400">
              <a:lnSpc>
                <a:spcPct val="110000"/>
              </a:lnSpc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[3]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삭제 기능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A335C163-5BF5-814F-B06E-046DB899DA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4820" y="2062061"/>
            <a:ext cx="6328337" cy="27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73042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비스 현황관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1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이트에 유입되는 고객의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체류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탈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벤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환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확인하여 관리할 수 있는 현황관리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28292" y="1371075"/>
            <a:ext cx="865854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서비스 현황 대시보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웹사이트 관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서비스 현황관리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kumimoji="0" lang="ko-KR" altLang="en-US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5638764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aphicFrame>
        <p:nvGraphicFramePr>
          <p:cNvPr id="117" name="표 10">
            <a:extLst>
              <a:ext uri="{FF2B5EF4-FFF2-40B4-BE49-F238E27FC236}">
                <a16:creationId xmlns:a16="http://schemas.microsoft.com/office/drawing/2014/main" id="{4217557B-D77F-4E3E-AAC5-79471F428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0814851"/>
              </p:ext>
            </p:extLst>
          </p:nvPr>
        </p:nvGraphicFramePr>
        <p:xfrm>
          <a:off x="9267391" y="759199"/>
          <a:ext cx="2922885" cy="4724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157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 통계를 출력한 기준일시를 표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YYYY-MM-D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요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HH:M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8756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평균 방문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유입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유입 수를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하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평균 방문자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방문자를 일평균으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유입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방문자 유입 수를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유입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방문자 유입 수를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 시점 기준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 간 방문자 유입 수를 차트 형태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값과 금일 유입 수는 강조하여 표시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1782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평균 세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세션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세션 수를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하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평균 세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세션을 일평균으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세션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세션 수를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세션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세션 수를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 시점 기준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 간 세션 수를 차트 형태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값과 금일 세션 수는 강조하여 표시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1782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탈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탈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이탈율을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하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탈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이탈율을 평균으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탈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이탈율을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탈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이탈율을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 시점 기준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 간 이탈율을 차트 형태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값과 금일 이탈율은 강조하여 표시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2492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션 당 평균 페이지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페이지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페이지 수를 출력하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균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세션 당 페이지 수를 평균으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페이지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세션 당 페이지 수를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페이지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세션 당 페이지 수를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 시점 기준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 간 세션 당 페이지 수를 차트 형태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값과 금일 페이지 수는 강조하여 표시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</a:tbl>
          </a:graphicData>
        </a:graphic>
      </p:graphicFrame>
      <p:grpSp>
        <p:nvGrpSpPr>
          <p:cNvPr id="8" name="그룹 7">
            <a:extLst>
              <a:ext uri="{FF2B5EF4-FFF2-40B4-BE49-F238E27FC236}">
                <a16:creationId xmlns:a16="http://schemas.microsoft.com/office/drawing/2014/main" id="{6632C7D3-F5C8-4131-A672-80A274FFEAAE}"/>
              </a:ext>
            </a:extLst>
          </p:cNvPr>
          <p:cNvGrpSpPr/>
          <p:nvPr/>
        </p:nvGrpSpPr>
        <p:grpSpPr>
          <a:xfrm>
            <a:off x="623391" y="1544101"/>
            <a:ext cx="8064897" cy="2141115"/>
            <a:chOff x="623391" y="1647923"/>
            <a:chExt cx="7244259" cy="214111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5FEC6DA0-015E-4A14-98EA-9C107294E015}"/>
                </a:ext>
              </a:extLst>
            </p:cNvPr>
            <p:cNvGrpSpPr/>
            <p:nvPr/>
          </p:nvGrpSpPr>
          <p:grpSpPr>
            <a:xfrm>
              <a:off x="623391" y="1647923"/>
              <a:ext cx="3537885" cy="2141115"/>
              <a:chOff x="623391" y="1647923"/>
              <a:chExt cx="3537885" cy="2141115"/>
            </a:xfrm>
          </p:grpSpPr>
          <p:sp>
            <p:nvSpPr>
              <p:cNvPr id="52" name="사각형: 둥근 모서리 51">
                <a:extLst>
                  <a:ext uri="{FF2B5EF4-FFF2-40B4-BE49-F238E27FC236}">
                    <a16:creationId xmlns:a16="http://schemas.microsoft.com/office/drawing/2014/main" id="{2DFD160A-A24C-451F-9F94-A56D9AD7ECCD}"/>
                  </a:ext>
                </a:extLst>
              </p:cNvPr>
              <p:cNvSpPr/>
              <p:nvPr/>
            </p:nvSpPr>
            <p:spPr>
              <a:xfrm>
                <a:off x="623391" y="1647923"/>
                <a:ext cx="3529295" cy="2141115"/>
              </a:xfrm>
              <a:prstGeom prst="roundRect">
                <a:avLst>
                  <a:gd name="adj" fmla="val 4497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0000" bIns="360000" rtlCol="0" anchor="ctr" anchorCtr="0"/>
              <a:lstStyle/>
              <a:p>
                <a:pPr marL="0" marR="0" lvl="0" indent="0" algn="l" defTabSz="977172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3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marL="0" marR="0" lvl="0" indent="0" algn="l" defTabSz="977172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3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marL="0" marR="0" lvl="0" indent="0" algn="l" defTabSz="977172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3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</a:p>
            </p:txBody>
          </p:sp>
          <p:cxnSp>
            <p:nvCxnSpPr>
              <p:cNvPr id="53" name="직선 연결선 52">
                <a:extLst>
                  <a:ext uri="{FF2B5EF4-FFF2-40B4-BE49-F238E27FC236}">
                    <a16:creationId xmlns:a16="http://schemas.microsoft.com/office/drawing/2014/main" id="{984CF582-156F-4591-A656-9479AB5A14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5400" y="1982467"/>
                <a:ext cx="3351848" cy="0"/>
              </a:xfrm>
              <a:prstGeom prst="line">
                <a:avLst/>
              </a:prstGeom>
              <a:ln w="12700" cap="sq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54" name="직사각형 53">
                <a:extLst>
                  <a:ext uri="{FF2B5EF4-FFF2-40B4-BE49-F238E27FC236}">
                    <a16:creationId xmlns:a16="http://schemas.microsoft.com/office/drawing/2014/main" id="{D23D43EC-0DAA-41BD-B5FF-491FC246A94C}"/>
                  </a:ext>
                </a:extLst>
              </p:cNvPr>
              <p:cNvSpPr/>
              <p:nvPr/>
            </p:nvSpPr>
            <p:spPr>
              <a:xfrm>
                <a:off x="2361276" y="1750221"/>
                <a:ext cx="1800000" cy="17508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기준일시</a:t>
                </a:r>
                <a:r>
                  <a:rPr kumimoji="0" lang="en-US" altLang="ko-KR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 2023-08-24 </a:t>
                </a: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목요일 </a:t>
                </a:r>
                <a:r>
                  <a:rPr kumimoji="0" lang="en-US" altLang="ko-KR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#:##</a:t>
                </a: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</a:p>
            </p:txBody>
          </p:sp>
          <p:sp>
            <p:nvSpPr>
              <p:cNvPr id="55" name="직사각형 54">
                <a:extLst>
                  <a:ext uri="{FF2B5EF4-FFF2-40B4-BE49-F238E27FC236}">
                    <a16:creationId xmlns:a16="http://schemas.microsoft.com/office/drawing/2014/main" id="{15AB89D0-C17C-4C2D-982B-CC4DB61D0C5B}"/>
                  </a:ext>
                </a:extLst>
              </p:cNvPr>
              <p:cNvSpPr/>
              <p:nvPr/>
            </p:nvSpPr>
            <p:spPr>
              <a:xfrm>
                <a:off x="623392" y="1682818"/>
                <a:ext cx="1661849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방문고객 수 </a:t>
                </a:r>
                <a:r>
                  <a:rPr kumimoji="0" lang="en-US" altLang="ko-KR" sz="11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/ </a:t>
                </a:r>
                <a:r>
                  <a:rPr kumimoji="0" lang="ko-KR" altLang="en-US" sz="11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추이</a:t>
                </a:r>
              </a:p>
            </p:txBody>
          </p:sp>
          <p:grpSp>
            <p:nvGrpSpPr>
              <p:cNvPr id="5" name="그룹 4">
                <a:extLst>
                  <a:ext uri="{FF2B5EF4-FFF2-40B4-BE49-F238E27FC236}">
                    <a16:creationId xmlns:a16="http://schemas.microsoft.com/office/drawing/2014/main" id="{7B97C440-EBDE-4AC8-962C-83FDD035C0B0}"/>
                  </a:ext>
                </a:extLst>
              </p:cNvPr>
              <p:cNvGrpSpPr/>
              <p:nvPr/>
            </p:nvGrpSpPr>
            <p:grpSpPr>
              <a:xfrm>
                <a:off x="695400" y="2069558"/>
                <a:ext cx="3362249" cy="567354"/>
                <a:chOff x="743829" y="2069558"/>
                <a:chExt cx="3529986" cy="567354"/>
              </a:xfrm>
            </p:grpSpPr>
            <p:sp>
              <p:nvSpPr>
                <p:cNvPr id="56" name="사각형: 둥근 모서리 55">
                  <a:extLst>
                    <a:ext uri="{FF2B5EF4-FFF2-40B4-BE49-F238E27FC236}">
                      <a16:creationId xmlns:a16="http://schemas.microsoft.com/office/drawing/2014/main" id="{7A5135A2-E647-4638-B273-69462152B31D}"/>
                    </a:ext>
                  </a:extLst>
                </p:cNvPr>
                <p:cNvSpPr/>
                <p:nvPr/>
              </p:nvSpPr>
              <p:spPr>
                <a:xfrm>
                  <a:off x="743829" y="2069558"/>
                  <a:ext cx="1103699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일평균 방문자</a:t>
                  </a: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(</a:t>
                  </a:r>
                  <a:r>
                    <a:rPr kumimoji="0" lang="ko-KR" altLang="en-US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최근</a:t>
                  </a: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1</a:t>
                  </a:r>
                  <a:r>
                    <a:rPr kumimoji="0" lang="ko-KR" altLang="en-US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년</a:t>
                  </a:r>
                  <a:r>
                    <a:rPr kumimoji="0" lang="en-US" altLang="ko-KR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)</a:t>
                  </a:r>
                  <a:endPara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endParaRPr>
                </a:p>
              </p:txBody>
            </p:sp>
            <p:sp>
              <p:nvSpPr>
                <p:cNvPr id="129" name="사각형: 둥근 모서리 128">
                  <a:extLst>
                    <a:ext uri="{FF2B5EF4-FFF2-40B4-BE49-F238E27FC236}">
                      <a16:creationId xmlns:a16="http://schemas.microsoft.com/office/drawing/2014/main" id="{A6A0AA12-4E22-4147-9193-A495DF2CFDDE}"/>
                    </a:ext>
                  </a:extLst>
                </p:cNvPr>
                <p:cNvSpPr/>
                <p:nvPr/>
              </p:nvSpPr>
              <p:spPr>
                <a:xfrm>
                  <a:off x="1919536" y="2069558"/>
                  <a:ext cx="1103699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전일 유입 수</a:t>
                  </a:r>
                </a:p>
              </p:txBody>
            </p:sp>
            <p:sp>
              <p:nvSpPr>
                <p:cNvPr id="130" name="사각형: 둥근 모서리 129">
                  <a:extLst>
                    <a:ext uri="{FF2B5EF4-FFF2-40B4-BE49-F238E27FC236}">
                      <a16:creationId xmlns:a16="http://schemas.microsoft.com/office/drawing/2014/main" id="{71BA3EEF-7934-48D8-A053-F764EDACE805}"/>
                    </a:ext>
                  </a:extLst>
                </p:cNvPr>
                <p:cNvSpPr/>
                <p:nvPr/>
              </p:nvSpPr>
              <p:spPr>
                <a:xfrm>
                  <a:off x="3098563" y="2069558"/>
                  <a:ext cx="1175252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금일 유입 수</a:t>
                  </a:r>
                </a:p>
              </p:txBody>
            </p:sp>
          </p:grpSp>
          <p:sp>
            <p:nvSpPr>
              <p:cNvPr id="57" name="직사각형 56">
                <a:extLst>
                  <a:ext uri="{FF2B5EF4-FFF2-40B4-BE49-F238E27FC236}">
                    <a16:creationId xmlns:a16="http://schemas.microsoft.com/office/drawing/2014/main" id="{1562902C-CFB4-4711-B23C-51957B96169D}"/>
                  </a:ext>
                </a:extLst>
              </p:cNvPr>
              <p:cNvSpPr/>
              <p:nvPr/>
            </p:nvSpPr>
            <p:spPr>
              <a:xfrm>
                <a:off x="751915" y="2301934"/>
                <a:ext cx="968288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일</a:t>
                </a:r>
                <a:r>
                  <a:rPr kumimoji="0" lang="ko-KR" altLang="en-US" sz="105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kumimoji="0" lang="en-US" altLang="ko-KR" sz="160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415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명</a:t>
                </a:r>
                <a:endParaRPr kumimoji="0" lang="ko-KR" altLang="en-US" sz="16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2" name="직사각형 131">
                <a:extLst>
                  <a:ext uri="{FF2B5EF4-FFF2-40B4-BE49-F238E27FC236}">
                    <a16:creationId xmlns:a16="http://schemas.microsoft.com/office/drawing/2014/main" id="{6D98B4FB-FCB8-4EC0-9DD8-C9C5C146C79E}"/>
                  </a:ext>
                </a:extLst>
              </p:cNvPr>
              <p:cNvSpPr/>
              <p:nvPr/>
            </p:nvSpPr>
            <p:spPr>
              <a:xfrm>
                <a:off x="1849773" y="2301934"/>
                <a:ext cx="968288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일</a:t>
                </a:r>
                <a:r>
                  <a:rPr kumimoji="0" lang="ko-KR" altLang="en-US" sz="105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kumimoji="0" lang="en-US" altLang="ko-KR" sz="160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432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명</a:t>
                </a:r>
                <a:endParaRPr kumimoji="0" lang="ko-KR" altLang="en-US" sz="16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33" name="직사각형 132">
                <a:extLst>
                  <a:ext uri="{FF2B5EF4-FFF2-40B4-BE49-F238E27FC236}">
                    <a16:creationId xmlns:a16="http://schemas.microsoft.com/office/drawing/2014/main" id="{A1DBDFDD-59CE-4A8F-BA34-6FB4F375EDB4}"/>
                  </a:ext>
                </a:extLst>
              </p:cNvPr>
              <p:cNvSpPr/>
              <p:nvPr/>
            </p:nvSpPr>
            <p:spPr>
              <a:xfrm>
                <a:off x="2846724" y="2301934"/>
                <a:ext cx="1302442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당일누적 </a:t>
                </a:r>
                <a:r>
                  <a:rPr kumimoji="0" lang="ko-KR" altLang="en-US" sz="105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kumimoji="0" lang="en-US" altLang="ko-KR" sz="160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456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명</a:t>
                </a:r>
                <a:endParaRPr kumimoji="0" lang="ko-KR" altLang="en-US" sz="16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grpSp>
          <p:nvGrpSpPr>
            <p:cNvPr id="134" name="그룹 133">
              <a:extLst>
                <a:ext uri="{FF2B5EF4-FFF2-40B4-BE49-F238E27FC236}">
                  <a16:creationId xmlns:a16="http://schemas.microsoft.com/office/drawing/2014/main" id="{156008B4-51EB-4660-B8E7-CC0D40AE38D8}"/>
                </a:ext>
              </a:extLst>
            </p:cNvPr>
            <p:cNvGrpSpPr/>
            <p:nvPr/>
          </p:nvGrpSpPr>
          <p:grpSpPr>
            <a:xfrm>
              <a:off x="4329765" y="1647923"/>
              <a:ext cx="3537885" cy="2141115"/>
              <a:chOff x="623391" y="1647923"/>
              <a:chExt cx="3537885" cy="2141115"/>
            </a:xfrm>
          </p:grpSpPr>
          <p:sp>
            <p:nvSpPr>
              <p:cNvPr id="135" name="사각형: 둥근 모서리 134">
                <a:extLst>
                  <a:ext uri="{FF2B5EF4-FFF2-40B4-BE49-F238E27FC236}">
                    <a16:creationId xmlns:a16="http://schemas.microsoft.com/office/drawing/2014/main" id="{95CE3ACD-C130-4E6E-A32E-765769166484}"/>
                  </a:ext>
                </a:extLst>
              </p:cNvPr>
              <p:cNvSpPr/>
              <p:nvPr/>
            </p:nvSpPr>
            <p:spPr>
              <a:xfrm>
                <a:off x="623391" y="1647923"/>
                <a:ext cx="3529295" cy="2141115"/>
              </a:xfrm>
              <a:prstGeom prst="roundRect">
                <a:avLst>
                  <a:gd name="adj" fmla="val 4497"/>
                </a:avLst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540000" bIns="360000" rtlCol="0" anchor="ctr" anchorCtr="0"/>
              <a:lstStyle/>
              <a:p>
                <a:pPr marL="0" marR="0" lvl="0" indent="0" algn="l" defTabSz="977172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3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marL="0" marR="0" lvl="0" indent="0" algn="l" defTabSz="977172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3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  <a:p>
                <a:pPr marL="0" marR="0" lvl="0" indent="0" algn="l" defTabSz="977172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3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</a:p>
            </p:txBody>
          </p:sp>
          <p:cxnSp>
            <p:nvCxnSpPr>
              <p:cNvPr id="136" name="직선 연결선 135">
                <a:extLst>
                  <a:ext uri="{FF2B5EF4-FFF2-40B4-BE49-F238E27FC236}">
                    <a16:creationId xmlns:a16="http://schemas.microsoft.com/office/drawing/2014/main" id="{9C538A5F-A1C0-4BBF-B4E1-16D46D8F10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5400" y="1982467"/>
                <a:ext cx="3351848" cy="0"/>
              </a:xfrm>
              <a:prstGeom prst="line">
                <a:avLst/>
              </a:prstGeom>
              <a:ln w="12700" cap="sq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137" name="직사각형 136">
                <a:extLst>
                  <a:ext uri="{FF2B5EF4-FFF2-40B4-BE49-F238E27FC236}">
                    <a16:creationId xmlns:a16="http://schemas.microsoft.com/office/drawing/2014/main" id="{C5304ABD-4D14-4ABB-8358-41585EF716AA}"/>
                  </a:ext>
                </a:extLst>
              </p:cNvPr>
              <p:cNvSpPr/>
              <p:nvPr/>
            </p:nvSpPr>
            <p:spPr>
              <a:xfrm>
                <a:off x="2361276" y="1750221"/>
                <a:ext cx="1800000" cy="17508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기준일시</a:t>
                </a:r>
                <a:r>
                  <a:rPr kumimoji="0" lang="en-US" altLang="ko-KR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: 2023-09-28 </a:t>
                </a: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목요일 </a:t>
                </a:r>
                <a:r>
                  <a:rPr kumimoji="0" lang="en-US" altLang="ko-KR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##:##</a:t>
                </a:r>
                <a:r>
                  <a:rPr kumimoji="0" lang="ko-KR" altLang="en-US" sz="800" b="0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</a:p>
            </p:txBody>
          </p:sp>
          <p:sp>
            <p:nvSpPr>
              <p:cNvPr id="138" name="직사각형 137">
                <a:extLst>
                  <a:ext uri="{FF2B5EF4-FFF2-40B4-BE49-F238E27FC236}">
                    <a16:creationId xmlns:a16="http://schemas.microsoft.com/office/drawing/2014/main" id="{64F155F2-D450-4BEB-9C59-AF1509A6E3D1}"/>
                  </a:ext>
                </a:extLst>
              </p:cNvPr>
              <p:cNvSpPr/>
              <p:nvPr/>
            </p:nvSpPr>
            <p:spPr>
              <a:xfrm>
                <a:off x="623392" y="1682818"/>
                <a:ext cx="1661849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세션 수 </a:t>
                </a:r>
                <a:r>
                  <a:rPr kumimoji="0" lang="en-US" altLang="ko-KR" sz="11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/ </a:t>
                </a:r>
                <a:r>
                  <a:rPr kumimoji="0" lang="ko-KR" altLang="en-US" sz="11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추이</a:t>
                </a:r>
              </a:p>
            </p:txBody>
          </p:sp>
          <p:grpSp>
            <p:nvGrpSpPr>
              <p:cNvPr id="139" name="그룹 138">
                <a:extLst>
                  <a:ext uri="{FF2B5EF4-FFF2-40B4-BE49-F238E27FC236}">
                    <a16:creationId xmlns:a16="http://schemas.microsoft.com/office/drawing/2014/main" id="{EB4E07C4-E6FC-47A3-B608-2110F962859F}"/>
                  </a:ext>
                </a:extLst>
              </p:cNvPr>
              <p:cNvGrpSpPr/>
              <p:nvPr/>
            </p:nvGrpSpPr>
            <p:grpSpPr>
              <a:xfrm>
                <a:off x="695400" y="2069558"/>
                <a:ext cx="3362249" cy="567354"/>
                <a:chOff x="743829" y="2069558"/>
                <a:chExt cx="3529986" cy="567354"/>
              </a:xfrm>
            </p:grpSpPr>
            <p:sp>
              <p:nvSpPr>
                <p:cNvPr id="143" name="사각형: 둥근 모서리 142">
                  <a:extLst>
                    <a:ext uri="{FF2B5EF4-FFF2-40B4-BE49-F238E27FC236}">
                      <a16:creationId xmlns:a16="http://schemas.microsoft.com/office/drawing/2014/main" id="{95B34A8D-B92B-4EDA-A366-431D05AD2AC0}"/>
                    </a:ext>
                  </a:extLst>
                </p:cNvPr>
                <p:cNvSpPr/>
                <p:nvPr/>
              </p:nvSpPr>
              <p:spPr>
                <a:xfrm>
                  <a:off x="743829" y="2069558"/>
                  <a:ext cx="1103699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일평균 세션</a:t>
                  </a:r>
                  <a:r>
                    <a:rPr kumimoji="0" lang="en-US" altLang="ko-KR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 (</a:t>
                  </a:r>
                  <a:r>
                    <a:rPr kumimoji="0" lang="ko-KR" alt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최근</a:t>
                  </a:r>
                  <a:r>
                    <a:rPr kumimoji="0" lang="en-US" altLang="ko-KR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1</a:t>
                  </a:r>
                  <a:r>
                    <a:rPr kumimoji="0" lang="ko-KR" alt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년</a:t>
                  </a:r>
                  <a:r>
                    <a:rPr kumimoji="0" lang="en-US" altLang="ko-KR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)</a:t>
                  </a:r>
                  <a:endParaRPr kumimoji="0" lang="ko-KR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endParaRPr>
                </a:p>
              </p:txBody>
            </p:sp>
            <p:sp>
              <p:nvSpPr>
                <p:cNvPr id="144" name="사각형: 둥근 모서리 143">
                  <a:extLst>
                    <a:ext uri="{FF2B5EF4-FFF2-40B4-BE49-F238E27FC236}">
                      <a16:creationId xmlns:a16="http://schemas.microsoft.com/office/drawing/2014/main" id="{29163717-0E05-4C93-98D0-3BEB3010B097}"/>
                    </a:ext>
                  </a:extLst>
                </p:cNvPr>
                <p:cNvSpPr/>
                <p:nvPr/>
              </p:nvSpPr>
              <p:spPr>
                <a:xfrm>
                  <a:off x="1919536" y="2069558"/>
                  <a:ext cx="1103699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전일 세션 수</a:t>
                  </a:r>
                </a:p>
              </p:txBody>
            </p:sp>
            <p:sp>
              <p:nvSpPr>
                <p:cNvPr id="145" name="사각형: 둥근 모서리 144">
                  <a:extLst>
                    <a:ext uri="{FF2B5EF4-FFF2-40B4-BE49-F238E27FC236}">
                      <a16:creationId xmlns:a16="http://schemas.microsoft.com/office/drawing/2014/main" id="{3A7F357E-BA05-43B7-9077-D16BE53E8C0C}"/>
                    </a:ext>
                  </a:extLst>
                </p:cNvPr>
                <p:cNvSpPr/>
                <p:nvPr/>
              </p:nvSpPr>
              <p:spPr>
                <a:xfrm>
                  <a:off x="3098563" y="2069558"/>
                  <a:ext cx="1175252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맑은 고딕"/>
                      <a:cs typeface="+mn-cs"/>
                    </a:rPr>
                    <a:t>금일 세션 수</a:t>
                  </a:r>
                </a:p>
              </p:txBody>
            </p:sp>
          </p:grpSp>
          <p:sp>
            <p:nvSpPr>
              <p:cNvPr id="140" name="직사각형 139">
                <a:extLst>
                  <a:ext uri="{FF2B5EF4-FFF2-40B4-BE49-F238E27FC236}">
                    <a16:creationId xmlns:a16="http://schemas.microsoft.com/office/drawing/2014/main" id="{78B934DF-0B63-46D9-8DC6-991C6DC36735}"/>
                  </a:ext>
                </a:extLst>
              </p:cNvPr>
              <p:cNvSpPr/>
              <p:nvPr/>
            </p:nvSpPr>
            <p:spPr>
              <a:xfrm>
                <a:off x="751915" y="2301934"/>
                <a:ext cx="968288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일</a:t>
                </a:r>
                <a:r>
                  <a:rPr kumimoji="0" lang="ko-KR" altLang="en-US" sz="105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kumimoji="0" lang="en-US" altLang="ko-KR" sz="160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75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세션</a:t>
                </a:r>
                <a:endParaRPr kumimoji="0" lang="ko-KR" altLang="en-US" sz="16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1" name="직사각형 140">
                <a:extLst>
                  <a:ext uri="{FF2B5EF4-FFF2-40B4-BE49-F238E27FC236}">
                    <a16:creationId xmlns:a16="http://schemas.microsoft.com/office/drawing/2014/main" id="{F1868F82-C73E-4C60-80D5-F12BBAF593F8}"/>
                  </a:ext>
                </a:extLst>
              </p:cNvPr>
              <p:cNvSpPr/>
              <p:nvPr/>
            </p:nvSpPr>
            <p:spPr>
              <a:xfrm>
                <a:off x="1849773" y="2301934"/>
                <a:ext cx="968288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일일</a:t>
                </a:r>
                <a:r>
                  <a:rPr kumimoji="0" lang="ko-KR" altLang="en-US" sz="105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kumimoji="0" lang="en-US" altLang="ko-KR" sz="160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32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세션</a:t>
                </a:r>
                <a:endParaRPr kumimoji="0" lang="ko-KR" altLang="en-US" sz="16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42" name="직사각형 141">
                <a:extLst>
                  <a:ext uri="{FF2B5EF4-FFF2-40B4-BE49-F238E27FC236}">
                    <a16:creationId xmlns:a16="http://schemas.microsoft.com/office/drawing/2014/main" id="{6BF40D26-A4AA-4516-9453-74D291AD86AC}"/>
                  </a:ext>
                </a:extLst>
              </p:cNvPr>
              <p:cNvSpPr/>
              <p:nvPr/>
            </p:nvSpPr>
            <p:spPr>
              <a:xfrm>
                <a:off x="2846724" y="2301934"/>
                <a:ext cx="1302442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당일누적 </a:t>
                </a:r>
                <a:r>
                  <a:rPr kumimoji="0" lang="ko-KR" altLang="en-US" sz="105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r>
                  <a:rPr kumimoji="0" lang="en-US" altLang="ko-KR" sz="1600" b="1" i="0" u="sng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656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세션</a:t>
                </a:r>
                <a:endParaRPr kumimoji="0" lang="ko-KR" altLang="en-US" sz="16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</p:grpSp>
      <p:sp>
        <p:nvSpPr>
          <p:cNvPr id="147" name="TextBox 146">
            <a:extLst>
              <a:ext uri="{FF2B5EF4-FFF2-40B4-BE49-F238E27FC236}">
                <a16:creationId xmlns:a16="http://schemas.microsoft.com/office/drawing/2014/main" id="{0C38CD9B-4CC9-4760-B50A-26C74730E7B0}"/>
              </a:ext>
            </a:extLst>
          </p:cNvPr>
          <p:cNvSpPr txBox="1"/>
          <p:nvPr/>
        </p:nvSpPr>
        <p:spPr>
          <a:xfrm>
            <a:off x="695400" y="2564904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최근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5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일 방문고객 추이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23.08.09 ~ 23.08.24)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47B07F98-CA31-4635-ADB8-D7A2E9C0CEB9}"/>
              </a:ext>
            </a:extLst>
          </p:cNvPr>
          <p:cNvCxnSpPr/>
          <p:nvPr/>
        </p:nvCxnSpPr>
        <p:spPr>
          <a:xfrm>
            <a:off x="766474" y="3365368"/>
            <a:ext cx="3668632" cy="0"/>
          </a:xfrm>
          <a:prstGeom prst="line">
            <a:avLst/>
          </a:prstGeom>
          <a:ln w="127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0FB5BCF6-34B5-4323-AD52-F6234D4F5377}"/>
              </a:ext>
            </a:extLst>
          </p:cNvPr>
          <p:cNvSpPr txBox="1"/>
          <p:nvPr/>
        </p:nvSpPr>
        <p:spPr>
          <a:xfrm>
            <a:off x="771184" y="3388217"/>
            <a:ext cx="366863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09   10   11   12   13   14   15   16   17   18   19   20   21   22   23   24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DBD66285-BDBD-47F2-8C15-A5832A8717A6}"/>
              </a:ext>
            </a:extLst>
          </p:cNvPr>
          <p:cNvSpPr/>
          <p:nvPr/>
        </p:nvSpPr>
        <p:spPr>
          <a:xfrm>
            <a:off x="867056" y="3044712"/>
            <a:ext cx="10800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35763F12-CA18-4A53-B5FA-298D9290C4E8}"/>
              </a:ext>
            </a:extLst>
          </p:cNvPr>
          <p:cNvSpPr/>
          <p:nvPr/>
        </p:nvSpPr>
        <p:spPr>
          <a:xfrm>
            <a:off x="1105638" y="2996954"/>
            <a:ext cx="108000" cy="3717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0" name="직사각형 149">
            <a:extLst>
              <a:ext uri="{FF2B5EF4-FFF2-40B4-BE49-F238E27FC236}">
                <a16:creationId xmlns:a16="http://schemas.microsoft.com/office/drawing/2014/main" id="{05015510-B055-4A69-8BA4-9CCF36C5EEAC}"/>
              </a:ext>
            </a:extLst>
          </p:cNvPr>
          <p:cNvSpPr/>
          <p:nvPr/>
        </p:nvSpPr>
        <p:spPr>
          <a:xfrm>
            <a:off x="1325294" y="2996954"/>
            <a:ext cx="108000" cy="3717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1518B559-4563-4173-8B81-BF3467931F30}"/>
              </a:ext>
            </a:extLst>
          </p:cNvPr>
          <p:cNvSpPr/>
          <p:nvPr/>
        </p:nvSpPr>
        <p:spPr>
          <a:xfrm>
            <a:off x="1554598" y="3044712"/>
            <a:ext cx="10800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CA66E86F-653F-4892-BE38-A62F962A9472}"/>
              </a:ext>
            </a:extLst>
          </p:cNvPr>
          <p:cNvSpPr/>
          <p:nvPr/>
        </p:nvSpPr>
        <p:spPr>
          <a:xfrm>
            <a:off x="1790451" y="2996954"/>
            <a:ext cx="108000" cy="3717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49DBAD0B-8B99-47EE-97E2-3DDB2D36D972}"/>
              </a:ext>
            </a:extLst>
          </p:cNvPr>
          <p:cNvSpPr/>
          <p:nvPr/>
        </p:nvSpPr>
        <p:spPr>
          <a:xfrm>
            <a:off x="2012836" y="2968761"/>
            <a:ext cx="108000" cy="39995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4" name="직사각형 153">
            <a:extLst>
              <a:ext uri="{FF2B5EF4-FFF2-40B4-BE49-F238E27FC236}">
                <a16:creationId xmlns:a16="http://schemas.microsoft.com/office/drawing/2014/main" id="{F9C7FEC6-6C05-4D0C-BDAB-106E3A396900}"/>
              </a:ext>
            </a:extLst>
          </p:cNvPr>
          <p:cNvSpPr/>
          <p:nvPr/>
        </p:nvSpPr>
        <p:spPr>
          <a:xfrm>
            <a:off x="2216672" y="2996954"/>
            <a:ext cx="108000" cy="3717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3D1D322F-6F66-4EEA-B18D-15B9A9C6E323}"/>
              </a:ext>
            </a:extLst>
          </p:cNvPr>
          <p:cNvSpPr/>
          <p:nvPr/>
        </p:nvSpPr>
        <p:spPr>
          <a:xfrm>
            <a:off x="2455254" y="3044712"/>
            <a:ext cx="10800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6" name="직사각형 155">
            <a:extLst>
              <a:ext uri="{FF2B5EF4-FFF2-40B4-BE49-F238E27FC236}">
                <a16:creationId xmlns:a16="http://schemas.microsoft.com/office/drawing/2014/main" id="{7C7E4CC3-C7F9-4EB6-A4BF-B5C47693BB86}"/>
              </a:ext>
            </a:extLst>
          </p:cNvPr>
          <p:cNvSpPr/>
          <p:nvPr/>
        </p:nvSpPr>
        <p:spPr>
          <a:xfrm>
            <a:off x="2674910" y="2852557"/>
            <a:ext cx="108000" cy="5161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190ED75B-64AD-4F30-9F85-85C42758BA48}"/>
              </a:ext>
            </a:extLst>
          </p:cNvPr>
          <p:cNvSpPr/>
          <p:nvPr/>
        </p:nvSpPr>
        <p:spPr>
          <a:xfrm>
            <a:off x="2884742" y="3044712"/>
            <a:ext cx="10800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8" name="직사각형 157">
            <a:extLst>
              <a:ext uri="{FF2B5EF4-FFF2-40B4-BE49-F238E27FC236}">
                <a16:creationId xmlns:a16="http://schemas.microsoft.com/office/drawing/2014/main" id="{0B953B64-B501-45B6-8486-999723174147}"/>
              </a:ext>
            </a:extLst>
          </p:cNvPr>
          <p:cNvSpPr/>
          <p:nvPr/>
        </p:nvSpPr>
        <p:spPr>
          <a:xfrm>
            <a:off x="3120595" y="2996954"/>
            <a:ext cx="108000" cy="3717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9" name="직사각형 158">
            <a:extLst>
              <a:ext uri="{FF2B5EF4-FFF2-40B4-BE49-F238E27FC236}">
                <a16:creationId xmlns:a16="http://schemas.microsoft.com/office/drawing/2014/main" id="{F0762F6A-45FD-4DF1-99FC-63C7EE1151ED}"/>
              </a:ext>
            </a:extLst>
          </p:cNvPr>
          <p:cNvSpPr/>
          <p:nvPr/>
        </p:nvSpPr>
        <p:spPr>
          <a:xfrm>
            <a:off x="3342980" y="2968761"/>
            <a:ext cx="108000" cy="39995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60" name="직사각형 159">
            <a:extLst>
              <a:ext uri="{FF2B5EF4-FFF2-40B4-BE49-F238E27FC236}">
                <a16:creationId xmlns:a16="http://schemas.microsoft.com/office/drawing/2014/main" id="{F47B2551-6290-4E6C-B978-0C5768963AD1}"/>
              </a:ext>
            </a:extLst>
          </p:cNvPr>
          <p:cNvSpPr/>
          <p:nvPr/>
        </p:nvSpPr>
        <p:spPr>
          <a:xfrm>
            <a:off x="3540522" y="3044712"/>
            <a:ext cx="10800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3D8E8BC6-786C-41A4-9E6C-B76C520C3F29}"/>
              </a:ext>
            </a:extLst>
          </p:cNvPr>
          <p:cNvSpPr/>
          <p:nvPr/>
        </p:nvSpPr>
        <p:spPr>
          <a:xfrm>
            <a:off x="3755752" y="2909715"/>
            <a:ext cx="108000" cy="4589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131AF4F6-7AB7-495A-8703-A6E1A71C9F0B}"/>
              </a:ext>
            </a:extLst>
          </p:cNvPr>
          <p:cNvSpPr/>
          <p:nvPr/>
        </p:nvSpPr>
        <p:spPr>
          <a:xfrm>
            <a:off x="3978137" y="2968761"/>
            <a:ext cx="108000" cy="39995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F0BE15F8-7663-4020-84A1-6E207F00E5A2}"/>
              </a:ext>
            </a:extLst>
          </p:cNvPr>
          <p:cNvSpPr/>
          <p:nvPr/>
        </p:nvSpPr>
        <p:spPr>
          <a:xfrm>
            <a:off x="4198170" y="2924945"/>
            <a:ext cx="108000" cy="4437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6FDCDB-911C-4A83-B586-4B075BB0E75E}"/>
              </a:ext>
            </a:extLst>
          </p:cNvPr>
          <p:cNvSpPr txBox="1"/>
          <p:nvPr/>
        </p:nvSpPr>
        <p:spPr>
          <a:xfrm>
            <a:off x="2805770" y="2795736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575</a:t>
            </a: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CE43EDB4-2035-40D2-BA03-19F93D5E9794}"/>
              </a:ext>
            </a:extLst>
          </p:cNvPr>
          <p:cNvSpPr txBox="1"/>
          <p:nvPr/>
        </p:nvSpPr>
        <p:spPr>
          <a:xfrm>
            <a:off x="4062842" y="2795736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456</a:t>
            </a:r>
            <a:endParaRPr kumimoji="0" lang="ko-KR" altLang="en-US" sz="700" b="1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2A0244E5-BFD2-49EF-8C9C-101A38A3C77F}"/>
              </a:ext>
            </a:extLst>
          </p:cNvPr>
          <p:cNvSpPr txBox="1"/>
          <p:nvPr/>
        </p:nvSpPr>
        <p:spPr>
          <a:xfrm>
            <a:off x="4797416" y="2564904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최근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5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일 세션 추이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23.08.09 ~ 23.08.24)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cxnSp>
        <p:nvCxnSpPr>
          <p:cNvPr id="180" name="직선 연결선 179">
            <a:extLst>
              <a:ext uri="{FF2B5EF4-FFF2-40B4-BE49-F238E27FC236}">
                <a16:creationId xmlns:a16="http://schemas.microsoft.com/office/drawing/2014/main" id="{F65D88BD-B2C6-45BA-8225-7649D1D7B9E9}"/>
              </a:ext>
            </a:extLst>
          </p:cNvPr>
          <p:cNvCxnSpPr/>
          <p:nvPr/>
        </p:nvCxnSpPr>
        <p:spPr>
          <a:xfrm>
            <a:off x="4868490" y="3365368"/>
            <a:ext cx="3668632" cy="0"/>
          </a:xfrm>
          <a:prstGeom prst="line">
            <a:avLst/>
          </a:prstGeom>
          <a:ln w="127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81" name="TextBox 180">
            <a:extLst>
              <a:ext uri="{FF2B5EF4-FFF2-40B4-BE49-F238E27FC236}">
                <a16:creationId xmlns:a16="http://schemas.microsoft.com/office/drawing/2014/main" id="{516F9459-52DB-455D-A5A6-A9E3479FBA5B}"/>
              </a:ext>
            </a:extLst>
          </p:cNvPr>
          <p:cNvSpPr txBox="1"/>
          <p:nvPr/>
        </p:nvSpPr>
        <p:spPr>
          <a:xfrm>
            <a:off x="4873200" y="3388217"/>
            <a:ext cx="366863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09   10   11   12   13   14   15   16   17   18   19   20   21   22   23   24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82" name="직사각형 181">
            <a:extLst>
              <a:ext uri="{FF2B5EF4-FFF2-40B4-BE49-F238E27FC236}">
                <a16:creationId xmlns:a16="http://schemas.microsoft.com/office/drawing/2014/main" id="{855634B9-B0EF-4087-92F7-F0FD27E40551}"/>
              </a:ext>
            </a:extLst>
          </p:cNvPr>
          <p:cNvSpPr/>
          <p:nvPr/>
        </p:nvSpPr>
        <p:spPr>
          <a:xfrm>
            <a:off x="4969072" y="3044712"/>
            <a:ext cx="10800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83" name="직사각형 182">
            <a:extLst>
              <a:ext uri="{FF2B5EF4-FFF2-40B4-BE49-F238E27FC236}">
                <a16:creationId xmlns:a16="http://schemas.microsoft.com/office/drawing/2014/main" id="{F42C58BE-5C66-4120-9A1D-3CBD43EA98C6}"/>
              </a:ext>
            </a:extLst>
          </p:cNvPr>
          <p:cNvSpPr/>
          <p:nvPr/>
        </p:nvSpPr>
        <p:spPr>
          <a:xfrm>
            <a:off x="5207654" y="2996954"/>
            <a:ext cx="108000" cy="3717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84" name="직사각형 183">
            <a:extLst>
              <a:ext uri="{FF2B5EF4-FFF2-40B4-BE49-F238E27FC236}">
                <a16:creationId xmlns:a16="http://schemas.microsoft.com/office/drawing/2014/main" id="{ABA02074-9370-450A-91BC-531FF993A577}"/>
              </a:ext>
            </a:extLst>
          </p:cNvPr>
          <p:cNvSpPr/>
          <p:nvPr/>
        </p:nvSpPr>
        <p:spPr>
          <a:xfrm>
            <a:off x="5427310" y="2996954"/>
            <a:ext cx="108000" cy="3717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85" name="직사각형 184">
            <a:extLst>
              <a:ext uri="{FF2B5EF4-FFF2-40B4-BE49-F238E27FC236}">
                <a16:creationId xmlns:a16="http://schemas.microsoft.com/office/drawing/2014/main" id="{4DD67338-3D0C-4289-B26E-C27B9E9056A4}"/>
              </a:ext>
            </a:extLst>
          </p:cNvPr>
          <p:cNvSpPr/>
          <p:nvPr/>
        </p:nvSpPr>
        <p:spPr>
          <a:xfrm>
            <a:off x="5656614" y="3044712"/>
            <a:ext cx="10800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86" name="직사각형 185">
            <a:extLst>
              <a:ext uri="{FF2B5EF4-FFF2-40B4-BE49-F238E27FC236}">
                <a16:creationId xmlns:a16="http://schemas.microsoft.com/office/drawing/2014/main" id="{C464A277-578C-4170-8053-CADEAFF452FB}"/>
              </a:ext>
            </a:extLst>
          </p:cNvPr>
          <p:cNvSpPr/>
          <p:nvPr/>
        </p:nvSpPr>
        <p:spPr>
          <a:xfrm>
            <a:off x="5892467" y="2996954"/>
            <a:ext cx="108000" cy="3717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87" name="직사각형 186">
            <a:extLst>
              <a:ext uri="{FF2B5EF4-FFF2-40B4-BE49-F238E27FC236}">
                <a16:creationId xmlns:a16="http://schemas.microsoft.com/office/drawing/2014/main" id="{AC637E82-877D-43FA-812D-9BE122D75C12}"/>
              </a:ext>
            </a:extLst>
          </p:cNvPr>
          <p:cNvSpPr/>
          <p:nvPr/>
        </p:nvSpPr>
        <p:spPr>
          <a:xfrm>
            <a:off x="6114852" y="2968761"/>
            <a:ext cx="108000" cy="39995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88" name="직사각형 187">
            <a:extLst>
              <a:ext uri="{FF2B5EF4-FFF2-40B4-BE49-F238E27FC236}">
                <a16:creationId xmlns:a16="http://schemas.microsoft.com/office/drawing/2014/main" id="{45959516-0DFC-44DB-AB76-C4D89A74E006}"/>
              </a:ext>
            </a:extLst>
          </p:cNvPr>
          <p:cNvSpPr/>
          <p:nvPr/>
        </p:nvSpPr>
        <p:spPr>
          <a:xfrm>
            <a:off x="6318688" y="2996954"/>
            <a:ext cx="108000" cy="3717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89" name="직사각형 188">
            <a:extLst>
              <a:ext uri="{FF2B5EF4-FFF2-40B4-BE49-F238E27FC236}">
                <a16:creationId xmlns:a16="http://schemas.microsoft.com/office/drawing/2014/main" id="{8A9B3A72-32F2-4509-959D-D4F4FFE95733}"/>
              </a:ext>
            </a:extLst>
          </p:cNvPr>
          <p:cNvSpPr/>
          <p:nvPr/>
        </p:nvSpPr>
        <p:spPr>
          <a:xfrm>
            <a:off x="6557270" y="3044712"/>
            <a:ext cx="10800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0" name="직사각형 189">
            <a:extLst>
              <a:ext uri="{FF2B5EF4-FFF2-40B4-BE49-F238E27FC236}">
                <a16:creationId xmlns:a16="http://schemas.microsoft.com/office/drawing/2014/main" id="{AC52E7A3-1B95-485D-9CC3-EC0B40FC25A3}"/>
              </a:ext>
            </a:extLst>
          </p:cNvPr>
          <p:cNvSpPr/>
          <p:nvPr/>
        </p:nvSpPr>
        <p:spPr>
          <a:xfrm>
            <a:off x="6776926" y="2852557"/>
            <a:ext cx="108000" cy="5161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1" name="직사각형 190">
            <a:extLst>
              <a:ext uri="{FF2B5EF4-FFF2-40B4-BE49-F238E27FC236}">
                <a16:creationId xmlns:a16="http://schemas.microsoft.com/office/drawing/2014/main" id="{63513FE6-368C-4CDF-B8F6-C860F3E32074}"/>
              </a:ext>
            </a:extLst>
          </p:cNvPr>
          <p:cNvSpPr/>
          <p:nvPr/>
        </p:nvSpPr>
        <p:spPr>
          <a:xfrm>
            <a:off x="6986758" y="3044712"/>
            <a:ext cx="10800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2" name="직사각형 191">
            <a:extLst>
              <a:ext uri="{FF2B5EF4-FFF2-40B4-BE49-F238E27FC236}">
                <a16:creationId xmlns:a16="http://schemas.microsoft.com/office/drawing/2014/main" id="{701E17E7-5979-43A9-9264-0D413D695795}"/>
              </a:ext>
            </a:extLst>
          </p:cNvPr>
          <p:cNvSpPr/>
          <p:nvPr/>
        </p:nvSpPr>
        <p:spPr>
          <a:xfrm>
            <a:off x="7222611" y="2996954"/>
            <a:ext cx="108000" cy="37175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3" name="직사각형 192">
            <a:extLst>
              <a:ext uri="{FF2B5EF4-FFF2-40B4-BE49-F238E27FC236}">
                <a16:creationId xmlns:a16="http://schemas.microsoft.com/office/drawing/2014/main" id="{2B2AD730-6B6D-453B-A777-7A5564EA1CBF}"/>
              </a:ext>
            </a:extLst>
          </p:cNvPr>
          <p:cNvSpPr/>
          <p:nvPr/>
        </p:nvSpPr>
        <p:spPr>
          <a:xfrm>
            <a:off x="7444996" y="2968761"/>
            <a:ext cx="108000" cy="39995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4" name="직사각형 193">
            <a:extLst>
              <a:ext uri="{FF2B5EF4-FFF2-40B4-BE49-F238E27FC236}">
                <a16:creationId xmlns:a16="http://schemas.microsoft.com/office/drawing/2014/main" id="{D92E8F2B-D8D7-4D2A-964C-B64CEEEF9930}"/>
              </a:ext>
            </a:extLst>
          </p:cNvPr>
          <p:cNvSpPr/>
          <p:nvPr/>
        </p:nvSpPr>
        <p:spPr>
          <a:xfrm>
            <a:off x="7642538" y="3044712"/>
            <a:ext cx="108000" cy="32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5" name="직사각형 194">
            <a:extLst>
              <a:ext uri="{FF2B5EF4-FFF2-40B4-BE49-F238E27FC236}">
                <a16:creationId xmlns:a16="http://schemas.microsoft.com/office/drawing/2014/main" id="{62182D04-00B3-4BC8-9DC3-418F035F4DC6}"/>
              </a:ext>
            </a:extLst>
          </p:cNvPr>
          <p:cNvSpPr/>
          <p:nvPr/>
        </p:nvSpPr>
        <p:spPr>
          <a:xfrm>
            <a:off x="7857768" y="2909715"/>
            <a:ext cx="108000" cy="45899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6" name="직사각형 195">
            <a:extLst>
              <a:ext uri="{FF2B5EF4-FFF2-40B4-BE49-F238E27FC236}">
                <a16:creationId xmlns:a16="http://schemas.microsoft.com/office/drawing/2014/main" id="{13E8F2CC-8DA8-48A7-913B-466EB05CAC00}"/>
              </a:ext>
            </a:extLst>
          </p:cNvPr>
          <p:cNvSpPr/>
          <p:nvPr/>
        </p:nvSpPr>
        <p:spPr>
          <a:xfrm>
            <a:off x="8080153" y="2968761"/>
            <a:ext cx="108000" cy="39995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7" name="직사각형 196">
            <a:extLst>
              <a:ext uri="{FF2B5EF4-FFF2-40B4-BE49-F238E27FC236}">
                <a16:creationId xmlns:a16="http://schemas.microsoft.com/office/drawing/2014/main" id="{308D59F7-A6A2-4951-885F-0A99BCB2B924}"/>
              </a:ext>
            </a:extLst>
          </p:cNvPr>
          <p:cNvSpPr/>
          <p:nvPr/>
        </p:nvSpPr>
        <p:spPr>
          <a:xfrm>
            <a:off x="8300186" y="2924945"/>
            <a:ext cx="108000" cy="4437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3FAF1EC7-5BF9-4E93-B461-CF33CB37B773}"/>
              </a:ext>
            </a:extLst>
          </p:cNvPr>
          <p:cNvSpPr txBox="1"/>
          <p:nvPr/>
        </p:nvSpPr>
        <p:spPr>
          <a:xfrm>
            <a:off x="6907786" y="2795736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675</a:t>
            </a: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2EBC62DF-4D89-45D4-8A1B-1A8B38C8380F}"/>
              </a:ext>
            </a:extLst>
          </p:cNvPr>
          <p:cNvSpPr txBox="1"/>
          <p:nvPr/>
        </p:nvSpPr>
        <p:spPr>
          <a:xfrm>
            <a:off x="8164858" y="2795736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656</a:t>
            </a:r>
            <a:endParaRPr kumimoji="0" lang="ko-KR" altLang="en-US" sz="700" b="1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14" name="사각형: 둥근 모서리 213">
            <a:extLst>
              <a:ext uri="{FF2B5EF4-FFF2-40B4-BE49-F238E27FC236}">
                <a16:creationId xmlns:a16="http://schemas.microsoft.com/office/drawing/2014/main" id="{886506A7-8201-42F1-8F28-50F656685123}"/>
              </a:ext>
            </a:extLst>
          </p:cNvPr>
          <p:cNvSpPr/>
          <p:nvPr/>
        </p:nvSpPr>
        <p:spPr>
          <a:xfrm>
            <a:off x="623391" y="3895839"/>
            <a:ext cx="3929098" cy="2141115"/>
          </a:xfrm>
          <a:prstGeom prst="roundRect">
            <a:avLst>
              <a:gd name="adj" fmla="val 449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bIns="360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215" name="직선 연결선 214">
            <a:extLst>
              <a:ext uri="{FF2B5EF4-FFF2-40B4-BE49-F238E27FC236}">
                <a16:creationId xmlns:a16="http://schemas.microsoft.com/office/drawing/2014/main" id="{D5762C91-3A93-487D-B92B-99303AA65225}"/>
              </a:ext>
            </a:extLst>
          </p:cNvPr>
          <p:cNvCxnSpPr>
            <a:cxnSpLocks/>
          </p:cNvCxnSpPr>
          <p:nvPr/>
        </p:nvCxnSpPr>
        <p:spPr>
          <a:xfrm>
            <a:off x="703557" y="4230383"/>
            <a:ext cx="3731549" cy="0"/>
          </a:xfrm>
          <a:prstGeom prst="line">
            <a:avLst/>
          </a:prstGeom>
          <a:ln w="1270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16" name="직사각형 215">
            <a:extLst>
              <a:ext uri="{FF2B5EF4-FFF2-40B4-BE49-F238E27FC236}">
                <a16:creationId xmlns:a16="http://schemas.microsoft.com/office/drawing/2014/main" id="{99778AB9-79FD-4DC4-A8B0-40859D93F0DB}"/>
              </a:ext>
            </a:extLst>
          </p:cNvPr>
          <p:cNvSpPr/>
          <p:nvPr/>
        </p:nvSpPr>
        <p:spPr>
          <a:xfrm>
            <a:off x="2558146" y="3998137"/>
            <a:ext cx="2003906" cy="17508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일시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8-24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요일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#:##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217" name="직사각형 216">
            <a:extLst>
              <a:ext uri="{FF2B5EF4-FFF2-40B4-BE49-F238E27FC236}">
                <a16:creationId xmlns:a16="http://schemas.microsoft.com/office/drawing/2014/main" id="{FC66C1AD-7116-4D81-A5A6-8571F895CE44}"/>
              </a:ext>
            </a:extLst>
          </p:cNvPr>
          <p:cNvSpPr/>
          <p:nvPr/>
        </p:nvSpPr>
        <p:spPr>
          <a:xfrm>
            <a:off x="623392" y="3930734"/>
            <a:ext cx="1850105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탈율</a:t>
            </a:r>
            <a:endParaRPr kumimoji="0" lang="ko-KR" altLang="en-US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18" name="그룹 217">
            <a:extLst>
              <a:ext uri="{FF2B5EF4-FFF2-40B4-BE49-F238E27FC236}">
                <a16:creationId xmlns:a16="http://schemas.microsoft.com/office/drawing/2014/main" id="{D8375E13-9A6D-4D17-B359-017EB089EBDD}"/>
              </a:ext>
            </a:extLst>
          </p:cNvPr>
          <p:cNvGrpSpPr/>
          <p:nvPr/>
        </p:nvGrpSpPr>
        <p:grpSpPr>
          <a:xfrm>
            <a:off x="703557" y="4317474"/>
            <a:ext cx="3743129" cy="567354"/>
            <a:chOff x="743829" y="2069558"/>
            <a:chExt cx="3529986" cy="567354"/>
          </a:xfrm>
        </p:grpSpPr>
        <p:sp>
          <p:nvSpPr>
            <p:cNvPr id="222" name="사각형: 둥근 모서리 221">
              <a:extLst>
                <a:ext uri="{FF2B5EF4-FFF2-40B4-BE49-F238E27FC236}">
                  <a16:creationId xmlns:a16="http://schemas.microsoft.com/office/drawing/2014/main" id="{C3CB87E4-BD89-4835-B42B-E280F3D7DAE2}"/>
                </a:ext>
              </a:extLst>
            </p:cNvPr>
            <p:cNvSpPr/>
            <p:nvPr/>
          </p:nvSpPr>
          <p:spPr>
            <a:xfrm>
              <a:off x="743829" y="2069558"/>
              <a:ext cx="1103699" cy="567354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평균 </a:t>
              </a:r>
              <a:r>
                <a:rPr kumimoji="0" lang="ko-KR" alt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이탈율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(</a:t>
              </a:r>
              <a:r>
                <a:rPr kumimoji="0" lang="ko-KR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최근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1</a:t>
              </a:r>
              <a:r>
                <a:rPr kumimoji="0" lang="ko-KR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년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)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23" name="사각형: 둥근 모서리 222">
              <a:extLst>
                <a:ext uri="{FF2B5EF4-FFF2-40B4-BE49-F238E27FC236}">
                  <a16:creationId xmlns:a16="http://schemas.microsoft.com/office/drawing/2014/main" id="{F4D52924-9FDE-43CA-AAA2-79AEBBEA3601}"/>
                </a:ext>
              </a:extLst>
            </p:cNvPr>
            <p:cNvSpPr/>
            <p:nvPr/>
          </p:nvSpPr>
          <p:spPr>
            <a:xfrm>
              <a:off x="1919536" y="2069558"/>
              <a:ext cx="1103699" cy="567354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전일 </a:t>
              </a:r>
              <a:r>
                <a:rPr kumimoji="0" lang="ko-KR" alt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이탈율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24" name="사각형: 둥근 모서리 223">
              <a:extLst>
                <a:ext uri="{FF2B5EF4-FFF2-40B4-BE49-F238E27FC236}">
                  <a16:creationId xmlns:a16="http://schemas.microsoft.com/office/drawing/2014/main" id="{E7806806-9238-4562-BADD-381E82D13433}"/>
                </a:ext>
              </a:extLst>
            </p:cNvPr>
            <p:cNvSpPr/>
            <p:nvPr/>
          </p:nvSpPr>
          <p:spPr>
            <a:xfrm>
              <a:off x="3098563" y="2069558"/>
              <a:ext cx="1175252" cy="567354"/>
            </a:xfrm>
            <a:prstGeom prst="roundRect">
              <a:avLst>
                <a:gd name="adj" fmla="val 8796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금일 </a:t>
              </a:r>
              <a:r>
                <a:rPr kumimoji="0" lang="ko-KR" alt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이탈율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219" name="직사각형 218">
            <a:extLst>
              <a:ext uri="{FF2B5EF4-FFF2-40B4-BE49-F238E27FC236}">
                <a16:creationId xmlns:a16="http://schemas.microsoft.com/office/drawing/2014/main" id="{7EA389C2-E015-4AEC-86EE-0482AA413CBC}"/>
              </a:ext>
            </a:extLst>
          </p:cNvPr>
          <p:cNvSpPr/>
          <p:nvPr/>
        </p:nvSpPr>
        <p:spPr>
          <a:xfrm>
            <a:off x="766474" y="4549850"/>
            <a:ext cx="1077977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5.2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%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0" name="직사각형 219">
            <a:extLst>
              <a:ext uri="{FF2B5EF4-FFF2-40B4-BE49-F238E27FC236}">
                <a16:creationId xmlns:a16="http://schemas.microsoft.com/office/drawing/2014/main" id="{A1B2759D-402D-4F18-9D9D-13F66FE4EE87}"/>
              </a:ext>
            </a:extLst>
          </p:cNvPr>
          <p:cNvSpPr/>
          <p:nvPr/>
        </p:nvSpPr>
        <p:spPr>
          <a:xfrm>
            <a:off x="1988699" y="4549850"/>
            <a:ext cx="1077977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2.8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%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1" name="직사각형 220">
            <a:extLst>
              <a:ext uri="{FF2B5EF4-FFF2-40B4-BE49-F238E27FC236}">
                <a16:creationId xmlns:a16="http://schemas.microsoft.com/office/drawing/2014/main" id="{372E3300-505E-47B0-BE00-A26AB83C9F0E}"/>
              </a:ext>
            </a:extLst>
          </p:cNvPr>
          <p:cNvSpPr/>
          <p:nvPr/>
        </p:nvSpPr>
        <p:spPr>
          <a:xfrm>
            <a:off x="3098586" y="4549850"/>
            <a:ext cx="1449984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1.3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%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3" name="사각형: 둥근 모서리 202">
            <a:extLst>
              <a:ext uri="{FF2B5EF4-FFF2-40B4-BE49-F238E27FC236}">
                <a16:creationId xmlns:a16="http://schemas.microsoft.com/office/drawing/2014/main" id="{4AD9DEF4-B7C9-4A64-AF23-743FE663CBD1}"/>
              </a:ext>
            </a:extLst>
          </p:cNvPr>
          <p:cNvSpPr/>
          <p:nvPr/>
        </p:nvSpPr>
        <p:spPr>
          <a:xfrm>
            <a:off x="4749627" y="3895839"/>
            <a:ext cx="3929098" cy="2141115"/>
          </a:xfrm>
          <a:prstGeom prst="roundRect">
            <a:avLst>
              <a:gd name="adj" fmla="val 449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bIns="360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cxnSp>
        <p:nvCxnSpPr>
          <p:cNvPr id="204" name="직선 연결선 203">
            <a:extLst>
              <a:ext uri="{FF2B5EF4-FFF2-40B4-BE49-F238E27FC236}">
                <a16:creationId xmlns:a16="http://schemas.microsoft.com/office/drawing/2014/main" id="{7BE6F752-1AB4-48B5-839F-FC3172CE8498}"/>
              </a:ext>
            </a:extLst>
          </p:cNvPr>
          <p:cNvCxnSpPr>
            <a:cxnSpLocks/>
          </p:cNvCxnSpPr>
          <p:nvPr/>
        </p:nvCxnSpPr>
        <p:spPr>
          <a:xfrm>
            <a:off x="4829793" y="4230383"/>
            <a:ext cx="3731549" cy="0"/>
          </a:xfrm>
          <a:prstGeom prst="line">
            <a:avLst/>
          </a:prstGeom>
          <a:ln w="1270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05" name="직사각형 204">
            <a:extLst>
              <a:ext uri="{FF2B5EF4-FFF2-40B4-BE49-F238E27FC236}">
                <a16:creationId xmlns:a16="http://schemas.microsoft.com/office/drawing/2014/main" id="{C795D8E5-EEFD-44CA-A97F-CF29E15C52F3}"/>
              </a:ext>
            </a:extLst>
          </p:cNvPr>
          <p:cNvSpPr/>
          <p:nvPr/>
        </p:nvSpPr>
        <p:spPr>
          <a:xfrm>
            <a:off x="6684382" y="3998137"/>
            <a:ext cx="2003906" cy="17508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일시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9-28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요일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#:##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206" name="직사각형 205">
            <a:extLst>
              <a:ext uri="{FF2B5EF4-FFF2-40B4-BE49-F238E27FC236}">
                <a16:creationId xmlns:a16="http://schemas.microsoft.com/office/drawing/2014/main" id="{066A1726-F9F4-41CA-87EB-978BF5C57390}"/>
              </a:ext>
            </a:extLst>
          </p:cNvPr>
          <p:cNvSpPr/>
          <p:nvPr/>
        </p:nvSpPr>
        <p:spPr>
          <a:xfrm>
            <a:off x="4749628" y="3930734"/>
            <a:ext cx="1850105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션 당 페이지 수</a:t>
            </a:r>
          </a:p>
        </p:txBody>
      </p:sp>
      <p:grpSp>
        <p:nvGrpSpPr>
          <p:cNvPr id="207" name="그룹 206">
            <a:extLst>
              <a:ext uri="{FF2B5EF4-FFF2-40B4-BE49-F238E27FC236}">
                <a16:creationId xmlns:a16="http://schemas.microsoft.com/office/drawing/2014/main" id="{8872705B-E9A1-44FD-89D6-2204BBF44337}"/>
              </a:ext>
            </a:extLst>
          </p:cNvPr>
          <p:cNvGrpSpPr/>
          <p:nvPr/>
        </p:nvGrpSpPr>
        <p:grpSpPr>
          <a:xfrm>
            <a:off x="4829793" y="4317474"/>
            <a:ext cx="3743129" cy="567354"/>
            <a:chOff x="743829" y="2069558"/>
            <a:chExt cx="3529986" cy="567354"/>
          </a:xfrm>
        </p:grpSpPr>
        <p:sp>
          <p:nvSpPr>
            <p:cNvPr id="211" name="사각형: 둥근 모서리 210">
              <a:extLst>
                <a:ext uri="{FF2B5EF4-FFF2-40B4-BE49-F238E27FC236}">
                  <a16:creationId xmlns:a16="http://schemas.microsoft.com/office/drawing/2014/main" id="{78A1981A-5AA4-4CDA-B1CA-F9131C8C6922}"/>
                </a:ext>
              </a:extLst>
            </p:cNvPr>
            <p:cNvSpPr/>
            <p:nvPr/>
          </p:nvSpPr>
          <p:spPr>
            <a:xfrm>
              <a:off x="743829" y="2069558"/>
              <a:ext cx="1103699" cy="567354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평균 수 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(</a:t>
              </a:r>
              <a:r>
                <a:rPr kumimoji="0" lang="ko-KR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최근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1</a:t>
              </a:r>
              <a:r>
                <a:rPr kumimoji="0" lang="ko-KR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년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)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12" name="사각형: 둥근 모서리 211">
              <a:extLst>
                <a:ext uri="{FF2B5EF4-FFF2-40B4-BE49-F238E27FC236}">
                  <a16:creationId xmlns:a16="http://schemas.microsoft.com/office/drawing/2014/main" id="{54A9B241-3A4C-461A-B7E8-D54665AED698}"/>
                </a:ext>
              </a:extLst>
            </p:cNvPr>
            <p:cNvSpPr/>
            <p:nvPr/>
          </p:nvSpPr>
          <p:spPr>
            <a:xfrm>
              <a:off x="1919536" y="2069558"/>
              <a:ext cx="1103699" cy="567354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전일 페이지 수</a:t>
              </a:r>
            </a:p>
          </p:txBody>
        </p:sp>
        <p:sp>
          <p:nvSpPr>
            <p:cNvPr id="213" name="사각형: 둥근 모서리 212">
              <a:extLst>
                <a:ext uri="{FF2B5EF4-FFF2-40B4-BE49-F238E27FC236}">
                  <a16:creationId xmlns:a16="http://schemas.microsoft.com/office/drawing/2014/main" id="{3346C5DD-7F54-45EE-AACB-DA992A4ECFBF}"/>
                </a:ext>
              </a:extLst>
            </p:cNvPr>
            <p:cNvSpPr/>
            <p:nvPr/>
          </p:nvSpPr>
          <p:spPr>
            <a:xfrm>
              <a:off x="3098563" y="2069558"/>
              <a:ext cx="1175252" cy="567354"/>
            </a:xfrm>
            <a:prstGeom prst="roundRect">
              <a:avLst>
                <a:gd name="adj" fmla="val 8796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금일 페이지 수</a:t>
              </a:r>
            </a:p>
          </p:txBody>
        </p:sp>
      </p:grpSp>
      <p:sp>
        <p:nvSpPr>
          <p:cNvPr id="208" name="직사각형 207">
            <a:extLst>
              <a:ext uri="{FF2B5EF4-FFF2-40B4-BE49-F238E27FC236}">
                <a16:creationId xmlns:a16="http://schemas.microsoft.com/office/drawing/2014/main" id="{6E34F22F-AD31-44B5-A276-4DA8D7B9F745}"/>
              </a:ext>
            </a:extLst>
          </p:cNvPr>
          <p:cNvSpPr/>
          <p:nvPr/>
        </p:nvSpPr>
        <p:spPr>
          <a:xfrm>
            <a:off x="4892710" y="4549850"/>
            <a:ext cx="1077977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.2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페이지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9" name="직사각형 208">
            <a:extLst>
              <a:ext uri="{FF2B5EF4-FFF2-40B4-BE49-F238E27FC236}">
                <a16:creationId xmlns:a16="http://schemas.microsoft.com/office/drawing/2014/main" id="{E816957A-852E-42F0-867B-EB70EA7D1E17}"/>
              </a:ext>
            </a:extLst>
          </p:cNvPr>
          <p:cNvSpPr/>
          <p:nvPr/>
        </p:nvSpPr>
        <p:spPr>
          <a:xfrm>
            <a:off x="6114935" y="4549850"/>
            <a:ext cx="1077977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.4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페이지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0" name="직사각형 209">
            <a:extLst>
              <a:ext uri="{FF2B5EF4-FFF2-40B4-BE49-F238E27FC236}">
                <a16:creationId xmlns:a16="http://schemas.microsoft.com/office/drawing/2014/main" id="{161EE2F3-60AD-4F89-A154-401DB7B474FB}"/>
              </a:ext>
            </a:extLst>
          </p:cNvPr>
          <p:cNvSpPr/>
          <p:nvPr/>
        </p:nvSpPr>
        <p:spPr>
          <a:xfrm>
            <a:off x="7224822" y="4549850"/>
            <a:ext cx="1449984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.1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페이지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87AC9FF8-E176-46A0-9F99-1FB3DE1337AA}"/>
              </a:ext>
            </a:extLst>
          </p:cNvPr>
          <p:cNvSpPr txBox="1"/>
          <p:nvPr/>
        </p:nvSpPr>
        <p:spPr>
          <a:xfrm>
            <a:off x="695400" y="4916642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최근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5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일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이탈율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추이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23.08.09 ~ 23.08.24)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56DF5F67-CAA7-4C00-B10C-BDF19335B24E}"/>
              </a:ext>
            </a:extLst>
          </p:cNvPr>
          <p:cNvSpPr txBox="1"/>
          <p:nvPr/>
        </p:nvSpPr>
        <p:spPr>
          <a:xfrm>
            <a:off x="771184" y="5739955"/>
            <a:ext cx="366863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09   10   11   12   13   14   15   16   17   18   19   20   21   22   23   24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20D87EF1-5126-41A2-81AE-86D7C5DD8255}"/>
              </a:ext>
            </a:extLst>
          </p:cNvPr>
          <p:cNvGrpSpPr/>
          <p:nvPr/>
        </p:nvGrpSpPr>
        <p:grpSpPr>
          <a:xfrm>
            <a:off x="766474" y="5545361"/>
            <a:ext cx="3668632" cy="175089"/>
            <a:chOff x="766474" y="5204295"/>
            <a:chExt cx="3668632" cy="516156"/>
          </a:xfrm>
        </p:grpSpPr>
        <p:cxnSp>
          <p:nvCxnSpPr>
            <p:cNvPr id="226" name="직선 연결선 225">
              <a:extLst>
                <a:ext uri="{FF2B5EF4-FFF2-40B4-BE49-F238E27FC236}">
                  <a16:creationId xmlns:a16="http://schemas.microsoft.com/office/drawing/2014/main" id="{57EB1A04-82F3-4EAA-BA7F-B281DB3D6729}"/>
                </a:ext>
              </a:extLst>
            </p:cNvPr>
            <p:cNvCxnSpPr/>
            <p:nvPr/>
          </p:nvCxnSpPr>
          <p:spPr>
            <a:xfrm>
              <a:off x="766474" y="5717106"/>
              <a:ext cx="3668632" cy="0"/>
            </a:xfrm>
            <a:prstGeom prst="line">
              <a:avLst/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228" name="직사각형 227">
              <a:extLst>
                <a:ext uri="{FF2B5EF4-FFF2-40B4-BE49-F238E27FC236}">
                  <a16:creationId xmlns:a16="http://schemas.microsoft.com/office/drawing/2014/main" id="{1A8BA4BD-083A-44FD-AC7B-F22E988AE6FD}"/>
                </a:ext>
              </a:extLst>
            </p:cNvPr>
            <p:cNvSpPr/>
            <p:nvPr/>
          </p:nvSpPr>
          <p:spPr>
            <a:xfrm>
              <a:off x="867056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29" name="직사각형 228">
              <a:extLst>
                <a:ext uri="{FF2B5EF4-FFF2-40B4-BE49-F238E27FC236}">
                  <a16:creationId xmlns:a16="http://schemas.microsoft.com/office/drawing/2014/main" id="{180C3209-1428-4998-AA78-A1FE5DDE7DB9}"/>
                </a:ext>
              </a:extLst>
            </p:cNvPr>
            <p:cNvSpPr/>
            <p:nvPr/>
          </p:nvSpPr>
          <p:spPr>
            <a:xfrm>
              <a:off x="1105638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0" name="직사각형 229">
              <a:extLst>
                <a:ext uri="{FF2B5EF4-FFF2-40B4-BE49-F238E27FC236}">
                  <a16:creationId xmlns:a16="http://schemas.microsoft.com/office/drawing/2014/main" id="{FBDF2E7B-3A9E-4D1F-BD68-9575A6B74EE2}"/>
                </a:ext>
              </a:extLst>
            </p:cNvPr>
            <p:cNvSpPr/>
            <p:nvPr/>
          </p:nvSpPr>
          <p:spPr>
            <a:xfrm>
              <a:off x="1325294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1" name="직사각형 230">
              <a:extLst>
                <a:ext uri="{FF2B5EF4-FFF2-40B4-BE49-F238E27FC236}">
                  <a16:creationId xmlns:a16="http://schemas.microsoft.com/office/drawing/2014/main" id="{033AF2AB-032A-4D1A-A149-D82165570F9C}"/>
                </a:ext>
              </a:extLst>
            </p:cNvPr>
            <p:cNvSpPr/>
            <p:nvPr/>
          </p:nvSpPr>
          <p:spPr>
            <a:xfrm>
              <a:off x="1554598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2" name="직사각형 231">
              <a:extLst>
                <a:ext uri="{FF2B5EF4-FFF2-40B4-BE49-F238E27FC236}">
                  <a16:creationId xmlns:a16="http://schemas.microsoft.com/office/drawing/2014/main" id="{7F6A7182-BECA-4366-B5DA-AF37BB5D9210}"/>
                </a:ext>
              </a:extLst>
            </p:cNvPr>
            <p:cNvSpPr/>
            <p:nvPr/>
          </p:nvSpPr>
          <p:spPr>
            <a:xfrm>
              <a:off x="1790451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3" name="직사각형 232">
              <a:extLst>
                <a:ext uri="{FF2B5EF4-FFF2-40B4-BE49-F238E27FC236}">
                  <a16:creationId xmlns:a16="http://schemas.microsoft.com/office/drawing/2014/main" id="{B1ECF8ED-B141-4050-A4CA-DD082CABEB4F}"/>
                </a:ext>
              </a:extLst>
            </p:cNvPr>
            <p:cNvSpPr/>
            <p:nvPr/>
          </p:nvSpPr>
          <p:spPr>
            <a:xfrm>
              <a:off x="2012836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4" name="직사각형 233">
              <a:extLst>
                <a:ext uri="{FF2B5EF4-FFF2-40B4-BE49-F238E27FC236}">
                  <a16:creationId xmlns:a16="http://schemas.microsoft.com/office/drawing/2014/main" id="{A96D84CD-4654-4772-B120-64F8F1063E4F}"/>
                </a:ext>
              </a:extLst>
            </p:cNvPr>
            <p:cNvSpPr/>
            <p:nvPr/>
          </p:nvSpPr>
          <p:spPr>
            <a:xfrm>
              <a:off x="2216672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5" name="직사각형 234">
              <a:extLst>
                <a:ext uri="{FF2B5EF4-FFF2-40B4-BE49-F238E27FC236}">
                  <a16:creationId xmlns:a16="http://schemas.microsoft.com/office/drawing/2014/main" id="{35229101-77EC-4C29-8CA8-2ACF02F541A4}"/>
                </a:ext>
              </a:extLst>
            </p:cNvPr>
            <p:cNvSpPr/>
            <p:nvPr/>
          </p:nvSpPr>
          <p:spPr>
            <a:xfrm>
              <a:off x="2455254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6" name="직사각형 235">
              <a:extLst>
                <a:ext uri="{FF2B5EF4-FFF2-40B4-BE49-F238E27FC236}">
                  <a16:creationId xmlns:a16="http://schemas.microsoft.com/office/drawing/2014/main" id="{8D12E168-B371-4EB0-9702-0F036C9BD6A5}"/>
                </a:ext>
              </a:extLst>
            </p:cNvPr>
            <p:cNvSpPr/>
            <p:nvPr/>
          </p:nvSpPr>
          <p:spPr>
            <a:xfrm>
              <a:off x="2674910" y="5204295"/>
              <a:ext cx="108000" cy="5161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7" name="직사각형 236">
              <a:extLst>
                <a:ext uri="{FF2B5EF4-FFF2-40B4-BE49-F238E27FC236}">
                  <a16:creationId xmlns:a16="http://schemas.microsoft.com/office/drawing/2014/main" id="{FC83A69C-37CD-4EAB-8BD5-270F2579AA2B}"/>
                </a:ext>
              </a:extLst>
            </p:cNvPr>
            <p:cNvSpPr/>
            <p:nvPr/>
          </p:nvSpPr>
          <p:spPr>
            <a:xfrm>
              <a:off x="2884742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8" name="직사각형 237">
              <a:extLst>
                <a:ext uri="{FF2B5EF4-FFF2-40B4-BE49-F238E27FC236}">
                  <a16:creationId xmlns:a16="http://schemas.microsoft.com/office/drawing/2014/main" id="{4532BAB3-63C7-4FB6-BB56-05EF6A459A35}"/>
                </a:ext>
              </a:extLst>
            </p:cNvPr>
            <p:cNvSpPr/>
            <p:nvPr/>
          </p:nvSpPr>
          <p:spPr>
            <a:xfrm>
              <a:off x="3120595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9" name="직사각형 238">
              <a:extLst>
                <a:ext uri="{FF2B5EF4-FFF2-40B4-BE49-F238E27FC236}">
                  <a16:creationId xmlns:a16="http://schemas.microsoft.com/office/drawing/2014/main" id="{2FE5538F-3BE8-494F-86CA-833B5E4304EB}"/>
                </a:ext>
              </a:extLst>
            </p:cNvPr>
            <p:cNvSpPr/>
            <p:nvPr/>
          </p:nvSpPr>
          <p:spPr>
            <a:xfrm>
              <a:off x="3342980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40" name="직사각형 239">
              <a:extLst>
                <a:ext uri="{FF2B5EF4-FFF2-40B4-BE49-F238E27FC236}">
                  <a16:creationId xmlns:a16="http://schemas.microsoft.com/office/drawing/2014/main" id="{7BA219A4-1433-4FB2-828F-EFFE898D5C8F}"/>
                </a:ext>
              </a:extLst>
            </p:cNvPr>
            <p:cNvSpPr/>
            <p:nvPr/>
          </p:nvSpPr>
          <p:spPr>
            <a:xfrm>
              <a:off x="3540522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41" name="직사각형 240">
              <a:extLst>
                <a:ext uri="{FF2B5EF4-FFF2-40B4-BE49-F238E27FC236}">
                  <a16:creationId xmlns:a16="http://schemas.microsoft.com/office/drawing/2014/main" id="{A28F2308-68F3-4F61-B330-47D6090A96CC}"/>
                </a:ext>
              </a:extLst>
            </p:cNvPr>
            <p:cNvSpPr/>
            <p:nvPr/>
          </p:nvSpPr>
          <p:spPr>
            <a:xfrm>
              <a:off x="3755752" y="5261453"/>
              <a:ext cx="108000" cy="4589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42" name="직사각형 241">
              <a:extLst>
                <a:ext uri="{FF2B5EF4-FFF2-40B4-BE49-F238E27FC236}">
                  <a16:creationId xmlns:a16="http://schemas.microsoft.com/office/drawing/2014/main" id="{FE956C67-EF2A-4520-BFC5-E89CE9079544}"/>
                </a:ext>
              </a:extLst>
            </p:cNvPr>
            <p:cNvSpPr/>
            <p:nvPr/>
          </p:nvSpPr>
          <p:spPr>
            <a:xfrm>
              <a:off x="3978137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43" name="직사각형 242">
              <a:extLst>
                <a:ext uri="{FF2B5EF4-FFF2-40B4-BE49-F238E27FC236}">
                  <a16:creationId xmlns:a16="http://schemas.microsoft.com/office/drawing/2014/main" id="{F722224C-8220-4F82-B5A2-209C45098F38}"/>
                </a:ext>
              </a:extLst>
            </p:cNvPr>
            <p:cNvSpPr/>
            <p:nvPr/>
          </p:nvSpPr>
          <p:spPr>
            <a:xfrm>
              <a:off x="4198170" y="5276683"/>
              <a:ext cx="108000" cy="4437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246" name="TextBox 245">
            <a:extLst>
              <a:ext uri="{FF2B5EF4-FFF2-40B4-BE49-F238E27FC236}">
                <a16:creationId xmlns:a16="http://schemas.microsoft.com/office/drawing/2014/main" id="{A8176127-501C-47BA-A463-FA6DB566D187}"/>
              </a:ext>
            </a:extLst>
          </p:cNvPr>
          <p:cNvSpPr txBox="1"/>
          <p:nvPr/>
        </p:nvSpPr>
        <p:spPr>
          <a:xfrm>
            <a:off x="4797416" y="4916642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최근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5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일 세션 당 페이지 수 추이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23.08.09 ~ 23.08.24)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3C397255-73F3-4894-BC67-C788811C26B0}"/>
              </a:ext>
            </a:extLst>
          </p:cNvPr>
          <p:cNvSpPr txBox="1"/>
          <p:nvPr/>
        </p:nvSpPr>
        <p:spPr>
          <a:xfrm>
            <a:off x="2805770" y="5399985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46%</a:t>
            </a: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79010ED8-C7CE-4D43-9C55-B0CF6B99FE69}"/>
              </a:ext>
            </a:extLst>
          </p:cNvPr>
          <p:cNvSpPr txBox="1"/>
          <p:nvPr/>
        </p:nvSpPr>
        <p:spPr>
          <a:xfrm>
            <a:off x="4062842" y="5399985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1%</a:t>
            </a:r>
            <a:endParaRPr kumimoji="0" lang="ko-KR" altLang="en-US" sz="700" b="1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30ED6911-D2DF-45D7-9BAA-37D21BD8AD0A}"/>
              </a:ext>
            </a:extLst>
          </p:cNvPr>
          <p:cNvSpPr txBox="1"/>
          <p:nvPr/>
        </p:nvSpPr>
        <p:spPr>
          <a:xfrm>
            <a:off x="4947320" y="5739955"/>
            <a:ext cx="366863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09   10   11   12   13   14   15   16   17   18   19   20   21   22   23   24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pSp>
        <p:nvGrpSpPr>
          <p:cNvPr id="270" name="그룹 269">
            <a:extLst>
              <a:ext uri="{FF2B5EF4-FFF2-40B4-BE49-F238E27FC236}">
                <a16:creationId xmlns:a16="http://schemas.microsoft.com/office/drawing/2014/main" id="{2A3B1B46-1B1F-47E0-A291-E6254DF51DFB}"/>
              </a:ext>
            </a:extLst>
          </p:cNvPr>
          <p:cNvGrpSpPr/>
          <p:nvPr/>
        </p:nvGrpSpPr>
        <p:grpSpPr>
          <a:xfrm>
            <a:off x="4942610" y="5358097"/>
            <a:ext cx="3668632" cy="362353"/>
            <a:chOff x="766474" y="5204295"/>
            <a:chExt cx="3668632" cy="516156"/>
          </a:xfrm>
        </p:grpSpPr>
        <p:cxnSp>
          <p:nvCxnSpPr>
            <p:cNvPr id="271" name="직선 연결선 270">
              <a:extLst>
                <a:ext uri="{FF2B5EF4-FFF2-40B4-BE49-F238E27FC236}">
                  <a16:creationId xmlns:a16="http://schemas.microsoft.com/office/drawing/2014/main" id="{06B4CE3A-D5C8-4A9E-A7B5-37FA239825A0}"/>
                </a:ext>
              </a:extLst>
            </p:cNvPr>
            <p:cNvCxnSpPr/>
            <p:nvPr/>
          </p:nvCxnSpPr>
          <p:spPr>
            <a:xfrm>
              <a:off x="766474" y="5717106"/>
              <a:ext cx="3668632" cy="0"/>
            </a:xfrm>
            <a:prstGeom prst="line">
              <a:avLst/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272" name="직사각형 271">
              <a:extLst>
                <a:ext uri="{FF2B5EF4-FFF2-40B4-BE49-F238E27FC236}">
                  <a16:creationId xmlns:a16="http://schemas.microsoft.com/office/drawing/2014/main" id="{659F3094-CE3B-4336-9BF7-CE130D5C7E5A}"/>
                </a:ext>
              </a:extLst>
            </p:cNvPr>
            <p:cNvSpPr/>
            <p:nvPr/>
          </p:nvSpPr>
          <p:spPr>
            <a:xfrm>
              <a:off x="867056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73" name="직사각형 272">
              <a:extLst>
                <a:ext uri="{FF2B5EF4-FFF2-40B4-BE49-F238E27FC236}">
                  <a16:creationId xmlns:a16="http://schemas.microsoft.com/office/drawing/2014/main" id="{3B45B072-FC7E-4A25-9BAD-3139B06D98B7}"/>
                </a:ext>
              </a:extLst>
            </p:cNvPr>
            <p:cNvSpPr/>
            <p:nvPr/>
          </p:nvSpPr>
          <p:spPr>
            <a:xfrm>
              <a:off x="1105638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74" name="직사각형 273">
              <a:extLst>
                <a:ext uri="{FF2B5EF4-FFF2-40B4-BE49-F238E27FC236}">
                  <a16:creationId xmlns:a16="http://schemas.microsoft.com/office/drawing/2014/main" id="{D993B857-A2FD-4309-803D-A8E151B0360E}"/>
                </a:ext>
              </a:extLst>
            </p:cNvPr>
            <p:cNvSpPr/>
            <p:nvPr/>
          </p:nvSpPr>
          <p:spPr>
            <a:xfrm>
              <a:off x="1325294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75" name="직사각형 274">
              <a:extLst>
                <a:ext uri="{FF2B5EF4-FFF2-40B4-BE49-F238E27FC236}">
                  <a16:creationId xmlns:a16="http://schemas.microsoft.com/office/drawing/2014/main" id="{D2F6E8D3-C706-4543-8CF2-C93CC9204D48}"/>
                </a:ext>
              </a:extLst>
            </p:cNvPr>
            <p:cNvSpPr/>
            <p:nvPr/>
          </p:nvSpPr>
          <p:spPr>
            <a:xfrm>
              <a:off x="1554598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76" name="직사각형 275">
              <a:extLst>
                <a:ext uri="{FF2B5EF4-FFF2-40B4-BE49-F238E27FC236}">
                  <a16:creationId xmlns:a16="http://schemas.microsoft.com/office/drawing/2014/main" id="{D640541D-A601-46F9-A9BB-17EDFD782B31}"/>
                </a:ext>
              </a:extLst>
            </p:cNvPr>
            <p:cNvSpPr/>
            <p:nvPr/>
          </p:nvSpPr>
          <p:spPr>
            <a:xfrm>
              <a:off x="1790451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77" name="직사각형 276">
              <a:extLst>
                <a:ext uri="{FF2B5EF4-FFF2-40B4-BE49-F238E27FC236}">
                  <a16:creationId xmlns:a16="http://schemas.microsoft.com/office/drawing/2014/main" id="{4AD5D44F-0D68-4EFB-A378-C3809F9AFF97}"/>
                </a:ext>
              </a:extLst>
            </p:cNvPr>
            <p:cNvSpPr/>
            <p:nvPr/>
          </p:nvSpPr>
          <p:spPr>
            <a:xfrm>
              <a:off x="2012836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78" name="직사각형 277">
              <a:extLst>
                <a:ext uri="{FF2B5EF4-FFF2-40B4-BE49-F238E27FC236}">
                  <a16:creationId xmlns:a16="http://schemas.microsoft.com/office/drawing/2014/main" id="{BB2F1668-F95D-4F7F-B781-CD886AF9BE3D}"/>
                </a:ext>
              </a:extLst>
            </p:cNvPr>
            <p:cNvSpPr/>
            <p:nvPr/>
          </p:nvSpPr>
          <p:spPr>
            <a:xfrm>
              <a:off x="2216672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79" name="직사각형 278">
              <a:extLst>
                <a:ext uri="{FF2B5EF4-FFF2-40B4-BE49-F238E27FC236}">
                  <a16:creationId xmlns:a16="http://schemas.microsoft.com/office/drawing/2014/main" id="{527AB86C-65C0-4CCB-A88E-8B278FA5C88A}"/>
                </a:ext>
              </a:extLst>
            </p:cNvPr>
            <p:cNvSpPr/>
            <p:nvPr/>
          </p:nvSpPr>
          <p:spPr>
            <a:xfrm>
              <a:off x="2455254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80" name="직사각형 279">
              <a:extLst>
                <a:ext uri="{FF2B5EF4-FFF2-40B4-BE49-F238E27FC236}">
                  <a16:creationId xmlns:a16="http://schemas.microsoft.com/office/drawing/2014/main" id="{5F5882D5-5A07-4499-B580-30BE408E0C0F}"/>
                </a:ext>
              </a:extLst>
            </p:cNvPr>
            <p:cNvSpPr/>
            <p:nvPr/>
          </p:nvSpPr>
          <p:spPr>
            <a:xfrm>
              <a:off x="2674910" y="5204295"/>
              <a:ext cx="108000" cy="5161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81" name="직사각형 280">
              <a:extLst>
                <a:ext uri="{FF2B5EF4-FFF2-40B4-BE49-F238E27FC236}">
                  <a16:creationId xmlns:a16="http://schemas.microsoft.com/office/drawing/2014/main" id="{0FF0ECA8-B1D9-465A-83CB-6CB8778AA65E}"/>
                </a:ext>
              </a:extLst>
            </p:cNvPr>
            <p:cNvSpPr/>
            <p:nvPr/>
          </p:nvSpPr>
          <p:spPr>
            <a:xfrm>
              <a:off x="2884742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82" name="직사각형 281">
              <a:extLst>
                <a:ext uri="{FF2B5EF4-FFF2-40B4-BE49-F238E27FC236}">
                  <a16:creationId xmlns:a16="http://schemas.microsoft.com/office/drawing/2014/main" id="{3E1D1F1A-AED5-4F5C-84BF-07AFE7956770}"/>
                </a:ext>
              </a:extLst>
            </p:cNvPr>
            <p:cNvSpPr/>
            <p:nvPr/>
          </p:nvSpPr>
          <p:spPr>
            <a:xfrm>
              <a:off x="3120595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83" name="직사각형 282">
              <a:extLst>
                <a:ext uri="{FF2B5EF4-FFF2-40B4-BE49-F238E27FC236}">
                  <a16:creationId xmlns:a16="http://schemas.microsoft.com/office/drawing/2014/main" id="{A739719A-9BDD-4839-BB96-AAF1F011FA3F}"/>
                </a:ext>
              </a:extLst>
            </p:cNvPr>
            <p:cNvSpPr/>
            <p:nvPr/>
          </p:nvSpPr>
          <p:spPr>
            <a:xfrm>
              <a:off x="3342980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84" name="직사각형 283">
              <a:extLst>
                <a:ext uri="{FF2B5EF4-FFF2-40B4-BE49-F238E27FC236}">
                  <a16:creationId xmlns:a16="http://schemas.microsoft.com/office/drawing/2014/main" id="{3657E369-6F99-462F-94B6-6AF3E9961F39}"/>
                </a:ext>
              </a:extLst>
            </p:cNvPr>
            <p:cNvSpPr/>
            <p:nvPr/>
          </p:nvSpPr>
          <p:spPr>
            <a:xfrm>
              <a:off x="3540522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85" name="직사각형 284">
              <a:extLst>
                <a:ext uri="{FF2B5EF4-FFF2-40B4-BE49-F238E27FC236}">
                  <a16:creationId xmlns:a16="http://schemas.microsoft.com/office/drawing/2014/main" id="{AAFD6DFE-B6FA-415F-B4AC-6D27259104D6}"/>
                </a:ext>
              </a:extLst>
            </p:cNvPr>
            <p:cNvSpPr/>
            <p:nvPr/>
          </p:nvSpPr>
          <p:spPr>
            <a:xfrm>
              <a:off x="3755752" y="5261453"/>
              <a:ext cx="108000" cy="4589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86" name="직사각형 285">
              <a:extLst>
                <a:ext uri="{FF2B5EF4-FFF2-40B4-BE49-F238E27FC236}">
                  <a16:creationId xmlns:a16="http://schemas.microsoft.com/office/drawing/2014/main" id="{4F2B2908-417B-456A-A0D6-9E154ACDBDF0}"/>
                </a:ext>
              </a:extLst>
            </p:cNvPr>
            <p:cNvSpPr/>
            <p:nvPr/>
          </p:nvSpPr>
          <p:spPr>
            <a:xfrm>
              <a:off x="3978137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87" name="직사각형 286">
              <a:extLst>
                <a:ext uri="{FF2B5EF4-FFF2-40B4-BE49-F238E27FC236}">
                  <a16:creationId xmlns:a16="http://schemas.microsoft.com/office/drawing/2014/main" id="{5138936F-9F13-4E2E-9EB1-97F3BFF0B0C4}"/>
                </a:ext>
              </a:extLst>
            </p:cNvPr>
            <p:cNvSpPr/>
            <p:nvPr/>
          </p:nvSpPr>
          <p:spPr>
            <a:xfrm>
              <a:off x="4198170" y="5276683"/>
              <a:ext cx="108000" cy="4437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288" name="TextBox 287">
            <a:extLst>
              <a:ext uri="{FF2B5EF4-FFF2-40B4-BE49-F238E27FC236}">
                <a16:creationId xmlns:a16="http://schemas.microsoft.com/office/drawing/2014/main" id="{EF7DC858-6695-49AF-A448-5AA1CE5FF2C2}"/>
              </a:ext>
            </a:extLst>
          </p:cNvPr>
          <p:cNvSpPr txBox="1"/>
          <p:nvPr/>
        </p:nvSpPr>
        <p:spPr>
          <a:xfrm>
            <a:off x="6981906" y="5193486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5.7P</a:t>
            </a: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3006F8B6-CAD0-44E9-827C-D04979FDCBF7}"/>
              </a:ext>
            </a:extLst>
          </p:cNvPr>
          <p:cNvSpPr txBox="1"/>
          <p:nvPr/>
        </p:nvSpPr>
        <p:spPr>
          <a:xfrm>
            <a:off x="8238978" y="5193486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4.1P</a:t>
            </a:r>
            <a:endParaRPr kumimoji="0" lang="ko-KR" altLang="en-US" sz="700" b="1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61" name="사각형: 둥근 모서리 160">
            <a:extLst>
              <a:ext uri="{FF2B5EF4-FFF2-40B4-BE49-F238E27FC236}">
                <a16:creationId xmlns:a16="http://schemas.microsoft.com/office/drawing/2014/main" id="{124C805D-46DD-4750-A9D6-BAACBD0E352A}"/>
              </a:ext>
            </a:extLst>
          </p:cNvPr>
          <p:cNvSpPr/>
          <p:nvPr/>
        </p:nvSpPr>
        <p:spPr>
          <a:xfrm>
            <a:off x="2424369" y="161312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2" name="사각형: 둥근 모서리 161">
            <a:extLst>
              <a:ext uri="{FF2B5EF4-FFF2-40B4-BE49-F238E27FC236}">
                <a16:creationId xmlns:a16="http://schemas.microsoft.com/office/drawing/2014/main" id="{FC76714F-0256-4EB9-BE88-4502D058CE2B}"/>
              </a:ext>
            </a:extLst>
          </p:cNvPr>
          <p:cNvSpPr/>
          <p:nvPr/>
        </p:nvSpPr>
        <p:spPr>
          <a:xfrm>
            <a:off x="634587" y="196526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3" name="사각형: 둥근 모서리 162">
            <a:extLst>
              <a:ext uri="{FF2B5EF4-FFF2-40B4-BE49-F238E27FC236}">
                <a16:creationId xmlns:a16="http://schemas.microsoft.com/office/drawing/2014/main" id="{2E8A90A0-766C-480C-97A9-5525FFF1E4D6}"/>
              </a:ext>
            </a:extLst>
          </p:cNvPr>
          <p:cNvSpPr/>
          <p:nvPr/>
        </p:nvSpPr>
        <p:spPr>
          <a:xfrm>
            <a:off x="4797416" y="194373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172" name="그룹 171">
            <a:extLst>
              <a:ext uri="{FF2B5EF4-FFF2-40B4-BE49-F238E27FC236}">
                <a16:creationId xmlns:a16="http://schemas.microsoft.com/office/drawing/2014/main" id="{EC39376F-3BCA-4E39-8EAE-4A36815BF5AA}"/>
              </a:ext>
            </a:extLst>
          </p:cNvPr>
          <p:cNvGrpSpPr/>
          <p:nvPr/>
        </p:nvGrpSpPr>
        <p:grpSpPr>
          <a:xfrm>
            <a:off x="8829540" y="1393310"/>
            <a:ext cx="152360" cy="4860000"/>
            <a:chOff x="9201470" y="1601344"/>
            <a:chExt cx="188139" cy="4198758"/>
          </a:xfrm>
        </p:grpSpPr>
        <p:sp>
          <p:nvSpPr>
            <p:cNvPr id="173" name="직사각형 172">
              <a:extLst>
                <a:ext uri="{FF2B5EF4-FFF2-40B4-BE49-F238E27FC236}">
                  <a16:creationId xmlns:a16="http://schemas.microsoft.com/office/drawing/2014/main" id="{114DDEA6-9CA7-42F7-A6C5-8EC560AF88EC}"/>
                </a:ext>
              </a:extLst>
            </p:cNvPr>
            <p:cNvSpPr/>
            <p:nvPr/>
          </p:nvSpPr>
          <p:spPr>
            <a:xfrm>
              <a:off x="9201472" y="1956584"/>
              <a:ext cx="188114" cy="36344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74" name="그룹 173">
              <a:extLst>
                <a:ext uri="{FF2B5EF4-FFF2-40B4-BE49-F238E27FC236}">
                  <a16:creationId xmlns:a16="http://schemas.microsoft.com/office/drawing/2014/main" id="{CED15A8C-A1A8-4CF8-9AE4-B82ADC6E06BF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75" name="직사각형 174">
                <a:extLst>
                  <a:ext uri="{FF2B5EF4-FFF2-40B4-BE49-F238E27FC236}">
                    <a16:creationId xmlns:a16="http://schemas.microsoft.com/office/drawing/2014/main" id="{33B23F18-ED97-4D18-AF84-07377811796C}"/>
                  </a:ext>
                </a:extLst>
              </p:cNvPr>
              <p:cNvSpPr/>
              <p:nvPr/>
            </p:nvSpPr>
            <p:spPr>
              <a:xfrm>
                <a:off x="9201495" y="1810107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76" name="직사각형 175">
                <a:extLst>
                  <a:ext uri="{FF2B5EF4-FFF2-40B4-BE49-F238E27FC236}">
                    <a16:creationId xmlns:a16="http://schemas.microsoft.com/office/drawing/2014/main" id="{DD9EB87C-EC4F-4B51-8904-71E0128AA5C9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200" name="직사각형 199">
                <a:extLst>
                  <a:ext uri="{FF2B5EF4-FFF2-40B4-BE49-F238E27FC236}">
                    <a16:creationId xmlns:a16="http://schemas.microsoft.com/office/drawing/2014/main" id="{2714CF95-418E-473D-BE2D-F976239B7B24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201" name="사각형: 둥근 모서리 200">
            <a:extLst>
              <a:ext uri="{FF2B5EF4-FFF2-40B4-BE49-F238E27FC236}">
                <a16:creationId xmlns:a16="http://schemas.microsoft.com/office/drawing/2014/main" id="{A7D43F9A-7737-40AD-99E1-1D980AB2EC27}"/>
              </a:ext>
            </a:extLst>
          </p:cNvPr>
          <p:cNvSpPr/>
          <p:nvPr/>
        </p:nvSpPr>
        <p:spPr>
          <a:xfrm>
            <a:off x="634587" y="431887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02" name="사각형: 둥근 모서리 201">
            <a:extLst>
              <a:ext uri="{FF2B5EF4-FFF2-40B4-BE49-F238E27FC236}">
                <a16:creationId xmlns:a16="http://schemas.microsoft.com/office/drawing/2014/main" id="{AAF29534-626B-4D0E-B89D-AB9B40564AAA}"/>
              </a:ext>
            </a:extLst>
          </p:cNvPr>
          <p:cNvSpPr/>
          <p:nvPr/>
        </p:nvSpPr>
        <p:spPr>
          <a:xfrm>
            <a:off x="4797416" y="429733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768806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4A5EFDBD-4F41-43DF-B996-1615A4A8C6F2}"/>
              </a:ext>
            </a:extLst>
          </p:cNvPr>
          <p:cNvSpPr/>
          <p:nvPr/>
        </p:nvSpPr>
        <p:spPr>
          <a:xfrm>
            <a:off x="7246831" y="3940318"/>
            <a:ext cx="1326091" cy="2863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ko-KR" altLang="en-US" sz="1400"/>
          </a:p>
        </p:txBody>
      </p: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/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9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서비스 현황관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2/2)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이트에 유입되는 고객의 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체류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탈률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벤트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환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등을 확인하여 관리할 수 있는 현황관리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28292" y="1371075"/>
            <a:ext cx="865854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서비스 현황 대시보드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웹사이트 관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서비스 현황관리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kumimoji="0" lang="ko-KR" altLang="en-US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555913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aphicFrame>
        <p:nvGraphicFramePr>
          <p:cNvPr id="117" name="표 10">
            <a:extLst>
              <a:ext uri="{FF2B5EF4-FFF2-40B4-BE49-F238E27FC236}">
                <a16:creationId xmlns:a16="http://schemas.microsoft.com/office/drawing/2014/main" id="{4217557B-D77F-4E3E-AAC5-79471F428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2766606"/>
              </p:ext>
            </p:extLst>
          </p:nvPr>
        </p:nvGraphicFramePr>
        <p:xfrm>
          <a:off x="9267391" y="759199"/>
          <a:ext cx="2922885" cy="3670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환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환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전환율을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출력하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주요 페이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벤트에 도달한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환율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산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균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환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전환율을 평균으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환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전환율을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이탈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전환율을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 시점 기준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 간 전환율을 차트 형태로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값과 금일 전환율은 강조하여 표시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7509301"/>
                  </a:ext>
                </a:extLst>
              </a:tr>
              <a:tr h="55206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세션 당 평균 체류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평균 체류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평균 체류시간을 출력하여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평균 체류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년 세션 평균 체류시간을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산출하여 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평균 체류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일 평균 체류시간을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평균 체류시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금일 평균 체류시간을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 시점 기준으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* 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15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 간 세션 당 평균 체류시간을 차트 형태로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최대값과 금일 값은 강조하여 표시 필요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431648"/>
                  </a:ext>
                </a:extLst>
              </a:tr>
              <a:tr h="2640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최근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월 또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일 누적 조회수를 기준으로 어떤 페이지의 조회 수가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높은지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까지의 순위 제공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순위와 함께 누적 건수와 일 증가 조회 수를 제공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430973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월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간으로 택일하여 순위 산출 기준 제공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66271"/>
                  </a:ext>
                </a:extLst>
              </a:tr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660421"/>
                  </a:ext>
                </a:extLst>
              </a:tr>
            </a:tbl>
          </a:graphicData>
        </a:graphic>
      </p:graphicFrame>
      <p:sp>
        <p:nvSpPr>
          <p:cNvPr id="52" name="사각형: 둥근 모서리 51">
            <a:extLst>
              <a:ext uri="{FF2B5EF4-FFF2-40B4-BE49-F238E27FC236}">
                <a16:creationId xmlns:a16="http://schemas.microsoft.com/office/drawing/2014/main" id="{2DFD160A-A24C-451F-9F94-A56D9AD7ECCD}"/>
              </a:ext>
            </a:extLst>
          </p:cNvPr>
          <p:cNvSpPr/>
          <p:nvPr/>
        </p:nvSpPr>
        <p:spPr>
          <a:xfrm>
            <a:off x="623391" y="1544101"/>
            <a:ext cx="3929098" cy="2141115"/>
          </a:xfrm>
          <a:prstGeom prst="roundRect">
            <a:avLst>
              <a:gd name="adj" fmla="val 449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bIns="360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D23D43EC-0DAA-41BD-B5FF-491FC246A94C}"/>
              </a:ext>
            </a:extLst>
          </p:cNvPr>
          <p:cNvSpPr/>
          <p:nvPr/>
        </p:nvSpPr>
        <p:spPr>
          <a:xfrm>
            <a:off x="2558146" y="1646399"/>
            <a:ext cx="2003906" cy="17508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일시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8-24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요일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#:##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15AB89D0-C17C-4C2D-982B-CC4DB61D0C5B}"/>
              </a:ext>
            </a:extLst>
          </p:cNvPr>
          <p:cNvSpPr/>
          <p:nvPr/>
        </p:nvSpPr>
        <p:spPr>
          <a:xfrm>
            <a:off x="623392" y="1578996"/>
            <a:ext cx="1850105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이벤트 </a:t>
            </a:r>
            <a:r>
              <a:rPr kumimoji="0" lang="ko-KR" altLang="en-US" sz="1100" b="1" i="0" u="none" strike="noStrike" kern="1200" cap="none" spc="0" normalizeH="0" baseline="0" noProof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전환율</a:t>
            </a:r>
            <a:endParaRPr kumimoji="0" lang="ko-KR" altLang="en-US" sz="11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5" name="사각형: 둥근 모서리 134">
            <a:extLst>
              <a:ext uri="{FF2B5EF4-FFF2-40B4-BE49-F238E27FC236}">
                <a16:creationId xmlns:a16="http://schemas.microsoft.com/office/drawing/2014/main" id="{95CE3ACD-C130-4E6E-A32E-765769166484}"/>
              </a:ext>
            </a:extLst>
          </p:cNvPr>
          <p:cNvSpPr/>
          <p:nvPr/>
        </p:nvSpPr>
        <p:spPr>
          <a:xfrm>
            <a:off x="4749627" y="1544101"/>
            <a:ext cx="3929098" cy="2141115"/>
          </a:xfrm>
          <a:prstGeom prst="roundRect">
            <a:avLst>
              <a:gd name="adj" fmla="val 449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bIns="360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C5304ABD-4D14-4ABB-8358-41585EF716AA}"/>
              </a:ext>
            </a:extLst>
          </p:cNvPr>
          <p:cNvSpPr/>
          <p:nvPr/>
        </p:nvSpPr>
        <p:spPr>
          <a:xfrm>
            <a:off x="6684382" y="1646399"/>
            <a:ext cx="2003906" cy="17508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일시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9-28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요일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#:##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138" name="직사각형 137">
            <a:extLst>
              <a:ext uri="{FF2B5EF4-FFF2-40B4-BE49-F238E27FC236}">
                <a16:creationId xmlns:a16="http://schemas.microsoft.com/office/drawing/2014/main" id="{64F155F2-D450-4BEB-9C59-AF1509A6E3D1}"/>
              </a:ext>
            </a:extLst>
          </p:cNvPr>
          <p:cNvSpPr/>
          <p:nvPr/>
        </p:nvSpPr>
        <p:spPr>
          <a:xfrm>
            <a:off x="4749628" y="1578996"/>
            <a:ext cx="1850105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세션 당 체류시간</a:t>
            </a:r>
          </a:p>
        </p:txBody>
      </p:sp>
      <p:cxnSp>
        <p:nvCxnSpPr>
          <p:cNvPr id="146" name="직선 연결선 145">
            <a:extLst>
              <a:ext uri="{FF2B5EF4-FFF2-40B4-BE49-F238E27FC236}">
                <a16:creationId xmlns:a16="http://schemas.microsoft.com/office/drawing/2014/main" id="{382EF0AC-AD7D-4BE1-8733-BCF48C141BE8}"/>
              </a:ext>
            </a:extLst>
          </p:cNvPr>
          <p:cNvCxnSpPr>
            <a:cxnSpLocks/>
          </p:cNvCxnSpPr>
          <p:nvPr/>
        </p:nvCxnSpPr>
        <p:spPr>
          <a:xfrm>
            <a:off x="703557" y="1866824"/>
            <a:ext cx="3731549" cy="0"/>
          </a:xfrm>
          <a:prstGeom prst="line">
            <a:avLst/>
          </a:prstGeom>
          <a:ln w="1270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161" name="그룹 160">
            <a:extLst>
              <a:ext uri="{FF2B5EF4-FFF2-40B4-BE49-F238E27FC236}">
                <a16:creationId xmlns:a16="http://schemas.microsoft.com/office/drawing/2014/main" id="{5F268D87-DCD0-4CD4-9BC9-C16B6333F4F5}"/>
              </a:ext>
            </a:extLst>
          </p:cNvPr>
          <p:cNvGrpSpPr/>
          <p:nvPr/>
        </p:nvGrpSpPr>
        <p:grpSpPr>
          <a:xfrm>
            <a:off x="703557" y="1953915"/>
            <a:ext cx="3743129" cy="567354"/>
            <a:chOff x="743829" y="2069558"/>
            <a:chExt cx="3529986" cy="567354"/>
          </a:xfrm>
        </p:grpSpPr>
        <p:sp>
          <p:nvSpPr>
            <p:cNvPr id="162" name="사각형: 둥근 모서리 161">
              <a:extLst>
                <a:ext uri="{FF2B5EF4-FFF2-40B4-BE49-F238E27FC236}">
                  <a16:creationId xmlns:a16="http://schemas.microsoft.com/office/drawing/2014/main" id="{68B2E220-9F68-4499-8BD7-4ABC128EA609}"/>
                </a:ext>
              </a:extLst>
            </p:cNvPr>
            <p:cNvSpPr/>
            <p:nvPr/>
          </p:nvSpPr>
          <p:spPr>
            <a:xfrm>
              <a:off x="743829" y="2069558"/>
              <a:ext cx="1103699" cy="567354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평균 </a:t>
              </a:r>
              <a:r>
                <a:rPr kumimoji="0" lang="ko-KR" alt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전환율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(</a:t>
              </a:r>
              <a:r>
                <a:rPr kumimoji="0" lang="ko-KR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최근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1</a:t>
              </a:r>
              <a:r>
                <a:rPr kumimoji="0" lang="ko-KR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년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)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63" name="사각형: 둥근 모서리 162">
              <a:extLst>
                <a:ext uri="{FF2B5EF4-FFF2-40B4-BE49-F238E27FC236}">
                  <a16:creationId xmlns:a16="http://schemas.microsoft.com/office/drawing/2014/main" id="{B49F961A-6FD5-411B-9E22-4D662A423854}"/>
                </a:ext>
              </a:extLst>
            </p:cNvPr>
            <p:cNvSpPr/>
            <p:nvPr/>
          </p:nvSpPr>
          <p:spPr>
            <a:xfrm>
              <a:off x="1919536" y="2069558"/>
              <a:ext cx="1103699" cy="567354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전일 </a:t>
              </a:r>
              <a:r>
                <a:rPr kumimoji="0" lang="ko-KR" alt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전환율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65" name="사각형: 둥근 모서리 164">
              <a:extLst>
                <a:ext uri="{FF2B5EF4-FFF2-40B4-BE49-F238E27FC236}">
                  <a16:creationId xmlns:a16="http://schemas.microsoft.com/office/drawing/2014/main" id="{38B6E01C-0027-4ACB-BAB8-55E63241F214}"/>
                </a:ext>
              </a:extLst>
            </p:cNvPr>
            <p:cNvSpPr/>
            <p:nvPr/>
          </p:nvSpPr>
          <p:spPr>
            <a:xfrm>
              <a:off x="3098563" y="2069558"/>
              <a:ext cx="1175252" cy="567354"/>
            </a:xfrm>
            <a:prstGeom prst="roundRect">
              <a:avLst>
                <a:gd name="adj" fmla="val 8796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금일 </a:t>
              </a:r>
              <a:r>
                <a:rPr kumimoji="0" lang="ko-KR" alt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전환율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167" name="직사각형 166">
            <a:extLst>
              <a:ext uri="{FF2B5EF4-FFF2-40B4-BE49-F238E27FC236}">
                <a16:creationId xmlns:a16="http://schemas.microsoft.com/office/drawing/2014/main" id="{76001A92-9FBD-4AB3-A3A2-24CDC7B01CD3}"/>
              </a:ext>
            </a:extLst>
          </p:cNvPr>
          <p:cNvSpPr/>
          <p:nvPr/>
        </p:nvSpPr>
        <p:spPr>
          <a:xfrm>
            <a:off x="766474" y="2186291"/>
            <a:ext cx="1077977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6.7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%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8" name="직사각형 167">
            <a:extLst>
              <a:ext uri="{FF2B5EF4-FFF2-40B4-BE49-F238E27FC236}">
                <a16:creationId xmlns:a16="http://schemas.microsoft.com/office/drawing/2014/main" id="{E2C55B42-7C61-4DCC-9664-6F1466E3CD5A}"/>
              </a:ext>
            </a:extLst>
          </p:cNvPr>
          <p:cNvSpPr/>
          <p:nvPr/>
        </p:nvSpPr>
        <p:spPr>
          <a:xfrm>
            <a:off x="1988699" y="2186291"/>
            <a:ext cx="1077977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.2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%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69" name="직사각형 168">
            <a:extLst>
              <a:ext uri="{FF2B5EF4-FFF2-40B4-BE49-F238E27FC236}">
                <a16:creationId xmlns:a16="http://schemas.microsoft.com/office/drawing/2014/main" id="{4F616D9E-6271-4D68-A73E-EFF2557BF2AE}"/>
              </a:ext>
            </a:extLst>
          </p:cNvPr>
          <p:cNvSpPr/>
          <p:nvPr/>
        </p:nvSpPr>
        <p:spPr>
          <a:xfrm>
            <a:off x="3098586" y="2186291"/>
            <a:ext cx="1449984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.8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%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170" name="직선 연결선 169">
            <a:extLst>
              <a:ext uri="{FF2B5EF4-FFF2-40B4-BE49-F238E27FC236}">
                <a16:creationId xmlns:a16="http://schemas.microsoft.com/office/drawing/2014/main" id="{64292AB7-1A33-480F-98BB-17DD88FD98E6}"/>
              </a:ext>
            </a:extLst>
          </p:cNvPr>
          <p:cNvCxnSpPr>
            <a:cxnSpLocks/>
          </p:cNvCxnSpPr>
          <p:nvPr/>
        </p:nvCxnSpPr>
        <p:spPr>
          <a:xfrm>
            <a:off x="4829793" y="1866824"/>
            <a:ext cx="3731549" cy="0"/>
          </a:xfrm>
          <a:prstGeom prst="line">
            <a:avLst/>
          </a:prstGeom>
          <a:ln w="1270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171" name="그룹 170">
            <a:extLst>
              <a:ext uri="{FF2B5EF4-FFF2-40B4-BE49-F238E27FC236}">
                <a16:creationId xmlns:a16="http://schemas.microsoft.com/office/drawing/2014/main" id="{46DB37D2-B3AE-451E-91DD-B2498666BB4B}"/>
              </a:ext>
            </a:extLst>
          </p:cNvPr>
          <p:cNvGrpSpPr/>
          <p:nvPr/>
        </p:nvGrpSpPr>
        <p:grpSpPr>
          <a:xfrm>
            <a:off x="4829793" y="1953915"/>
            <a:ext cx="3743129" cy="567354"/>
            <a:chOff x="743829" y="2069558"/>
            <a:chExt cx="3529986" cy="567354"/>
          </a:xfrm>
        </p:grpSpPr>
        <p:sp>
          <p:nvSpPr>
            <p:cNvPr id="172" name="사각형: 둥근 모서리 171">
              <a:extLst>
                <a:ext uri="{FF2B5EF4-FFF2-40B4-BE49-F238E27FC236}">
                  <a16:creationId xmlns:a16="http://schemas.microsoft.com/office/drawing/2014/main" id="{8A2DB47B-6E83-4C6C-9FB3-E3C3A65B2561}"/>
                </a:ext>
              </a:extLst>
            </p:cNvPr>
            <p:cNvSpPr/>
            <p:nvPr/>
          </p:nvSpPr>
          <p:spPr>
            <a:xfrm>
              <a:off x="743829" y="2069558"/>
              <a:ext cx="1103699" cy="567354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평균 체류시간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(</a:t>
              </a:r>
              <a:r>
                <a:rPr kumimoji="0" lang="ko-KR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최근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1</a:t>
              </a:r>
              <a:r>
                <a:rPr kumimoji="0" lang="ko-KR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년</a:t>
              </a:r>
              <a:r>
                <a:rPr kumimoji="0" lang="en-US" altLang="ko-K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)</a:t>
              </a:r>
              <a:endPara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73" name="사각형: 둥근 모서리 172">
              <a:extLst>
                <a:ext uri="{FF2B5EF4-FFF2-40B4-BE49-F238E27FC236}">
                  <a16:creationId xmlns:a16="http://schemas.microsoft.com/office/drawing/2014/main" id="{3B6C4C27-34B1-4DB4-8F0D-FA917F52ECC3}"/>
                </a:ext>
              </a:extLst>
            </p:cNvPr>
            <p:cNvSpPr/>
            <p:nvPr/>
          </p:nvSpPr>
          <p:spPr>
            <a:xfrm>
              <a:off x="1919536" y="2069558"/>
              <a:ext cx="1103699" cy="567354"/>
            </a:xfrm>
            <a:prstGeom prst="roundRect">
              <a:avLst>
                <a:gd name="adj" fmla="val 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전일 평균 체류시간</a:t>
              </a:r>
            </a:p>
          </p:txBody>
        </p:sp>
        <p:sp>
          <p:nvSpPr>
            <p:cNvPr id="174" name="사각형: 둥근 모서리 173">
              <a:extLst>
                <a:ext uri="{FF2B5EF4-FFF2-40B4-BE49-F238E27FC236}">
                  <a16:creationId xmlns:a16="http://schemas.microsoft.com/office/drawing/2014/main" id="{1969F7AD-C666-475F-9D8E-84D9FD966BCB}"/>
                </a:ext>
              </a:extLst>
            </p:cNvPr>
            <p:cNvSpPr/>
            <p:nvPr/>
          </p:nvSpPr>
          <p:spPr>
            <a:xfrm>
              <a:off x="3098563" y="2069558"/>
              <a:ext cx="1175252" cy="567354"/>
            </a:xfrm>
            <a:prstGeom prst="roundRect">
              <a:avLst>
                <a:gd name="adj" fmla="val 8796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금일 평균 체류시간</a:t>
              </a:r>
            </a:p>
          </p:txBody>
        </p:sp>
      </p:grp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26E25D31-75AE-4C8B-94C8-A8DA44778E36}"/>
              </a:ext>
            </a:extLst>
          </p:cNvPr>
          <p:cNvSpPr/>
          <p:nvPr/>
        </p:nvSpPr>
        <p:spPr>
          <a:xfrm>
            <a:off x="4892710" y="2186291"/>
            <a:ext cx="1077977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.5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76" name="직사각형 175">
            <a:extLst>
              <a:ext uri="{FF2B5EF4-FFF2-40B4-BE49-F238E27FC236}">
                <a16:creationId xmlns:a16="http://schemas.microsoft.com/office/drawing/2014/main" id="{F32A3F70-D1D0-497F-806C-E8591FDE9A2C}"/>
              </a:ext>
            </a:extLst>
          </p:cNvPr>
          <p:cNvSpPr/>
          <p:nvPr/>
        </p:nvSpPr>
        <p:spPr>
          <a:xfrm>
            <a:off x="6114935" y="2186291"/>
            <a:ext cx="1077977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4.9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</a:t>
            </a:r>
            <a:endParaRPr kumimoji="0" lang="ko-KR" altLang="en-US" sz="16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4" name="직사각형 243">
            <a:extLst>
              <a:ext uri="{FF2B5EF4-FFF2-40B4-BE49-F238E27FC236}">
                <a16:creationId xmlns:a16="http://schemas.microsoft.com/office/drawing/2014/main" id="{32291267-8643-488F-9EAA-706BE9D27B35}"/>
              </a:ext>
            </a:extLst>
          </p:cNvPr>
          <p:cNvSpPr/>
          <p:nvPr/>
        </p:nvSpPr>
        <p:spPr>
          <a:xfrm>
            <a:off x="7224822" y="2186291"/>
            <a:ext cx="1449984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sng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5.2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분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709C2F96-BFE6-4421-A06D-A2ACCD743990}"/>
              </a:ext>
            </a:extLst>
          </p:cNvPr>
          <p:cNvSpPr txBox="1"/>
          <p:nvPr/>
        </p:nvSpPr>
        <p:spPr>
          <a:xfrm>
            <a:off x="695400" y="2553083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최근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5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일 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이탈율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추이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23.08.09 ~ 23.08.24)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ACFA8C8E-4C71-4C50-B2BE-B61B149A2228}"/>
              </a:ext>
            </a:extLst>
          </p:cNvPr>
          <p:cNvSpPr txBox="1"/>
          <p:nvPr/>
        </p:nvSpPr>
        <p:spPr>
          <a:xfrm>
            <a:off x="771184" y="3376396"/>
            <a:ext cx="366863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09   10   11   12   13   14   15   16   17   18   19   20   21   22   23   24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pSp>
        <p:nvGrpSpPr>
          <p:cNvPr id="248" name="그룹 247">
            <a:extLst>
              <a:ext uri="{FF2B5EF4-FFF2-40B4-BE49-F238E27FC236}">
                <a16:creationId xmlns:a16="http://schemas.microsoft.com/office/drawing/2014/main" id="{04FF4FC7-2AF7-408A-ADFA-E8CFBA8A41B7}"/>
              </a:ext>
            </a:extLst>
          </p:cNvPr>
          <p:cNvGrpSpPr/>
          <p:nvPr/>
        </p:nvGrpSpPr>
        <p:grpSpPr>
          <a:xfrm>
            <a:off x="766474" y="3181802"/>
            <a:ext cx="3668632" cy="175089"/>
            <a:chOff x="766474" y="5204295"/>
            <a:chExt cx="3668632" cy="516156"/>
          </a:xfrm>
        </p:grpSpPr>
        <p:cxnSp>
          <p:nvCxnSpPr>
            <p:cNvPr id="249" name="직선 연결선 248">
              <a:extLst>
                <a:ext uri="{FF2B5EF4-FFF2-40B4-BE49-F238E27FC236}">
                  <a16:creationId xmlns:a16="http://schemas.microsoft.com/office/drawing/2014/main" id="{4F558A9C-23F1-4BE7-AA2F-A516F7495CFE}"/>
                </a:ext>
              </a:extLst>
            </p:cNvPr>
            <p:cNvCxnSpPr/>
            <p:nvPr/>
          </p:nvCxnSpPr>
          <p:spPr>
            <a:xfrm>
              <a:off x="766474" y="5717106"/>
              <a:ext cx="3668632" cy="0"/>
            </a:xfrm>
            <a:prstGeom prst="line">
              <a:avLst/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250" name="직사각형 249">
              <a:extLst>
                <a:ext uri="{FF2B5EF4-FFF2-40B4-BE49-F238E27FC236}">
                  <a16:creationId xmlns:a16="http://schemas.microsoft.com/office/drawing/2014/main" id="{AFBE0C2B-6691-497D-80A2-AA494B121D8A}"/>
                </a:ext>
              </a:extLst>
            </p:cNvPr>
            <p:cNvSpPr/>
            <p:nvPr/>
          </p:nvSpPr>
          <p:spPr>
            <a:xfrm>
              <a:off x="867056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750E901C-8405-415B-BE14-0638806B3AAA}"/>
                </a:ext>
              </a:extLst>
            </p:cNvPr>
            <p:cNvSpPr/>
            <p:nvPr/>
          </p:nvSpPr>
          <p:spPr>
            <a:xfrm>
              <a:off x="1105638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4D0BF2B3-36A6-4552-B966-17E53F489E6F}"/>
                </a:ext>
              </a:extLst>
            </p:cNvPr>
            <p:cNvSpPr/>
            <p:nvPr/>
          </p:nvSpPr>
          <p:spPr>
            <a:xfrm>
              <a:off x="1325294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53" name="직사각형 252">
              <a:extLst>
                <a:ext uri="{FF2B5EF4-FFF2-40B4-BE49-F238E27FC236}">
                  <a16:creationId xmlns:a16="http://schemas.microsoft.com/office/drawing/2014/main" id="{5ADF6400-596C-4EA2-947A-826A85D441C6}"/>
                </a:ext>
              </a:extLst>
            </p:cNvPr>
            <p:cNvSpPr/>
            <p:nvPr/>
          </p:nvSpPr>
          <p:spPr>
            <a:xfrm>
              <a:off x="1554598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54" name="직사각형 253">
              <a:extLst>
                <a:ext uri="{FF2B5EF4-FFF2-40B4-BE49-F238E27FC236}">
                  <a16:creationId xmlns:a16="http://schemas.microsoft.com/office/drawing/2014/main" id="{798A778B-3573-4255-9C05-292F263DA056}"/>
                </a:ext>
              </a:extLst>
            </p:cNvPr>
            <p:cNvSpPr/>
            <p:nvPr/>
          </p:nvSpPr>
          <p:spPr>
            <a:xfrm>
              <a:off x="1790451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55" name="직사각형 254">
              <a:extLst>
                <a:ext uri="{FF2B5EF4-FFF2-40B4-BE49-F238E27FC236}">
                  <a16:creationId xmlns:a16="http://schemas.microsoft.com/office/drawing/2014/main" id="{A57D03D1-7FFD-4C5F-AAF4-EF8015E92D35}"/>
                </a:ext>
              </a:extLst>
            </p:cNvPr>
            <p:cNvSpPr/>
            <p:nvPr/>
          </p:nvSpPr>
          <p:spPr>
            <a:xfrm>
              <a:off x="2012836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56" name="직사각형 255">
              <a:extLst>
                <a:ext uri="{FF2B5EF4-FFF2-40B4-BE49-F238E27FC236}">
                  <a16:creationId xmlns:a16="http://schemas.microsoft.com/office/drawing/2014/main" id="{34E28A54-A06D-4804-ADA2-82B3CF8281B5}"/>
                </a:ext>
              </a:extLst>
            </p:cNvPr>
            <p:cNvSpPr/>
            <p:nvPr/>
          </p:nvSpPr>
          <p:spPr>
            <a:xfrm>
              <a:off x="2216672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57" name="직사각형 256">
              <a:extLst>
                <a:ext uri="{FF2B5EF4-FFF2-40B4-BE49-F238E27FC236}">
                  <a16:creationId xmlns:a16="http://schemas.microsoft.com/office/drawing/2014/main" id="{5C2D76DC-285E-4E7C-92B1-D64DF8354B12}"/>
                </a:ext>
              </a:extLst>
            </p:cNvPr>
            <p:cNvSpPr/>
            <p:nvPr/>
          </p:nvSpPr>
          <p:spPr>
            <a:xfrm>
              <a:off x="2455254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58" name="직사각형 257">
              <a:extLst>
                <a:ext uri="{FF2B5EF4-FFF2-40B4-BE49-F238E27FC236}">
                  <a16:creationId xmlns:a16="http://schemas.microsoft.com/office/drawing/2014/main" id="{22C8C8D1-C74E-47E6-A2C4-D2777B6AF9DD}"/>
                </a:ext>
              </a:extLst>
            </p:cNvPr>
            <p:cNvSpPr/>
            <p:nvPr/>
          </p:nvSpPr>
          <p:spPr>
            <a:xfrm>
              <a:off x="2674910" y="5204295"/>
              <a:ext cx="108000" cy="5161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59" name="직사각형 258">
              <a:extLst>
                <a:ext uri="{FF2B5EF4-FFF2-40B4-BE49-F238E27FC236}">
                  <a16:creationId xmlns:a16="http://schemas.microsoft.com/office/drawing/2014/main" id="{C067551A-787E-4E0A-8EDA-B04EA206B60F}"/>
                </a:ext>
              </a:extLst>
            </p:cNvPr>
            <p:cNvSpPr/>
            <p:nvPr/>
          </p:nvSpPr>
          <p:spPr>
            <a:xfrm>
              <a:off x="2884742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60" name="직사각형 259">
              <a:extLst>
                <a:ext uri="{FF2B5EF4-FFF2-40B4-BE49-F238E27FC236}">
                  <a16:creationId xmlns:a16="http://schemas.microsoft.com/office/drawing/2014/main" id="{8DED6501-DC5B-48DF-824D-6108C5A5394C}"/>
                </a:ext>
              </a:extLst>
            </p:cNvPr>
            <p:cNvSpPr/>
            <p:nvPr/>
          </p:nvSpPr>
          <p:spPr>
            <a:xfrm>
              <a:off x="3120595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61" name="직사각형 260">
              <a:extLst>
                <a:ext uri="{FF2B5EF4-FFF2-40B4-BE49-F238E27FC236}">
                  <a16:creationId xmlns:a16="http://schemas.microsoft.com/office/drawing/2014/main" id="{991256D6-595E-4D60-AFD1-F1E2A3BAB98A}"/>
                </a:ext>
              </a:extLst>
            </p:cNvPr>
            <p:cNvSpPr/>
            <p:nvPr/>
          </p:nvSpPr>
          <p:spPr>
            <a:xfrm>
              <a:off x="3342980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62" name="직사각형 261">
              <a:extLst>
                <a:ext uri="{FF2B5EF4-FFF2-40B4-BE49-F238E27FC236}">
                  <a16:creationId xmlns:a16="http://schemas.microsoft.com/office/drawing/2014/main" id="{AEDE8DFF-C955-485C-9E0D-9DFE425BC323}"/>
                </a:ext>
              </a:extLst>
            </p:cNvPr>
            <p:cNvSpPr/>
            <p:nvPr/>
          </p:nvSpPr>
          <p:spPr>
            <a:xfrm>
              <a:off x="3540522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63" name="직사각형 262">
              <a:extLst>
                <a:ext uri="{FF2B5EF4-FFF2-40B4-BE49-F238E27FC236}">
                  <a16:creationId xmlns:a16="http://schemas.microsoft.com/office/drawing/2014/main" id="{B9E3D154-DBA1-490B-AD81-B65E323806BE}"/>
                </a:ext>
              </a:extLst>
            </p:cNvPr>
            <p:cNvSpPr/>
            <p:nvPr/>
          </p:nvSpPr>
          <p:spPr>
            <a:xfrm>
              <a:off x="3755752" y="5261453"/>
              <a:ext cx="108000" cy="4589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64" name="직사각형 263">
              <a:extLst>
                <a:ext uri="{FF2B5EF4-FFF2-40B4-BE49-F238E27FC236}">
                  <a16:creationId xmlns:a16="http://schemas.microsoft.com/office/drawing/2014/main" id="{389350F0-0F34-4426-AC1D-306FEFB51026}"/>
                </a:ext>
              </a:extLst>
            </p:cNvPr>
            <p:cNvSpPr/>
            <p:nvPr/>
          </p:nvSpPr>
          <p:spPr>
            <a:xfrm>
              <a:off x="3978137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65" name="직사각형 264">
              <a:extLst>
                <a:ext uri="{FF2B5EF4-FFF2-40B4-BE49-F238E27FC236}">
                  <a16:creationId xmlns:a16="http://schemas.microsoft.com/office/drawing/2014/main" id="{ACECB7FA-2D79-4852-B5AF-C0930F7FCF15}"/>
                </a:ext>
              </a:extLst>
            </p:cNvPr>
            <p:cNvSpPr/>
            <p:nvPr/>
          </p:nvSpPr>
          <p:spPr>
            <a:xfrm>
              <a:off x="4198170" y="5276683"/>
              <a:ext cx="108000" cy="4437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266" name="TextBox 265">
            <a:extLst>
              <a:ext uri="{FF2B5EF4-FFF2-40B4-BE49-F238E27FC236}">
                <a16:creationId xmlns:a16="http://schemas.microsoft.com/office/drawing/2014/main" id="{D0D0EA8B-5971-4125-AA74-072DF1CB25B7}"/>
              </a:ext>
            </a:extLst>
          </p:cNvPr>
          <p:cNvSpPr txBox="1"/>
          <p:nvPr/>
        </p:nvSpPr>
        <p:spPr>
          <a:xfrm>
            <a:off x="4797416" y="2553083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최근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5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일 세션 당 페이지 수 추이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23.08.09 ~ 23.08.24)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D2AD7922-9DC9-44DE-911C-4E966ED4AF0D}"/>
              </a:ext>
            </a:extLst>
          </p:cNvPr>
          <p:cNvSpPr txBox="1"/>
          <p:nvPr/>
        </p:nvSpPr>
        <p:spPr>
          <a:xfrm>
            <a:off x="2805770" y="3036426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9.7%</a:t>
            </a: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C5D81BFB-6379-4F77-B938-B5C70CE30A44}"/>
              </a:ext>
            </a:extLst>
          </p:cNvPr>
          <p:cNvSpPr txBox="1"/>
          <p:nvPr/>
        </p:nvSpPr>
        <p:spPr>
          <a:xfrm>
            <a:off x="4062842" y="3036426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5.8%</a:t>
            </a:r>
            <a:endParaRPr kumimoji="0" lang="ko-KR" altLang="en-US" sz="700" b="1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E58D300D-610B-44FD-96A2-881644FB0FA9}"/>
              </a:ext>
            </a:extLst>
          </p:cNvPr>
          <p:cNvSpPr txBox="1"/>
          <p:nvPr/>
        </p:nvSpPr>
        <p:spPr>
          <a:xfrm>
            <a:off x="4947320" y="3376396"/>
            <a:ext cx="366863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09   10   11   12   13   14   15   16   17   18   19   20   21   22   23   24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pSp>
        <p:nvGrpSpPr>
          <p:cNvPr id="293" name="그룹 292">
            <a:extLst>
              <a:ext uri="{FF2B5EF4-FFF2-40B4-BE49-F238E27FC236}">
                <a16:creationId xmlns:a16="http://schemas.microsoft.com/office/drawing/2014/main" id="{51780640-5742-4C47-B525-DC581C0CDE43}"/>
              </a:ext>
            </a:extLst>
          </p:cNvPr>
          <p:cNvGrpSpPr/>
          <p:nvPr/>
        </p:nvGrpSpPr>
        <p:grpSpPr>
          <a:xfrm>
            <a:off x="4942610" y="2994538"/>
            <a:ext cx="3668632" cy="362353"/>
            <a:chOff x="766474" y="5204295"/>
            <a:chExt cx="3668632" cy="516156"/>
          </a:xfrm>
        </p:grpSpPr>
        <p:cxnSp>
          <p:nvCxnSpPr>
            <p:cNvPr id="294" name="직선 연결선 293">
              <a:extLst>
                <a:ext uri="{FF2B5EF4-FFF2-40B4-BE49-F238E27FC236}">
                  <a16:creationId xmlns:a16="http://schemas.microsoft.com/office/drawing/2014/main" id="{104F69C8-356D-4D23-BF5C-45A08FD47F5A}"/>
                </a:ext>
              </a:extLst>
            </p:cNvPr>
            <p:cNvCxnSpPr/>
            <p:nvPr/>
          </p:nvCxnSpPr>
          <p:spPr>
            <a:xfrm>
              <a:off x="766474" y="5717106"/>
              <a:ext cx="3668632" cy="0"/>
            </a:xfrm>
            <a:prstGeom prst="line">
              <a:avLst/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295" name="직사각형 294">
              <a:extLst>
                <a:ext uri="{FF2B5EF4-FFF2-40B4-BE49-F238E27FC236}">
                  <a16:creationId xmlns:a16="http://schemas.microsoft.com/office/drawing/2014/main" id="{54C64C1F-3E6B-42F0-839E-C3B726734760}"/>
                </a:ext>
              </a:extLst>
            </p:cNvPr>
            <p:cNvSpPr/>
            <p:nvPr/>
          </p:nvSpPr>
          <p:spPr>
            <a:xfrm>
              <a:off x="867056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96" name="직사각형 295">
              <a:extLst>
                <a:ext uri="{FF2B5EF4-FFF2-40B4-BE49-F238E27FC236}">
                  <a16:creationId xmlns:a16="http://schemas.microsoft.com/office/drawing/2014/main" id="{47ACC040-2A35-4207-AFD6-AC1B7A350590}"/>
                </a:ext>
              </a:extLst>
            </p:cNvPr>
            <p:cNvSpPr/>
            <p:nvPr/>
          </p:nvSpPr>
          <p:spPr>
            <a:xfrm>
              <a:off x="1105638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97" name="직사각형 296">
              <a:extLst>
                <a:ext uri="{FF2B5EF4-FFF2-40B4-BE49-F238E27FC236}">
                  <a16:creationId xmlns:a16="http://schemas.microsoft.com/office/drawing/2014/main" id="{B1B55CB7-BA8D-4693-8DD5-A1CCDF4298DE}"/>
                </a:ext>
              </a:extLst>
            </p:cNvPr>
            <p:cNvSpPr/>
            <p:nvPr/>
          </p:nvSpPr>
          <p:spPr>
            <a:xfrm>
              <a:off x="1325294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98" name="직사각형 297">
              <a:extLst>
                <a:ext uri="{FF2B5EF4-FFF2-40B4-BE49-F238E27FC236}">
                  <a16:creationId xmlns:a16="http://schemas.microsoft.com/office/drawing/2014/main" id="{AC8F0676-2822-4CD3-9777-615724B86ADF}"/>
                </a:ext>
              </a:extLst>
            </p:cNvPr>
            <p:cNvSpPr/>
            <p:nvPr/>
          </p:nvSpPr>
          <p:spPr>
            <a:xfrm>
              <a:off x="1554598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99" name="직사각형 298">
              <a:extLst>
                <a:ext uri="{FF2B5EF4-FFF2-40B4-BE49-F238E27FC236}">
                  <a16:creationId xmlns:a16="http://schemas.microsoft.com/office/drawing/2014/main" id="{5BF13340-DC12-4AAD-BFD1-FA6385D81CFC}"/>
                </a:ext>
              </a:extLst>
            </p:cNvPr>
            <p:cNvSpPr/>
            <p:nvPr/>
          </p:nvSpPr>
          <p:spPr>
            <a:xfrm>
              <a:off x="1790451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00" name="직사각형 299">
              <a:extLst>
                <a:ext uri="{FF2B5EF4-FFF2-40B4-BE49-F238E27FC236}">
                  <a16:creationId xmlns:a16="http://schemas.microsoft.com/office/drawing/2014/main" id="{856F3306-CC12-41EA-87E0-2E1DBBCE6CA6}"/>
                </a:ext>
              </a:extLst>
            </p:cNvPr>
            <p:cNvSpPr/>
            <p:nvPr/>
          </p:nvSpPr>
          <p:spPr>
            <a:xfrm>
              <a:off x="2012836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01" name="직사각형 300">
              <a:extLst>
                <a:ext uri="{FF2B5EF4-FFF2-40B4-BE49-F238E27FC236}">
                  <a16:creationId xmlns:a16="http://schemas.microsoft.com/office/drawing/2014/main" id="{E46F0B09-E631-402F-B239-274D1C380D8F}"/>
                </a:ext>
              </a:extLst>
            </p:cNvPr>
            <p:cNvSpPr/>
            <p:nvPr/>
          </p:nvSpPr>
          <p:spPr>
            <a:xfrm>
              <a:off x="2216672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02" name="직사각형 301">
              <a:extLst>
                <a:ext uri="{FF2B5EF4-FFF2-40B4-BE49-F238E27FC236}">
                  <a16:creationId xmlns:a16="http://schemas.microsoft.com/office/drawing/2014/main" id="{A67AFC69-F75B-4255-959F-FD6DC869FDB3}"/>
                </a:ext>
              </a:extLst>
            </p:cNvPr>
            <p:cNvSpPr/>
            <p:nvPr/>
          </p:nvSpPr>
          <p:spPr>
            <a:xfrm>
              <a:off x="2455254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03" name="직사각형 302">
              <a:extLst>
                <a:ext uri="{FF2B5EF4-FFF2-40B4-BE49-F238E27FC236}">
                  <a16:creationId xmlns:a16="http://schemas.microsoft.com/office/drawing/2014/main" id="{BECB8032-436B-4AE0-AE14-FA1D83843205}"/>
                </a:ext>
              </a:extLst>
            </p:cNvPr>
            <p:cNvSpPr/>
            <p:nvPr/>
          </p:nvSpPr>
          <p:spPr>
            <a:xfrm>
              <a:off x="2674910" y="5204295"/>
              <a:ext cx="108000" cy="5161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04" name="직사각형 303">
              <a:extLst>
                <a:ext uri="{FF2B5EF4-FFF2-40B4-BE49-F238E27FC236}">
                  <a16:creationId xmlns:a16="http://schemas.microsoft.com/office/drawing/2014/main" id="{50348F50-5ACB-422D-A627-6F3666C12D1D}"/>
                </a:ext>
              </a:extLst>
            </p:cNvPr>
            <p:cNvSpPr/>
            <p:nvPr/>
          </p:nvSpPr>
          <p:spPr>
            <a:xfrm>
              <a:off x="2884742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05" name="직사각형 304">
              <a:extLst>
                <a:ext uri="{FF2B5EF4-FFF2-40B4-BE49-F238E27FC236}">
                  <a16:creationId xmlns:a16="http://schemas.microsoft.com/office/drawing/2014/main" id="{DF96701C-CA3A-493C-9053-CBF6641401ED}"/>
                </a:ext>
              </a:extLst>
            </p:cNvPr>
            <p:cNvSpPr/>
            <p:nvPr/>
          </p:nvSpPr>
          <p:spPr>
            <a:xfrm>
              <a:off x="3120595" y="5348692"/>
              <a:ext cx="108000" cy="3717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06" name="직사각형 305">
              <a:extLst>
                <a:ext uri="{FF2B5EF4-FFF2-40B4-BE49-F238E27FC236}">
                  <a16:creationId xmlns:a16="http://schemas.microsoft.com/office/drawing/2014/main" id="{53ADACD7-27CF-440C-9BC5-439A2E29EB0B}"/>
                </a:ext>
              </a:extLst>
            </p:cNvPr>
            <p:cNvSpPr/>
            <p:nvPr/>
          </p:nvSpPr>
          <p:spPr>
            <a:xfrm>
              <a:off x="3342980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07" name="직사각형 306">
              <a:extLst>
                <a:ext uri="{FF2B5EF4-FFF2-40B4-BE49-F238E27FC236}">
                  <a16:creationId xmlns:a16="http://schemas.microsoft.com/office/drawing/2014/main" id="{58119695-3931-43B9-814E-47ED7CE8B3CB}"/>
                </a:ext>
              </a:extLst>
            </p:cNvPr>
            <p:cNvSpPr/>
            <p:nvPr/>
          </p:nvSpPr>
          <p:spPr>
            <a:xfrm>
              <a:off x="3540522" y="5396450"/>
              <a:ext cx="108000" cy="32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08" name="직사각형 307">
              <a:extLst>
                <a:ext uri="{FF2B5EF4-FFF2-40B4-BE49-F238E27FC236}">
                  <a16:creationId xmlns:a16="http://schemas.microsoft.com/office/drawing/2014/main" id="{2093B930-18D2-4A95-B7C7-7FE6C7549134}"/>
                </a:ext>
              </a:extLst>
            </p:cNvPr>
            <p:cNvSpPr/>
            <p:nvPr/>
          </p:nvSpPr>
          <p:spPr>
            <a:xfrm>
              <a:off x="3755752" y="5261453"/>
              <a:ext cx="108000" cy="45899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09" name="직사각형 308">
              <a:extLst>
                <a:ext uri="{FF2B5EF4-FFF2-40B4-BE49-F238E27FC236}">
                  <a16:creationId xmlns:a16="http://schemas.microsoft.com/office/drawing/2014/main" id="{62891CEE-71FD-4445-8532-2B1B43451D82}"/>
                </a:ext>
              </a:extLst>
            </p:cNvPr>
            <p:cNvSpPr/>
            <p:nvPr/>
          </p:nvSpPr>
          <p:spPr>
            <a:xfrm>
              <a:off x="3978137" y="5320499"/>
              <a:ext cx="108000" cy="39995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310" name="직사각형 309">
              <a:extLst>
                <a:ext uri="{FF2B5EF4-FFF2-40B4-BE49-F238E27FC236}">
                  <a16:creationId xmlns:a16="http://schemas.microsoft.com/office/drawing/2014/main" id="{83520E22-143A-45B3-9288-55E25D6BAF7D}"/>
                </a:ext>
              </a:extLst>
            </p:cNvPr>
            <p:cNvSpPr/>
            <p:nvPr/>
          </p:nvSpPr>
          <p:spPr>
            <a:xfrm>
              <a:off x="4198170" y="5276683"/>
              <a:ext cx="108000" cy="4437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7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311" name="TextBox 310">
            <a:extLst>
              <a:ext uri="{FF2B5EF4-FFF2-40B4-BE49-F238E27FC236}">
                <a16:creationId xmlns:a16="http://schemas.microsoft.com/office/drawing/2014/main" id="{71FCD088-4B08-411F-928F-6E1DF2C952CB}"/>
              </a:ext>
            </a:extLst>
          </p:cNvPr>
          <p:cNvSpPr txBox="1"/>
          <p:nvPr/>
        </p:nvSpPr>
        <p:spPr>
          <a:xfrm>
            <a:off x="6981906" y="2829927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8.7</a:t>
            </a:r>
            <a:r>
              <a:rPr kumimoji="0" lang="ko-KR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분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401E9B96-4689-48E6-8AF8-ECC06C48E5DF}"/>
              </a:ext>
            </a:extLst>
          </p:cNvPr>
          <p:cNvSpPr txBox="1"/>
          <p:nvPr/>
        </p:nvSpPr>
        <p:spPr>
          <a:xfrm>
            <a:off x="8238978" y="2829927"/>
            <a:ext cx="29361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ko-KR" sz="7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5.2</a:t>
            </a:r>
            <a:r>
              <a:rPr kumimoji="0" lang="ko-KR" alt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분</a:t>
            </a:r>
          </a:p>
        </p:txBody>
      </p:sp>
      <p:sp>
        <p:nvSpPr>
          <p:cNvPr id="313" name="사각형: 둥근 모서리 312">
            <a:extLst>
              <a:ext uri="{FF2B5EF4-FFF2-40B4-BE49-F238E27FC236}">
                <a16:creationId xmlns:a16="http://schemas.microsoft.com/office/drawing/2014/main" id="{699444B5-1D65-423B-9F9D-F3754E3EF777}"/>
              </a:ext>
            </a:extLst>
          </p:cNvPr>
          <p:cNvSpPr/>
          <p:nvPr/>
        </p:nvSpPr>
        <p:spPr>
          <a:xfrm>
            <a:off x="623390" y="3915958"/>
            <a:ext cx="8051415" cy="2141115"/>
          </a:xfrm>
          <a:prstGeom prst="roundRect">
            <a:avLst>
              <a:gd name="adj" fmla="val 449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0000" bIns="360000" rtlCol="0" anchor="ctr" anchorCtr="0"/>
          <a:lstStyle/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  <a:p>
            <a:pPr marL="0" marR="0" lvl="0" indent="0" algn="l" defTabSz="977172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314" name="직사각형 313">
            <a:extLst>
              <a:ext uri="{FF2B5EF4-FFF2-40B4-BE49-F238E27FC236}">
                <a16:creationId xmlns:a16="http://schemas.microsoft.com/office/drawing/2014/main" id="{70A9EFF0-BF6C-4C84-BCB7-269C66AA260C}"/>
              </a:ext>
            </a:extLst>
          </p:cNvPr>
          <p:cNvSpPr/>
          <p:nvPr/>
        </p:nvSpPr>
        <p:spPr>
          <a:xfrm>
            <a:off x="623391" y="3961220"/>
            <a:ext cx="2605203" cy="27989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Top 10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페이지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(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최근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개월 누적 조회 수 기준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)</a:t>
            </a:r>
            <a:endParaRPr kumimoji="0" lang="ko-KR" altLang="en-US" sz="1100" b="0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315" name="직선 연결선 314">
            <a:extLst>
              <a:ext uri="{FF2B5EF4-FFF2-40B4-BE49-F238E27FC236}">
                <a16:creationId xmlns:a16="http://schemas.microsoft.com/office/drawing/2014/main" id="{97625D4F-D369-424D-AF22-F6A2E00E83C6}"/>
              </a:ext>
            </a:extLst>
          </p:cNvPr>
          <p:cNvCxnSpPr>
            <a:cxnSpLocks/>
          </p:cNvCxnSpPr>
          <p:nvPr/>
        </p:nvCxnSpPr>
        <p:spPr>
          <a:xfrm>
            <a:off x="703557" y="4249048"/>
            <a:ext cx="7857785" cy="0"/>
          </a:xfrm>
          <a:prstGeom prst="line">
            <a:avLst/>
          </a:prstGeom>
          <a:ln w="12700" cap="sq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316" name="직사각형 315">
            <a:extLst>
              <a:ext uri="{FF2B5EF4-FFF2-40B4-BE49-F238E27FC236}">
                <a16:creationId xmlns:a16="http://schemas.microsoft.com/office/drawing/2014/main" id="{21CD7682-6A30-4E43-85B2-F529F9FF9145}"/>
              </a:ext>
            </a:extLst>
          </p:cNvPr>
          <p:cNvSpPr/>
          <p:nvPr/>
        </p:nvSpPr>
        <p:spPr>
          <a:xfrm>
            <a:off x="5462739" y="4032721"/>
            <a:ext cx="2003906" cy="17508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기준일시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: 2023-09-28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목요일 </a:t>
            </a:r>
            <a:r>
              <a:rPr kumimoji="0" lang="en-US" altLang="ko-KR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##:##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D8A67F52-000F-4637-8F37-B3D37287300F}"/>
              </a:ext>
            </a:extLst>
          </p:cNvPr>
          <p:cNvSpPr/>
          <p:nvPr/>
        </p:nvSpPr>
        <p:spPr>
          <a:xfrm>
            <a:off x="867056" y="4356148"/>
            <a:ext cx="144000" cy="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17" name="직사각형 316">
            <a:extLst>
              <a:ext uri="{FF2B5EF4-FFF2-40B4-BE49-F238E27FC236}">
                <a16:creationId xmlns:a16="http://schemas.microsoft.com/office/drawing/2014/main" id="{107ED65A-7803-44FC-8273-363C8F868D0E}"/>
              </a:ext>
            </a:extLst>
          </p:cNvPr>
          <p:cNvSpPr/>
          <p:nvPr/>
        </p:nvSpPr>
        <p:spPr>
          <a:xfrm>
            <a:off x="867056" y="4708535"/>
            <a:ext cx="144000" cy="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18" name="직사각형 317">
            <a:extLst>
              <a:ext uri="{FF2B5EF4-FFF2-40B4-BE49-F238E27FC236}">
                <a16:creationId xmlns:a16="http://schemas.microsoft.com/office/drawing/2014/main" id="{A695CE4F-C8B3-4871-A2AD-0A4D9B08A73D}"/>
              </a:ext>
            </a:extLst>
          </p:cNvPr>
          <p:cNvSpPr/>
          <p:nvPr/>
        </p:nvSpPr>
        <p:spPr>
          <a:xfrm>
            <a:off x="867056" y="5060922"/>
            <a:ext cx="144000" cy="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3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19" name="직사각형 318">
            <a:extLst>
              <a:ext uri="{FF2B5EF4-FFF2-40B4-BE49-F238E27FC236}">
                <a16:creationId xmlns:a16="http://schemas.microsoft.com/office/drawing/2014/main" id="{CEFA972F-9680-4F92-A9D9-35CD46C13CC4}"/>
              </a:ext>
            </a:extLst>
          </p:cNvPr>
          <p:cNvSpPr/>
          <p:nvPr/>
        </p:nvSpPr>
        <p:spPr>
          <a:xfrm>
            <a:off x="867056" y="5413309"/>
            <a:ext cx="144000" cy="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4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20" name="직사각형 319">
            <a:extLst>
              <a:ext uri="{FF2B5EF4-FFF2-40B4-BE49-F238E27FC236}">
                <a16:creationId xmlns:a16="http://schemas.microsoft.com/office/drawing/2014/main" id="{4DDCF958-C0C8-49BC-BA6E-DDDD5B09DEA5}"/>
              </a:ext>
            </a:extLst>
          </p:cNvPr>
          <p:cNvSpPr/>
          <p:nvPr/>
        </p:nvSpPr>
        <p:spPr>
          <a:xfrm>
            <a:off x="867056" y="5765696"/>
            <a:ext cx="144000" cy="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5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77710E30-C2A0-47B0-B137-32665085AE52}"/>
              </a:ext>
            </a:extLst>
          </p:cNvPr>
          <p:cNvSpPr txBox="1"/>
          <p:nvPr/>
        </p:nvSpPr>
        <p:spPr>
          <a:xfrm>
            <a:off x="1011056" y="4293682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[H001]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Landing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Page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22" name="TextBox 321">
            <a:extLst>
              <a:ext uri="{FF2B5EF4-FFF2-40B4-BE49-F238E27FC236}">
                <a16:creationId xmlns:a16="http://schemas.microsoft.com/office/drawing/2014/main" id="{07FAF4F5-31DB-41C5-AECE-5FC922AF9565}"/>
              </a:ext>
            </a:extLst>
          </p:cNvPr>
          <p:cNvSpPr txBox="1"/>
          <p:nvPr/>
        </p:nvSpPr>
        <p:spPr>
          <a:xfrm>
            <a:off x="1011056" y="4647554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[H009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]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통합검색결과</a:t>
            </a: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B7CE8CE6-F5F4-42AF-9C0C-BB0A2A898D74}"/>
              </a:ext>
            </a:extLst>
          </p:cNvPr>
          <p:cNvSpPr txBox="1"/>
          <p:nvPr/>
        </p:nvSpPr>
        <p:spPr>
          <a:xfrm>
            <a:off x="1011056" y="5011068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[H014]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주요 일정 조회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6F62C837-8278-4780-BC48-92FF548499FD}"/>
              </a:ext>
            </a:extLst>
          </p:cNvPr>
          <p:cNvSpPr txBox="1"/>
          <p:nvPr/>
        </p:nvSpPr>
        <p:spPr>
          <a:xfrm>
            <a:off x="1011056" y="5368233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[P001]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SG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경영 자가진단 개요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2181D10E-6E51-4045-B70D-7D2E7835E859}"/>
              </a:ext>
            </a:extLst>
          </p:cNvPr>
          <p:cNvSpPr txBox="1"/>
          <p:nvPr/>
        </p:nvSpPr>
        <p:spPr>
          <a:xfrm>
            <a:off x="1011056" y="5703128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[L010]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문서 자료 상세</a:t>
            </a:r>
          </a:p>
        </p:txBody>
      </p:sp>
      <p:sp>
        <p:nvSpPr>
          <p:cNvPr id="326" name="직사각형 325">
            <a:extLst>
              <a:ext uri="{FF2B5EF4-FFF2-40B4-BE49-F238E27FC236}">
                <a16:creationId xmlns:a16="http://schemas.microsoft.com/office/drawing/2014/main" id="{372EC144-18FE-4358-9B59-E9284FBBB17F}"/>
              </a:ext>
            </a:extLst>
          </p:cNvPr>
          <p:cNvSpPr/>
          <p:nvPr/>
        </p:nvSpPr>
        <p:spPr>
          <a:xfrm>
            <a:off x="5007192" y="4356148"/>
            <a:ext cx="144000" cy="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6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27" name="직사각형 326">
            <a:extLst>
              <a:ext uri="{FF2B5EF4-FFF2-40B4-BE49-F238E27FC236}">
                <a16:creationId xmlns:a16="http://schemas.microsoft.com/office/drawing/2014/main" id="{904C7534-5FFF-4B13-B24D-A682AAF77D35}"/>
              </a:ext>
            </a:extLst>
          </p:cNvPr>
          <p:cNvSpPr/>
          <p:nvPr/>
        </p:nvSpPr>
        <p:spPr>
          <a:xfrm>
            <a:off x="5007192" y="4708535"/>
            <a:ext cx="144000" cy="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7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28" name="직사각형 327">
            <a:extLst>
              <a:ext uri="{FF2B5EF4-FFF2-40B4-BE49-F238E27FC236}">
                <a16:creationId xmlns:a16="http://schemas.microsoft.com/office/drawing/2014/main" id="{19577ECC-0F2B-43F0-AD9D-10BD3B628A12}"/>
              </a:ext>
            </a:extLst>
          </p:cNvPr>
          <p:cNvSpPr/>
          <p:nvPr/>
        </p:nvSpPr>
        <p:spPr>
          <a:xfrm>
            <a:off x="5007192" y="5060922"/>
            <a:ext cx="144000" cy="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8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29" name="직사각형 328">
            <a:extLst>
              <a:ext uri="{FF2B5EF4-FFF2-40B4-BE49-F238E27FC236}">
                <a16:creationId xmlns:a16="http://schemas.microsoft.com/office/drawing/2014/main" id="{7F6DC5B0-7B43-42F4-ADB1-4C9487042D06}"/>
              </a:ext>
            </a:extLst>
          </p:cNvPr>
          <p:cNvSpPr/>
          <p:nvPr/>
        </p:nvSpPr>
        <p:spPr>
          <a:xfrm>
            <a:off x="5007192" y="5413309"/>
            <a:ext cx="144000" cy="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9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30" name="직사각형 329">
            <a:extLst>
              <a:ext uri="{FF2B5EF4-FFF2-40B4-BE49-F238E27FC236}">
                <a16:creationId xmlns:a16="http://schemas.microsoft.com/office/drawing/2014/main" id="{713F9FD8-0761-40FD-8DC9-C4499F360DA8}"/>
              </a:ext>
            </a:extLst>
          </p:cNvPr>
          <p:cNvSpPr/>
          <p:nvPr/>
        </p:nvSpPr>
        <p:spPr>
          <a:xfrm>
            <a:off x="5007192" y="5765696"/>
            <a:ext cx="144000" cy="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0</a:t>
            </a:r>
            <a:endParaRPr kumimoji="0" lang="ko-KR" altLang="en-US" sz="1000" b="1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9C1BD565-AB97-4824-9DF7-CB76C0DF984A}"/>
              </a:ext>
            </a:extLst>
          </p:cNvPr>
          <p:cNvSpPr txBox="1"/>
          <p:nvPr/>
        </p:nvSpPr>
        <p:spPr>
          <a:xfrm>
            <a:off x="5159896" y="4293682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[O001] </a:t>
            </a: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큐레이션 메인 화면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698F752C-B405-4A57-BDC7-16595EE0E764}"/>
              </a:ext>
            </a:extLst>
          </p:cNvPr>
          <p:cNvSpPr txBox="1"/>
          <p:nvPr/>
        </p:nvSpPr>
        <p:spPr>
          <a:xfrm>
            <a:off x="5159896" y="4644095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…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2CD8978D-5BD7-43FA-B974-272D05E1A9C0}"/>
              </a:ext>
            </a:extLst>
          </p:cNvPr>
          <p:cNvSpPr txBox="1"/>
          <p:nvPr/>
        </p:nvSpPr>
        <p:spPr>
          <a:xfrm>
            <a:off x="5159896" y="5024408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…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6DBAFE24-E791-44BE-9EE8-E7F433913EAC}"/>
              </a:ext>
            </a:extLst>
          </p:cNvPr>
          <p:cNvSpPr txBox="1"/>
          <p:nvPr/>
        </p:nvSpPr>
        <p:spPr>
          <a:xfrm>
            <a:off x="5159896" y="5369893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…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7B27DAA1-54AC-490C-A442-ECF6DF1B8B8E}"/>
              </a:ext>
            </a:extLst>
          </p:cNvPr>
          <p:cNvSpPr txBox="1"/>
          <p:nvPr/>
        </p:nvSpPr>
        <p:spPr>
          <a:xfrm>
            <a:off x="5159896" y="5725540"/>
            <a:ext cx="316835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…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36" name="사각형: 둥근 모서리 335">
            <a:extLst>
              <a:ext uri="{FF2B5EF4-FFF2-40B4-BE49-F238E27FC236}">
                <a16:creationId xmlns:a16="http://schemas.microsoft.com/office/drawing/2014/main" id="{41363568-4EA0-4053-A600-34BFE7282B2F}"/>
              </a:ext>
            </a:extLst>
          </p:cNvPr>
          <p:cNvSpPr/>
          <p:nvPr/>
        </p:nvSpPr>
        <p:spPr>
          <a:xfrm>
            <a:off x="3359696" y="4356148"/>
            <a:ext cx="792000" cy="144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5,342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37" name="사각형: 둥근 모서리 336">
            <a:extLst>
              <a:ext uri="{FF2B5EF4-FFF2-40B4-BE49-F238E27FC236}">
                <a16:creationId xmlns:a16="http://schemas.microsoft.com/office/drawing/2014/main" id="{6BF577C4-510D-4693-BD23-FAC3987845A9}"/>
              </a:ext>
            </a:extLst>
          </p:cNvPr>
          <p:cNvSpPr/>
          <p:nvPr/>
        </p:nvSpPr>
        <p:spPr>
          <a:xfrm>
            <a:off x="3359696" y="4708535"/>
            <a:ext cx="792000" cy="144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7,542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38" name="사각형: 둥근 모서리 337">
            <a:extLst>
              <a:ext uri="{FF2B5EF4-FFF2-40B4-BE49-F238E27FC236}">
                <a16:creationId xmlns:a16="http://schemas.microsoft.com/office/drawing/2014/main" id="{A078230A-BA4C-406E-A4BD-888A5BB1896A}"/>
              </a:ext>
            </a:extLst>
          </p:cNvPr>
          <p:cNvSpPr/>
          <p:nvPr/>
        </p:nvSpPr>
        <p:spPr>
          <a:xfrm>
            <a:off x="3359696" y="5060922"/>
            <a:ext cx="792000" cy="144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,###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39" name="사각형: 둥근 모서리 338">
            <a:extLst>
              <a:ext uri="{FF2B5EF4-FFF2-40B4-BE49-F238E27FC236}">
                <a16:creationId xmlns:a16="http://schemas.microsoft.com/office/drawing/2014/main" id="{59532609-786F-4F1A-801F-A6D24DCC164B}"/>
              </a:ext>
            </a:extLst>
          </p:cNvPr>
          <p:cNvSpPr/>
          <p:nvPr/>
        </p:nvSpPr>
        <p:spPr>
          <a:xfrm>
            <a:off x="3359696" y="5413309"/>
            <a:ext cx="792000" cy="144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,###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0" name="사각형: 둥근 모서리 339">
            <a:extLst>
              <a:ext uri="{FF2B5EF4-FFF2-40B4-BE49-F238E27FC236}">
                <a16:creationId xmlns:a16="http://schemas.microsoft.com/office/drawing/2014/main" id="{4E0048CA-EBDE-4583-BDCE-AF3115A61CCC}"/>
              </a:ext>
            </a:extLst>
          </p:cNvPr>
          <p:cNvSpPr/>
          <p:nvPr/>
        </p:nvSpPr>
        <p:spPr>
          <a:xfrm>
            <a:off x="3359696" y="5765696"/>
            <a:ext cx="792000" cy="144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,###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1" name="사각형: 둥근 모서리 340">
            <a:extLst>
              <a:ext uri="{FF2B5EF4-FFF2-40B4-BE49-F238E27FC236}">
                <a16:creationId xmlns:a16="http://schemas.microsoft.com/office/drawing/2014/main" id="{1BEF561B-AC90-484F-A588-45F70AE4335D}"/>
              </a:ext>
            </a:extLst>
          </p:cNvPr>
          <p:cNvSpPr/>
          <p:nvPr/>
        </p:nvSpPr>
        <p:spPr>
          <a:xfrm>
            <a:off x="7362273" y="4356148"/>
            <a:ext cx="792000" cy="144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5,342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2" name="사각형: 둥근 모서리 341">
            <a:extLst>
              <a:ext uri="{FF2B5EF4-FFF2-40B4-BE49-F238E27FC236}">
                <a16:creationId xmlns:a16="http://schemas.microsoft.com/office/drawing/2014/main" id="{F38E6C6D-F060-419D-A70A-2B5BB65E9A7A}"/>
              </a:ext>
            </a:extLst>
          </p:cNvPr>
          <p:cNvSpPr/>
          <p:nvPr/>
        </p:nvSpPr>
        <p:spPr>
          <a:xfrm>
            <a:off x="7362273" y="4708535"/>
            <a:ext cx="792000" cy="144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4,542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3" name="사각형: 둥근 모서리 342">
            <a:extLst>
              <a:ext uri="{FF2B5EF4-FFF2-40B4-BE49-F238E27FC236}">
                <a16:creationId xmlns:a16="http://schemas.microsoft.com/office/drawing/2014/main" id="{51C61D63-0F2E-4878-966B-3F44F092CF45}"/>
              </a:ext>
            </a:extLst>
          </p:cNvPr>
          <p:cNvSpPr/>
          <p:nvPr/>
        </p:nvSpPr>
        <p:spPr>
          <a:xfrm>
            <a:off x="7362273" y="5060922"/>
            <a:ext cx="792000" cy="144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,###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4" name="사각형: 둥근 모서리 343">
            <a:extLst>
              <a:ext uri="{FF2B5EF4-FFF2-40B4-BE49-F238E27FC236}">
                <a16:creationId xmlns:a16="http://schemas.microsoft.com/office/drawing/2014/main" id="{DA3E93B9-BFDB-46F7-91BA-15D3A6F67B3B}"/>
              </a:ext>
            </a:extLst>
          </p:cNvPr>
          <p:cNvSpPr/>
          <p:nvPr/>
        </p:nvSpPr>
        <p:spPr>
          <a:xfrm>
            <a:off x="7362273" y="5413309"/>
            <a:ext cx="792000" cy="144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,###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5" name="사각형: 둥근 모서리 344">
            <a:extLst>
              <a:ext uri="{FF2B5EF4-FFF2-40B4-BE49-F238E27FC236}">
                <a16:creationId xmlns:a16="http://schemas.microsoft.com/office/drawing/2014/main" id="{6E6684CA-E158-4B2A-9C1A-5BE7DA01502E}"/>
              </a:ext>
            </a:extLst>
          </p:cNvPr>
          <p:cNvSpPr/>
          <p:nvPr/>
        </p:nvSpPr>
        <p:spPr>
          <a:xfrm>
            <a:off x="7362273" y="5765696"/>
            <a:ext cx="792000" cy="144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,###</a:t>
            </a:r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29E28468-4613-496C-B4BD-6D04F33351CE}"/>
              </a:ext>
            </a:extLst>
          </p:cNvPr>
          <p:cNvCxnSpPr>
            <a:endCxn id="313" idx="2"/>
          </p:cNvCxnSpPr>
          <p:nvPr/>
        </p:nvCxnSpPr>
        <p:spPr>
          <a:xfrm>
            <a:off x="4648363" y="4365930"/>
            <a:ext cx="0" cy="1584627"/>
          </a:xfrm>
          <a:prstGeom prst="line">
            <a:avLst/>
          </a:prstGeom>
          <a:ln w="12700" cap="sq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0A2063E-B8C9-4620-845D-D9B69585F484}"/>
              </a:ext>
            </a:extLst>
          </p:cNvPr>
          <p:cNvSpPr txBox="1"/>
          <p:nvPr/>
        </p:nvSpPr>
        <p:spPr>
          <a:xfrm>
            <a:off x="4207983" y="4351571"/>
            <a:ext cx="3730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▲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656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477F2643-EE54-43BB-B636-9E0AFA094824}"/>
              </a:ext>
            </a:extLst>
          </p:cNvPr>
          <p:cNvSpPr txBox="1"/>
          <p:nvPr/>
        </p:nvSpPr>
        <p:spPr>
          <a:xfrm>
            <a:off x="4207983" y="4703785"/>
            <a:ext cx="3730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▲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5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7" name="TextBox 346">
            <a:extLst>
              <a:ext uri="{FF2B5EF4-FFF2-40B4-BE49-F238E27FC236}">
                <a16:creationId xmlns:a16="http://schemas.microsoft.com/office/drawing/2014/main" id="{8EC2DBAD-1CEB-4560-A6D0-9E2C4D14D941}"/>
              </a:ext>
            </a:extLst>
          </p:cNvPr>
          <p:cNvSpPr txBox="1"/>
          <p:nvPr/>
        </p:nvSpPr>
        <p:spPr>
          <a:xfrm>
            <a:off x="4207983" y="5049624"/>
            <a:ext cx="3730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▲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1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D346209F-E126-445A-8479-25FE44E6B674}"/>
              </a:ext>
            </a:extLst>
          </p:cNvPr>
          <p:cNvSpPr txBox="1"/>
          <p:nvPr/>
        </p:nvSpPr>
        <p:spPr>
          <a:xfrm>
            <a:off x="4207983" y="5405013"/>
            <a:ext cx="3730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▲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##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062C6705-0C58-477A-989F-D81EB620D765}"/>
              </a:ext>
            </a:extLst>
          </p:cNvPr>
          <p:cNvSpPr txBox="1"/>
          <p:nvPr/>
        </p:nvSpPr>
        <p:spPr>
          <a:xfrm>
            <a:off x="4207983" y="5767359"/>
            <a:ext cx="3730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▲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##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50" name="TextBox 349">
            <a:extLst>
              <a:ext uri="{FF2B5EF4-FFF2-40B4-BE49-F238E27FC236}">
                <a16:creationId xmlns:a16="http://schemas.microsoft.com/office/drawing/2014/main" id="{333BC197-3CB2-469A-9A90-0A810435EC09}"/>
              </a:ext>
            </a:extLst>
          </p:cNvPr>
          <p:cNvSpPr txBox="1"/>
          <p:nvPr/>
        </p:nvSpPr>
        <p:spPr>
          <a:xfrm>
            <a:off x="8199841" y="5405013"/>
            <a:ext cx="3730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▲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##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BE947A83-3D77-4F88-9904-0920A2A79CD4}"/>
              </a:ext>
            </a:extLst>
          </p:cNvPr>
          <p:cNvSpPr txBox="1"/>
          <p:nvPr/>
        </p:nvSpPr>
        <p:spPr>
          <a:xfrm>
            <a:off x="8199841" y="5767359"/>
            <a:ext cx="3730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▲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##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1C9BA408-ABAF-4943-A4C8-ECE86E13F3A0}"/>
              </a:ext>
            </a:extLst>
          </p:cNvPr>
          <p:cNvSpPr txBox="1"/>
          <p:nvPr/>
        </p:nvSpPr>
        <p:spPr>
          <a:xfrm>
            <a:off x="8199841" y="4701167"/>
            <a:ext cx="3730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▲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##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4930EBDF-0E79-40C9-8CDE-CE88B6CA7C0D}"/>
              </a:ext>
            </a:extLst>
          </p:cNvPr>
          <p:cNvSpPr txBox="1"/>
          <p:nvPr/>
        </p:nvSpPr>
        <p:spPr>
          <a:xfrm>
            <a:off x="8199841" y="5063513"/>
            <a:ext cx="3730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▲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##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B8F598B2-59D4-42AE-866A-C315FC374A91}"/>
              </a:ext>
            </a:extLst>
          </p:cNvPr>
          <p:cNvSpPr txBox="1"/>
          <p:nvPr/>
        </p:nvSpPr>
        <p:spPr>
          <a:xfrm>
            <a:off x="8199841" y="4348020"/>
            <a:ext cx="3730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▲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###</a:t>
            </a:r>
            <a:endParaRPr kumimoji="0" lang="ko-KR" altLang="en-US" sz="9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pSp>
        <p:nvGrpSpPr>
          <p:cNvPr id="121" name="그룹 120">
            <a:extLst>
              <a:ext uri="{FF2B5EF4-FFF2-40B4-BE49-F238E27FC236}">
                <a16:creationId xmlns:a16="http://schemas.microsoft.com/office/drawing/2014/main" id="{248AAD88-B8DF-484E-907D-DF538CC50FEE}"/>
              </a:ext>
            </a:extLst>
          </p:cNvPr>
          <p:cNvGrpSpPr/>
          <p:nvPr/>
        </p:nvGrpSpPr>
        <p:grpSpPr>
          <a:xfrm>
            <a:off x="8829540" y="1393310"/>
            <a:ext cx="152360" cy="4860000"/>
            <a:chOff x="9201470" y="1601344"/>
            <a:chExt cx="188139" cy="4198758"/>
          </a:xfrm>
        </p:grpSpPr>
        <p:sp>
          <p:nvSpPr>
            <p:cNvPr id="122" name="직사각형 121">
              <a:extLst>
                <a:ext uri="{FF2B5EF4-FFF2-40B4-BE49-F238E27FC236}">
                  <a16:creationId xmlns:a16="http://schemas.microsoft.com/office/drawing/2014/main" id="{49401404-24E7-4496-BF1B-3E311892BEE5}"/>
                </a:ext>
              </a:extLst>
            </p:cNvPr>
            <p:cNvSpPr/>
            <p:nvPr/>
          </p:nvSpPr>
          <p:spPr>
            <a:xfrm>
              <a:off x="9201472" y="1810107"/>
              <a:ext cx="188114" cy="37808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100000"/>
                </a:lnSpc>
              </a:pPr>
              <a:endParaRPr lang="ko-KR" altLang="en-US" sz="900" dirty="0">
                <a:solidFill>
                  <a:schemeClr val="tx1"/>
                </a:solidFill>
                <a:latin typeface="경기천년제목 Light" panose="02020403020101020101" pitchFamily="18" charset="-127"/>
                <a:ea typeface="경기천년제목 Light" panose="02020403020101020101" pitchFamily="18" charset="-127"/>
                <a:cs typeface="함초롬바탕" panose="02030604000101010101" pitchFamily="18" charset="-127"/>
              </a:endParaRPr>
            </a:p>
          </p:txBody>
        </p:sp>
        <p:grpSp>
          <p:nvGrpSpPr>
            <p:cNvPr id="123" name="그룹 122">
              <a:extLst>
                <a:ext uri="{FF2B5EF4-FFF2-40B4-BE49-F238E27FC236}">
                  <a16:creationId xmlns:a16="http://schemas.microsoft.com/office/drawing/2014/main" id="{D9471290-7736-4CB7-BF04-909266845173}"/>
                </a:ext>
              </a:extLst>
            </p:cNvPr>
            <p:cNvGrpSpPr/>
            <p:nvPr/>
          </p:nvGrpSpPr>
          <p:grpSpPr>
            <a:xfrm>
              <a:off x="9201470" y="1601344"/>
              <a:ext cx="188139" cy="4198758"/>
              <a:chOff x="9201470" y="1601344"/>
              <a:chExt cx="188139" cy="4198758"/>
            </a:xfrm>
          </p:grpSpPr>
          <p:sp>
            <p:nvSpPr>
              <p:cNvPr id="124" name="직사각형 123">
                <a:extLst>
                  <a:ext uri="{FF2B5EF4-FFF2-40B4-BE49-F238E27FC236}">
                    <a16:creationId xmlns:a16="http://schemas.microsoft.com/office/drawing/2014/main" id="{7369CF80-E17C-412D-BFBC-3F19ED0FDFCF}"/>
                  </a:ext>
                </a:extLst>
              </p:cNvPr>
              <p:cNvSpPr/>
              <p:nvPr/>
            </p:nvSpPr>
            <p:spPr>
              <a:xfrm>
                <a:off x="9201495" y="3849349"/>
                <a:ext cx="188114" cy="17387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>
                  <a:lnSpc>
                    <a:spcPct val="100000"/>
                  </a:lnSpc>
                </a:pPr>
                <a:endParaRPr lang="ko-KR" altLang="en-US" sz="900" dirty="0">
                  <a:solidFill>
                    <a:schemeClr val="tx1"/>
                  </a:solidFill>
                  <a:latin typeface="경기천년제목 Light" panose="02020403020101020101" pitchFamily="18" charset="-127"/>
                  <a:ea typeface="경기천년제목 Light" panose="02020403020101020101" pitchFamily="18" charset="-127"/>
                  <a:cs typeface="함초롬바탕" panose="02030604000101010101" pitchFamily="18" charset="-127"/>
                </a:endParaRPr>
              </a:p>
            </p:txBody>
          </p:sp>
          <p:sp>
            <p:nvSpPr>
              <p:cNvPr id="125" name="직사각형 124">
                <a:extLst>
                  <a:ext uri="{FF2B5EF4-FFF2-40B4-BE49-F238E27FC236}">
                    <a16:creationId xmlns:a16="http://schemas.microsoft.com/office/drawing/2014/main" id="{00969E1E-4CF8-456C-A598-5E1CF8B73E46}"/>
                  </a:ext>
                </a:extLst>
              </p:cNvPr>
              <p:cNvSpPr/>
              <p:nvPr/>
            </p:nvSpPr>
            <p:spPr>
              <a:xfrm rot="10800000">
                <a:off x="9201470" y="5590996"/>
                <a:ext cx="188114" cy="2091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  <p:sp>
            <p:nvSpPr>
              <p:cNvPr id="126" name="직사각형 125">
                <a:extLst>
                  <a:ext uri="{FF2B5EF4-FFF2-40B4-BE49-F238E27FC236}">
                    <a16:creationId xmlns:a16="http://schemas.microsoft.com/office/drawing/2014/main" id="{EB594101-B7B9-4ED8-974D-1DDBC9F8D19B}"/>
                  </a:ext>
                </a:extLst>
              </p:cNvPr>
              <p:cNvSpPr/>
              <p:nvPr/>
            </p:nvSpPr>
            <p:spPr>
              <a:xfrm>
                <a:off x="9201471" y="1601344"/>
                <a:ext cx="188114" cy="20876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ko-KR" altLang="en-US" sz="700" b="1" dirty="0">
                    <a:solidFill>
                      <a:schemeClr val="bg1"/>
                    </a:solidFill>
                    <a:latin typeface="+mn-ea"/>
                    <a:cs typeface="함초롬바탕" panose="02030604000101010101" pitchFamily="18" charset="-127"/>
                  </a:rPr>
                  <a:t>▲</a:t>
                </a:r>
              </a:p>
            </p:txBody>
          </p:sp>
        </p:grpSp>
      </p:grpSp>
      <p:sp>
        <p:nvSpPr>
          <p:cNvPr id="127" name="사각형: 둥근 모서리 126">
            <a:extLst>
              <a:ext uri="{FF2B5EF4-FFF2-40B4-BE49-F238E27FC236}">
                <a16:creationId xmlns:a16="http://schemas.microsoft.com/office/drawing/2014/main" id="{054975E6-85F5-451E-8715-EE84C378D8FD}"/>
              </a:ext>
            </a:extLst>
          </p:cNvPr>
          <p:cNvSpPr/>
          <p:nvPr/>
        </p:nvSpPr>
        <p:spPr>
          <a:xfrm>
            <a:off x="634587" y="1965268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8" name="사각형: 둥근 모서리 127">
            <a:extLst>
              <a:ext uri="{FF2B5EF4-FFF2-40B4-BE49-F238E27FC236}">
                <a16:creationId xmlns:a16="http://schemas.microsoft.com/office/drawing/2014/main" id="{FF613B9A-1DFF-4837-A516-0C3C728E7FF2}"/>
              </a:ext>
            </a:extLst>
          </p:cNvPr>
          <p:cNvSpPr/>
          <p:nvPr/>
        </p:nvSpPr>
        <p:spPr>
          <a:xfrm>
            <a:off x="4797416" y="194373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9" name="사각형: 둥근 모서리 128">
            <a:extLst>
              <a:ext uri="{FF2B5EF4-FFF2-40B4-BE49-F238E27FC236}">
                <a16:creationId xmlns:a16="http://schemas.microsoft.com/office/drawing/2014/main" id="{0E7BD337-7C72-41AD-B287-C52DC9F74DD6}"/>
              </a:ext>
            </a:extLst>
          </p:cNvPr>
          <p:cNvSpPr/>
          <p:nvPr/>
        </p:nvSpPr>
        <p:spPr>
          <a:xfrm>
            <a:off x="634587" y="38795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8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30" name="사각형: 둥근 모서리 129">
            <a:extLst>
              <a:ext uri="{FF2B5EF4-FFF2-40B4-BE49-F238E27FC236}">
                <a16:creationId xmlns:a16="http://schemas.microsoft.com/office/drawing/2014/main" id="{AB8D66BD-BEFB-4E39-9C22-A0D790609388}"/>
              </a:ext>
            </a:extLst>
          </p:cNvPr>
          <p:cNvSpPr/>
          <p:nvPr/>
        </p:nvSpPr>
        <p:spPr>
          <a:xfrm>
            <a:off x="7356185" y="4005064"/>
            <a:ext cx="540000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월간</a:t>
            </a:r>
          </a:p>
        </p:txBody>
      </p:sp>
      <p:sp>
        <p:nvSpPr>
          <p:cNvPr id="131" name="사각형: 둥근 모서리 130">
            <a:extLst>
              <a:ext uri="{FF2B5EF4-FFF2-40B4-BE49-F238E27FC236}">
                <a16:creationId xmlns:a16="http://schemas.microsoft.com/office/drawing/2014/main" id="{220A72E8-2B4F-41EF-B6B3-137DF383CCD5}"/>
              </a:ext>
            </a:extLst>
          </p:cNvPr>
          <p:cNvSpPr/>
          <p:nvPr/>
        </p:nvSpPr>
        <p:spPr>
          <a:xfrm>
            <a:off x="7932264" y="4005064"/>
            <a:ext cx="540000" cy="16947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주간</a:t>
            </a:r>
          </a:p>
        </p:txBody>
      </p:sp>
      <p:sp>
        <p:nvSpPr>
          <p:cNvPr id="133" name="사각형: 둥근 모서리 132">
            <a:extLst>
              <a:ext uri="{FF2B5EF4-FFF2-40B4-BE49-F238E27FC236}">
                <a16:creationId xmlns:a16="http://schemas.microsoft.com/office/drawing/2014/main" id="{D149EC92-E068-4D90-BD3B-3B7FF363AE83}"/>
              </a:ext>
            </a:extLst>
          </p:cNvPr>
          <p:cNvSpPr/>
          <p:nvPr/>
        </p:nvSpPr>
        <p:spPr>
          <a:xfrm>
            <a:off x="7225544" y="387955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9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465308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9578641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18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활동로그 관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한 사용자의 접속</a:t>
                      </a: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p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입경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시점 등을 로그로 관리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28292" y="1371075"/>
            <a:ext cx="865854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활동로그 관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웹사이트 관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활동로그 관리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kumimoji="0" lang="ko-KR" altLang="en-US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5638764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aphicFrame>
        <p:nvGraphicFramePr>
          <p:cNvPr id="117" name="표 10">
            <a:extLst>
              <a:ext uri="{FF2B5EF4-FFF2-40B4-BE49-F238E27FC236}">
                <a16:creationId xmlns:a16="http://schemas.microsoft.com/office/drawing/2014/main" id="{4217557B-D77F-4E3E-AAC5-79471F428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7426302"/>
              </p:ext>
            </p:extLst>
          </p:nvPr>
        </p:nvGraphicFramePr>
        <p:xfrm>
          <a:off x="9267391" y="759199"/>
          <a:ext cx="2922885" cy="45390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활동로그 내역 산출의 기준이 되는 기간 설정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Default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 시간 기준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입경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입경로를 선택하여 로그 조회 가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Default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선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선택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‘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라디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’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버튼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時 전체 박스 체크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.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일부 박스 체크 해제 時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선택 해제됨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체크박스 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직적입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홈페이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포마인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거버넌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네이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글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방식을 선택하여 로그 조회 가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 선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PC, Mobile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 기준에 따라 출력된 정보를 집계하여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된 전체 접속로그 건수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 기준에 따라 출력된 정보를 집계하여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된 접속로그 중 접속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PC/Mobile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별 건수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 기준에 따라 출력된 정보를 집계하여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된 접속로그 중 유입경로별 건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만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7509301"/>
                  </a:ext>
                </a:extLst>
              </a:tr>
              <a:tr h="55206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7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 기준에 따라 출력된 정보를 집계하여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일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P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경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,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브라우저에 대한 정보를 출력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431648"/>
                  </a:ext>
                </a:extLst>
              </a:tr>
              <a:tr h="2640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8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430973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9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66271"/>
                  </a:ext>
                </a:extLst>
              </a:tr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0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660421"/>
                  </a:ext>
                </a:extLst>
              </a:tr>
            </a:tbl>
          </a:graphicData>
        </a:graphic>
      </p:graphicFrame>
      <p:graphicFrame>
        <p:nvGraphicFramePr>
          <p:cNvPr id="38" name="표 12">
            <a:extLst>
              <a:ext uri="{FF2B5EF4-FFF2-40B4-BE49-F238E27FC236}">
                <a16:creationId xmlns:a16="http://schemas.microsoft.com/office/drawing/2014/main" id="{308C9916-DAFF-4D51-87C2-DCFD316096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8925553"/>
              </p:ext>
            </p:extLst>
          </p:nvPr>
        </p:nvGraphicFramePr>
        <p:xfrm>
          <a:off x="345126" y="1459939"/>
          <a:ext cx="8630652" cy="10859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7718951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유입경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직접 입력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홈페이지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</a:t>
                      </a:r>
                      <a:r>
                        <a:rPr lang="ko-KR" altLang="en-US" sz="800" b="0" kern="1200" noProof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인포마인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□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 거버넌스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네이버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다음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구글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■</a:t>
                      </a: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타       </a:t>
                      </a:r>
                      <a:r>
                        <a:rPr kumimoji="0" lang="ko-KR" altLang="en-US" sz="8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11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선택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628944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접속방식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●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C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obile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2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cxnSp>
        <p:nvCxnSpPr>
          <p:cNvPr id="39" name="직선 연결선 38">
            <a:extLst>
              <a:ext uri="{FF2B5EF4-FFF2-40B4-BE49-F238E27FC236}">
                <a16:creationId xmlns:a16="http://schemas.microsoft.com/office/drawing/2014/main" id="{4E29B604-EFB5-47D3-9ED2-19A267448B29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3C98BE4F-DAAA-4E86-80F5-5ABE61EE8F9A}"/>
              </a:ext>
            </a:extLst>
          </p:cNvPr>
          <p:cNvSpPr/>
          <p:nvPr/>
        </p:nvSpPr>
        <p:spPr>
          <a:xfrm>
            <a:off x="4085841" y="23043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6CBCD260-0661-4B21-8124-FDAF98D071FA}"/>
              </a:ext>
            </a:extLst>
          </p:cNvPr>
          <p:cNvSpPr/>
          <p:nvPr/>
        </p:nvSpPr>
        <p:spPr>
          <a:xfrm>
            <a:off x="4795393" y="23043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3AB2AED5-6518-437B-B27B-43608E60DC6E}"/>
              </a:ext>
            </a:extLst>
          </p:cNvPr>
          <p:cNvGrpSpPr/>
          <p:nvPr/>
        </p:nvGrpSpPr>
        <p:grpSpPr>
          <a:xfrm>
            <a:off x="1391529" y="1496790"/>
            <a:ext cx="767981" cy="172589"/>
            <a:chOff x="1260034" y="1522884"/>
            <a:chExt cx="767981" cy="144000"/>
          </a:xfrm>
        </p:grpSpPr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DB7EF88E-18DF-4B1A-8DE8-DAF0F5FBD5AE}"/>
                </a:ext>
              </a:extLst>
            </p:cNvPr>
            <p:cNvSpPr/>
            <p:nvPr/>
          </p:nvSpPr>
          <p:spPr>
            <a:xfrm>
              <a:off x="1260034" y="1522884"/>
              <a:ext cx="615685" cy="1440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33BCDC0D-86A2-4BAA-9F71-8DFF1CAB815A}"/>
                </a:ext>
              </a:extLst>
            </p:cNvPr>
            <p:cNvSpPr/>
            <p:nvPr/>
          </p:nvSpPr>
          <p:spPr>
            <a:xfrm>
              <a:off x="1879097" y="1525529"/>
              <a:ext cx="148918" cy="13871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71" name="그림 70">
              <a:extLst>
                <a:ext uri="{FF2B5EF4-FFF2-40B4-BE49-F238E27FC236}">
                  <a16:creationId xmlns:a16="http://schemas.microsoft.com/office/drawing/2014/main" id="{C73E2DA7-956B-40FF-8449-8B5A86AC2F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02134" y="1543493"/>
              <a:ext cx="108000" cy="104242"/>
            </a:xfrm>
            <a:prstGeom prst="rect">
              <a:avLst/>
            </a:prstGeom>
          </p:spPr>
        </p:pic>
      </p:grp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12FDBDC3-F707-4D5A-8AF8-434F37319FFB}"/>
              </a:ext>
            </a:extLst>
          </p:cNvPr>
          <p:cNvSpPr/>
          <p:nvPr/>
        </p:nvSpPr>
        <p:spPr>
          <a:xfrm>
            <a:off x="1391528" y="1496424"/>
            <a:ext cx="671379" cy="172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-03-1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4C0CB0D5-5E16-46D6-A988-972F4F75C577}"/>
              </a:ext>
            </a:extLst>
          </p:cNvPr>
          <p:cNvGrpSpPr/>
          <p:nvPr/>
        </p:nvGrpSpPr>
        <p:grpSpPr>
          <a:xfrm>
            <a:off x="2207568" y="1504498"/>
            <a:ext cx="396520" cy="144000"/>
            <a:chOff x="1701753" y="1508908"/>
            <a:chExt cx="782724" cy="172800"/>
          </a:xfrm>
        </p:grpSpPr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4F93D5B0-8B22-49B7-A99E-71B206AD0120}"/>
                </a:ext>
              </a:extLst>
            </p:cNvPr>
            <p:cNvSpPr/>
            <p:nvPr/>
          </p:nvSpPr>
          <p:spPr>
            <a:xfrm>
              <a:off x="1701753" y="1508908"/>
              <a:ext cx="568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시</a:t>
              </a:r>
            </a:p>
          </p:txBody>
        </p:sp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7B4783E4-0488-498F-988D-A3B338193C3C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77" name="그룹 76">
            <a:extLst>
              <a:ext uri="{FF2B5EF4-FFF2-40B4-BE49-F238E27FC236}">
                <a16:creationId xmlns:a16="http://schemas.microsoft.com/office/drawing/2014/main" id="{7A112C4C-C952-4CC5-A2B0-F6E36C7345BB}"/>
              </a:ext>
            </a:extLst>
          </p:cNvPr>
          <p:cNvGrpSpPr/>
          <p:nvPr/>
        </p:nvGrpSpPr>
        <p:grpSpPr>
          <a:xfrm>
            <a:off x="2639616" y="1504498"/>
            <a:ext cx="396520" cy="144000"/>
            <a:chOff x="1701753" y="1508908"/>
            <a:chExt cx="782724" cy="172800"/>
          </a:xfrm>
        </p:grpSpPr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5208DA13-5622-4E36-BF38-E397B9CC5D72}"/>
                </a:ext>
              </a:extLst>
            </p:cNvPr>
            <p:cNvSpPr/>
            <p:nvPr/>
          </p:nvSpPr>
          <p:spPr>
            <a:xfrm>
              <a:off x="1701753" y="1508908"/>
              <a:ext cx="568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분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76C84246-BFA2-414B-89CE-BDB6639BD0D1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E377D8B9-9F4B-4F60-AF66-F329F0527242}"/>
              </a:ext>
            </a:extLst>
          </p:cNvPr>
          <p:cNvSpPr/>
          <p:nvPr/>
        </p:nvSpPr>
        <p:spPr>
          <a:xfrm>
            <a:off x="3062610" y="1504092"/>
            <a:ext cx="147062" cy="144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～</a:t>
            </a:r>
          </a:p>
        </p:txBody>
      </p: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B4F4A1A6-2072-496C-90C1-A0FD1498FEEC}"/>
              </a:ext>
            </a:extLst>
          </p:cNvPr>
          <p:cNvGrpSpPr/>
          <p:nvPr/>
        </p:nvGrpSpPr>
        <p:grpSpPr>
          <a:xfrm>
            <a:off x="3241634" y="1496790"/>
            <a:ext cx="767981" cy="172589"/>
            <a:chOff x="1260034" y="1522884"/>
            <a:chExt cx="767981" cy="144000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8E3A5207-3431-4D41-8F72-4003188D0683}"/>
                </a:ext>
              </a:extLst>
            </p:cNvPr>
            <p:cNvSpPr/>
            <p:nvPr/>
          </p:nvSpPr>
          <p:spPr>
            <a:xfrm>
              <a:off x="1260034" y="1522884"/>
              <a:ext cx="615685" cy="1440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A4522772-B5C4-4527-BC2F-161CE7A185FA}"/>
                </a:ext>
              </a:extLst>
            </p:cNvPr>
            <p:cNvSpPr/>
            <p:nvPr/>
          </p:nvSpPr>
          <p:spPr>
            <a:xfrm>
              <a:off x="1879097" y="1525529"/>
              <a:ext cx="148918" cy="13871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96" name="그림 95">
              <a:extLst>
                <a:ext uri="{FF2B5EF4-FFF2-40B4-BE49-F238E27FC236}">
                  <a16:creationId xmlns:a16="http://schemas.microsoft.com/office/drawing/2014/main" id="{27DAC81B-48FD-4026-9C3F-23308CF073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02134" y="1543493"/>
              <a:ext cx="108000" cy="104242"/>
            </a:xfrm>
            <a:prstGeom prst="rect">
              <a:avLst/>
            </a:prstGeom>
          </p:spPr>
        </p:pic>
      </p:grp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4DB4F10E-4370-493C-B221-8B5E60851BFE}"/>
              </a:ext>
            </a:extLst>
          </p:cNvPr>
          <p:cNvSpPr/>
          <p:nvPr/>
        </p:nvSpPr>
        <p:spPr>
          <a:xfrm>
            <a:off x="3241633" y="1496424"/>
            <a:ext cx="671379" cy="172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-03-1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8" name="그룹 97">
            <a:extLst>
              <a:ext uri="{FF2B5EF4-FFF2-40B4-BE49-F238E27FC236}">
                <a16:creationId xmlns:a16="http://schemas.microsoft.com/office/drawing/2014/main" id="{68ADFF75-B664-4690-B8E9-6042230837FB}"/>
              </a:ext>
            </a:extLst>
          </p:cNvPr>
          <p:cNvGrpSpPr/>
          <p:nvPr/>
        </p:nvGrpSpPr>
        <p:grpSpPr>
          <a:xfrm>
            <a:off x="4057673" y="1504498"/>
            <a:ext cx="396520" cy="144000"/>
            <a:chOff x="1701753" y="1508908"/>
            <a:chExt cx="782724" cy="172800"/>
          </a:xfrm>
        </p:grpSpPr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ACBBC0B9-8A8C-47A9-A8B6-0E5DD7286150}"/>
                </a:ext>
              </a:extLst>
            </p:cNvPr>
            <p:cNvSpPr/>
            <p:nvPr/>
          </p:nvSpPr>
          <p:spPr>
            <a:xfrm>
              <a:off x="1701753" y="1508908"/>
              <a:ext cx="568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시</a:t>
              </a:r>
            </a:p>
          </p:txBody>
        </p:sp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A76BBABE-EA55-4DC8-9D5C-6AD35E5180FC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CF993C2B-9124-45D5-9ECF-F31A497DD6D1}"/>
              </a:ext>
            </a:extLst>
          </p:cNvPr>
          <p:cNvGrpSpPr/>
          <p:nvPr/>
        </p:nvGrpSpPr>
        <p:grpSpPr>
          <a:xfrm>
            <a:off x="4489721" y="1504498"/>
            <a:ext cx="396520" cy="144000"/>
            <a:chOff x="1701753" y="1508908"/>
            <a:chExt cx="782724" cy="172800"/>
          </a:xfrm>
        </p:grpSpPr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86BDFBAF-C289-4B06-BE57-F583138B1585}"/>
                </a:ext>
              </a:extLst>
            </p:cNvPr>
            <p:cNvSpPr/>
            <p:nvPr/>
          </p:nvSpPr>
          <p:spPr>
            <a:xfrm>
              <a:off x="1701753" y="1508908"/>
              <a:ext cx="568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분</a:t>
              </a:r>
            </a:p>
          </p:txBody>
        </p:sp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651F9008-00D5-42B7-A697-DEEDFCDF6762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BBFC62BE-B838-4FB7-A370-D7DA1C48F097}"/>
              </a:ext>
            </a:extLst>
          </p:cNvPr>
          <p:cNvGrpSpPr/>
          <p:nvPr/>
        </p:nvGrpSpPr>
        <p:grpSpPr>
          <a:xfrm>
            <a:off x="535519" y="2629292"/>
            <a:ext cx="8287349" cy="540000"/>
            <a:chOff x="535519" y="2653466"/>
            <a:chExt cx="8287349" cy="510108"/>
          </a:xfrm>
        </p:grpSpPr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A9A0D6BB-1549-46B2-8B3E-33A654EC2994}"/>
                </a:ext>
              </a:extLst>
            </p:cNvPr>
            <p:cNvGrpSpPr/>
            <p:nvPr/>
          </p:nvGrpSpPr>
          <p:grpSpPr>
            <a:xfrm>
              <a:off x="535519" y="2653466"/>
              <a:ext cx="8287349" cy="510108"/>
              <a:chOff x="703557" y="1965735"/>
              <a:chExt cx="3771229" cy="567355"/>
            </a:xfrm>
          </p:grpSpPr>
          <p:grpSp>
            <p:nvGrpSpPr>
              <p:cNvPr id="5" name="그룹 4">
                <a:extLst>
                  <a:ext uri="{FF2B5EF4-FFF2-40B4-BE49-F238E27FC236}">
                    <a16:creationId xmlns:a16="http://schemas.microsoft.com/office/drawing/2014/main" id="{7B97C440-EBDE-4AC8-962C-83FDD035C0B0}"/>
                  </a:ext>
                </a:extLst>
              </p:cNvPr>
              <p:cNvGrpSpPr/>
              <p:nvPr/>
            </p:nvGrpSpPr>
            <p:grpSpPr>
              <a:xfrm>
                <a:off x="703557" y="1965735"/>
                <a:ext cx="3743129" cy="567355"/>
                <a:chOff x="743829" y="2069557"/>
                <a:chExt cx="3529986" cy="567355"/>
              </a:xfrm>
            </p:grpSpPr>
            <p:sp>
              <p:nvSpPr>
                <p:cNvPr id="56" name="사각형: 둥근 모서리 55">
                  <a:extLst>
                    <a:ext uri="{FF2B5EF4-FFF2-40B4-BE49-F238E27FC236}">
                      <a16:creationId xmlns:a16="http://schemas.microsoft.com/office/drawing/2014/main" id="{7A5135A2-E647-4638-B273-69462152B31D}"/>
                    </a:ext>
                  </a:extLst>
                </p:cNvPr>
                <p:cNvSpPr/>
                <p:nvPr/>
              </p:nvSpPr>
              <p:spPr>
                <a:xfrm>
                  <a:off x="743829" y="2069557"/>
                  <a:ext cx="1103699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endParaRPr>
                </a:p>
              </p:txBody>
            </p:sp>
            <p:sp>
              <p:nvSpPr>
                <p:cNvPr id="129" name="사각형: 둥근 모서리 128">
                  <a:extLst>
                    <a:ext uri="{FF2B5EF4-FFF2-40B4-BE49-F238E27FC236}">
                      <a16:creationId xmlns:a16="http://schemas.microsoft.com/office/drawing/2014/main" id="{A6A0AA12-4E22-4147-9193-A495DF2CFDDE}"/>
                    </a:ext>
                  </a:extLst>
                </p:cNvPr>
                <p:cNvSpPr/>
                <p:nvPr/>
              </p:nvSpPr>
              <p:spPr>
                <a:xfrm>
                  <a:off x="1919536" y="2069558"/>
                  <a:ext cx="1103699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endParaRPr>
                </a:p>
              </p:txBody>
            </p:sp>
            <p:sp>
              <p:nvSpPr>
                <p:cNvPr id="130" name="사각형: 둥근 모서리 129">
                  <a:extLst>
                    <a:ext uri="{FF2B5EF4-FFF2-40B4-BE49-F238E27FC236}">
                      <a16:creationId xmlns:a16="http://schemas.microsoft.com/office/drawing/2014/main" id="{71BA3EEF-7934-48D8-A053-F764EDACE805}"/>
                    </a:ext>
                  </a:extLst>
                </p:cNvPr>
                <p:cNvSpPr/>
                <p:nvPr/>
              </p:nvSpPr>
              <p:spPr>
                <a:xfrm>
                  <a:off x="3098563" y="2069558"/>
                  <a:ext cx="1175252" cy="567354"/>
                </a:xfrm>
                <a:prstGeom prst="roundRect">
                  <a:avLst>
                    <a:gd name="adj" fmla="val 8796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lIns="36000" rIns="36000" rtlCol="0" anchor="t"/>
                <a:lstStyle/>
                <a:p>
                  <a:pPr marL="0" marR="0" lvl="0" indent="0" algn="ctr" defTabSz="97717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맑은 고딕"/>
                    <a:cs typeface="+mn-cs"/>
                  </a:endParaRPr>
                </a:p>
              </p:txBody>
            </p:sp>
          </p:grpSp>
          <p:sp>
            <p:nvSpPr>
              <p:cNvPr id="57" name="직사각형 56">
                <a:extLst>
                  <a:ext uri="{FF2B5EF4-FFF2-40B4-BE49-F238E27FC236}">
                    <a16:creationId xmlns:a16="http://schemas.microsoft.com/office/drawing/2014/main" id="{1562902C-CFB4-4711-B23C-51957B96169D}"/>
                  </a:ext>
                </a:extLst>
              </p:cNvPr>
              <p:cNvSpPr/>
              <p:nvPr/>
            </p:nvSpPr>
            <p:spPr>
              <a:xfrm>
                <a:off x="1325275" y="2095879"/>
                <a:ext cx="523465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6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2,312 </a:t>
                </a:r>
                <a:r>
                  <a:rPr kumimoji="0" lang="ko-KR" altLang="en-US" sz="9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건</a:t>
                </a:r>
                <a:endParaRPr kumimoji="0" lang="ko-KR" altLang="en-US" sz="16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04" name="직사각형 103">
                <a:extLst>
                  <a:ext uri="{FF2B5EF4-FFF2-40B4-BE49-F238E27FC236}">
                    <a16:creationId xmlns:a16="http://schemas.microsoft.com/office/drawing/2014/main" id="{CBC3F62A-5744-461B-BD8E-9069E3DC6D68}"/>
                  </a:ext>
                </a:extLst>
              </p:cNvPr>
              <p:cNvSpPr/>
              <p:nvPr/>
            </p:nvSpPr>
            <p:spPr>
              <a:xfrm>
                <a:off x="731722" y="2095879"/>
                <a:ext cx="582506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4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접속로그</a:t>
                </a:r>
              </a:p>
            </p:txBody>
          </p:sp>
          <p:sp>
            <p:nvSpPr>
              <p:cNvPr id="105" name="직사각형 104">
                <a:extLst>
                  <a:ext uri="{FF2B5EF4-FFF2-40B4-BE49-F238E27FC236}">
                    <a16:creationId xmlns:a16="http://schemas.microsoft.com/office/drawing/2014/main" id="{D8AD3029-979F-4D44-AD59-E2312C958FDC}"/>
                  </a:ext>
                </a:extLst>
              </p:cNvPr>
              <p:cNvSpPr/>
              <p:nvPr/>
            </p:nvSpPr>
            <p:spPr>
              <a:xfrm>
                <a:off x="1923187" y="2090550"/>
                <a:ext cx="582506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4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접속방식</a:t>
                </a:r>
              </a:p>
            </p:txBody>
          </p:sp>
          <p:sp>
            <p:nvSpPr>
              <p:cNvPr id="106" name="직사각형 105">
                <a:extLst>
                  <a:ext uri="{FF2B5EF4-FFF2-40B4-BE49-F238E27FC236}">
                    <a16:creationId xmlns:a16="http://schemas.microsoft.com/office/drawing/2014/main" id="{7D7D777B-CA6B-4382-B243-FE88EACA1A56}"/>
                  </a:ext>
                </a:extLst>
              </p:cNvPr>
              <p:cNvSpPr/>
              <p:nvPr/>
            </p:nvSpPr>
            <p:spPr>
              <a:xfrm>
                <a:off x="2496504" y="1978328"/>
                <a:ext cx="179952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1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PC </a:t>
                </a:r>
                <a:endParaRPr kumimoji="0" lang="ko-KR" altLang="en-US" sz="1100" b="1" i="0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07" name="직사각형 106">
                <a:extLst>
                  <a:ext uri="{FF2B5EF4-FFF2-40B4-BE49-F238E27FC236}">
                    <a16:creationId xmlns:a16="http://schemas.microsoft.com/office/drawing/2014/main" id="{44311853-68A1-44A8-ACED-54E69FC8EDEF}"/>
                  </a:ext>
                </a:extLst>
              </p:cNvPr>
              <p:cNvSpPr/>
              <p:nvPr/>
            </p:nvSpPr>
            <p:spPr>
              <a:xfrm>
                <a:off x="2496504" y="2233848"/>
                <a:ext cx="304481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1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Mobile</a:t>
                </a:r>
                <a:endParaRPr kumimoji="0" lang="ko-KR" altLang="en-US" sz="1100" b="1" i="0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08" name="직사각형 107">
                <a:extLst>
                  <a:ext uri="{FF2B5EF4-FFF2-40B4-BE49-F238E27FC236}">
                    <a16:creationId xmlns:a16="http://schemas.microsoft.com/office/drawing/2014/main" id="{427DD464-F4B9-4415-90E9-AC186DDBCDA3}"/>
                  </a:ext>
                </a:extLst>
              </p:cNvPr>
              <p:cNvSpPr/>
              <p:nvPr/>
            </p:nvSpPr>
            <p:spPr>
              <a:xfrm>
                <a:off x="2775152" y="1968086"/>
                <a:ext cx="404354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1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1,402 </a:t>
                </a:r>
                <a:r>
                  <a:rPr kumimoji="0" lang="ko-KR" altLang="en-US" sz="6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건</a:t>
                </a:r>
                <a:endParaRPr kumimoji="0" lang="ko-KR" altLang="en-US" sz="11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09" name="직사각형 108">
                <a:extLst>
                  <a:ext uri="{FF2B5EF4-FFF2-40B4-BE49-F238E27FC236}">
                    <a16:creationId xmlns:a16="http://schemas.microsoft.com/office/drawing/2014/main" id="{10CC964C-1DC1-4D4A-B62C-D18848A4FF71}"/>
                  </a:ext>
                </a:extLst>
              </p:cNvPr>
              <p:cNvSpPr/>
              <p:nvPr/>
            </p:nvSpPr>
            <p:spPr>
              <a:xfrm>
                <a:off x="2854560" y="2239506"/>
                <a:ext cx="304482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100" b="1" i="0" strike="noStrike" kern="1200" cap="none" spc="0" normalizeH="0" baseline="0" noProof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910 </a:t>
                </a:r>
                <a:r>
                  <a:rPr kumimoji="0" lang="ko-KR" altLang="en-US" sz="6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건</a:t>
                </a:r>
                <a:endParaRPr kumimoji="0" lang="ko-KR" altLang="en-US" sz="11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400EAD50-77EE-493C-9ADF-3DB0F22E6C63}"/>
                  </a:ext>
                </a:extLst>
              </p:cNvPr>
              <p:cNvSpPr/>
              <p:nvPr/>
            </p:nvSpPr>
            <p:spPr>
              <a:xfrm>
                <a:off x="3163487" y="2090550"/>
                <a:ext cx="582506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4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유입경로</a:t>
                </a:r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7C528D98-340B-45C6-B4E5-C7608BA9E935}"/>
                  </a:ext>
                </a:extLst>
              </p:cNvPr>
              <p:cNvSpPr/>
              <p:nvPr/>
            </p:nvSpPr>
            <p:spPr>
              <a:xfrm>
                <a:off x="3689184" y="1978328"/>
                <a:ext cx="404353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① 네이버</a:t>
                </a:r>
                <a:r>
                  <a:rPr kumimoji="0" lang="en-US" altLang="ko-KR" sz="11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 </a:t>
                </a:r>
                <a:endParaRPr kumimoji="0" lang="ko-KR" altLang="en-US" sz="1100" b="1" i="0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14" name="직사각형 113">
                <a:extLst>
                  <a:ext uri="{FF2B5EF4-FFF2-40B4-BE49-F238E27FC236}">
                    <a16:creationId xmlns:a16="http://schemas.microsoft.com/office/drawing/2014/main" id="{E1F5672D-919A-4B86-BB0A-012C758C772A}"/>
                  </a:ext>
                </a:extLst>
              </p:cNvPr>
              <p:cNvSpPr/>
              <p:nvPr/>
            </p:nvSpPr>
            <p:spPr>
              <a:xfrm>
                <a:off x="3689184" y="2233848"/>
                <a:ext cx="369083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② 구글</a:t>
                </a:r>
              </a:p>
            </p:txBody>
          </p:sp>
          <p:sp>
            <p:nvSpPr>
              <p:cNvPr id="115" name="직사각형 114">
                <a:extLst>
                  <a:ext uri="{FF2B5EF4-FFF2-40B4-BE49-F238E27FC236}">
                    <a16:creationId xmlns:a16="http://schemas.microsoft.com/office/drawing/2014/main" id="{C1251431-C687-4FA4-8213-AB389A2A0CF6}"/>
                  </a:ext>
                </a:extLst>
              </p:cNvPr>
              <p:cNvSpPr/>
              <p:nvPr/>
            </p:nvSpPr>
            <p:spPr>
              <a:xfrm>
                <a:off x="4070432" y="1968086"/>
                <a:ext cx="404354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1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802 </a:t>
                </a:r>
                <a:r>
                  <a:rPr kumimoji="0" lang="ko-KR" altLang="en-US" sz="6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건</a:t>
                </a:r>
                <a:endParaRPr kumimoji="0" lang="ko-KR" altLang="en-US" sz="11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  <p:sp>
            <p:nvSpPr>
              <p:cNvPr id="116" name="직사각형 115">
                <a:extLst>
                  <a:ext uri="{FF2B5EF4-FFF2-40B4-BE49-F238E27FC236}">
                    <a16:creationId xmlns:a16="http://schemas.microsoft.com/office/drawing/2014/main" id="{420DC62C-7BD1-40B7-A0FB-DD87013446B4}"/>
                  </a:ext>
                </a:extLst>
              </p:cNvPr>
              <p:cNvSpPr/>
              <p:nvPr/>
            </p:nvSpPr>
            <p:spPr>
              <a:xfrm>
                <a:off x="4119494" y="2239506"/>
                <a:ext cx="304482" cy="2798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771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100" b="1" i="0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510 </a:t>
                </a:r>
                <a:r>
                  <a:rPr kumimoji="0" lang="ko-KR" altLang="en-US" sz="600" b="1" i="0" u="none" strike="noStrike" kern="1200" cap="none" spc="0" normalizeH="0" baseline="0" noProof="0" dirty="0">
                    <a:ln>
                      <a:solidFill>
                        <a:srgbClr val="C50017">
                          <a:alpha val="0"/>
                        </a:srgbClr>
                      </a:solidFill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50" charset="-127"/>
                    <a:cs typeface="Arial"/>
                  </a:rPr>
                  <a:t>건</a:t>
                </a:r>
                <a:endParaRPr kumimoji="0" lang="ko-KR" altLang="en-US" sz="1100" b="1" i="0" u="none" strike="noStrike" kern="1200" cap="none" spc="0" normalizeH="0" baseline="0" noProof="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endParaRPr>
              </a:p>
            </p:txBody>
          </p:sp>
        </p:grpSp>
        <p:cxnSp>
          <p:nvCxnSpPr>
            <p:cNvPr id="3" name="직선 연결선 2">
              <a:extLst>
                <a:ext uri="{FF2B5EF4-FFF2-40B4-BE49-F238E27FC236}">
                  <a16:creationId xmlns:a16="http://schemas.microsoft.com/office/drawing/2014/main" id="{69CF2C84-9586-422C-BEC3-63DB3F2FD562}"/>
                </a:ext>
              </a:extLst>
            </p:cNvPr>
            <p:cNvCxnSpPr/>
            <p:nvPr/>
          </p:nvCxnSpPr>
          <p:spPr>
            <a:xfrm>
              <a:off x="1855685" y="2727587"/>
              <a:ext cx="0" cy="360000"/>
            </a:xfrm>
            <a:prstGeom prst="line">
              <a:avLst/>
            </a:prstGeom>
            <a:ln w="12700" cap="sq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110" name="직선 연결선 109">
              <a:extLst>
                <a:ext uri="{FF2B5EF4-FFF2-40B4-BE49-F238E27FC236}">
                  <a16:creationId xmlns:a16="http://schemas.microsoft.com/office/drawing/2014/main" id="{F5118321-3315-44C8-983F-074C1DBEB584}"/>
                </a:ext>
              </a:extLst>
            </p:cNvPr>
            <p:cNvCxnSpPr/>
            <p:nvPr/>
          </p:nvCxnSpPr>
          <p:spPr>
            <a:xfrm>
              <a:off x="4397258" y="2727587"/>
              <a:ext cx="0" cy="360000"/>
            </a:xfrm>
            <a:prstGeom prst="line">
              <a:avLst/>
            </a:prstGeom>
            <a:ln w="12700" cap="sq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112" name="직선 연결선 111">
              <a:extLst>
                <a:ext uri="{FF2B5EF4-FFF2-40B4-BE49-F238E27FC236}">
                  <a16:creationId xmlns:a16="http://schemas.microsoft.com/office/drawing/2014/main" id="{CA277AED-945D-4758-B7A9-B530E93DE879}"/>
                </a:ext>
              </a:extLst>
            </p:cNvPr>
            <p:cNvCxnSpPr/>
            <p:nvPr/>
          </p:nvCxnSpPr>
          <p:spPr>
            <a:xfrm>
              <a:off x="7088872" y="2727587"/>
              <a:ext cx="0" cy="360000"/>
            </a:xfrm>
            <a:prstGeom prst="line">
              <a:avLst/>
            </a:prstGeom>
            <a:ln w="12700" cap="sq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aphicFrame>
        <p:nvGraphicFramePr>
          <p:cNvPr id="118" name="표 117">
            <a:extLst>
              <a:ext uri="{FF2B5EF4-FFF2-40B4-BE49-F238E27FC236}">
                <a16:creationId xmlns:a16="http://schemas.microsoft.com/office/drawing/2014/main" id="{BE224F09-0E08-4F96-8936-BDD80C504F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5089784"/>
              </p:ext>
            </p:extLst>
          </p:nvPr>
        </p:nvGraphicFramePr>
        <p:xfrm>
          <a:off x="343571" y="3278753"/>
          <a:ext cx="8632206" cy="297542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87933">
                  <a:extLst>
                    <a:ext uri="{9D8B030D-6E8A-4147-A177-3AD203B41FA5}">
                      <a16:colId xmlns:a16="http://schemas.microsoft.com/office/drawing/2014/main" val="652755667"/>
                    </a:ext>
                  </a:extLst>
                </a:gridCol>
                <a:gridCol w="1603694">
                  <a:extLst>
                    <a:ext uri="{9D8B030D-6E8A-4147-A177-3AD203B41FA5}">
                      <a16:colId xmlns:a16="http://schemas.microsoft.com/office/drawing/2014/main" val="3759039434"/>
                    </a:ext>
                  </a:extLst>
                </a:gridCol>
                <a:gridCol w="1688237">
                  <a:extLst>
                    <a:ext uri="{9D8B030D-6E8A-4147-A177-3AD203B41FA5}">
                      <a16:colId xmlns:a16="http://schemas.microsoft.com/office/drawing/2014/main" val="897638762"/>
                    </a:ext>
                  </a:extLst>
                </a:gridCol>
                <a:gridCol w="1688237">
                  <a:extLst>
                    <a:ext uri="{9D8B030D-6E8A-4147-A177-3AD203B41FA5}">
                      <a16:colId xmlns:a16="http://schemas.microsoft.com/office/drawing/2014/main" val="1231695399"/>
                    </a:ext>
                  </a:extLst>
                </a:gridCol>
                <a:gridCol w="956487">
                  <a:extLst>
                    <a:ext uri="{9D8B030D-6E8A-4147-A177-3AD203B41FA5}">
                      <a16:colId xmlns:a16="http://schemas.microsoft.com/office/drawing/2014/main" val="1305194521"/>
                    </a:ext>
                  </a:extLst>
                </a:gridCol>
                <a:gridCol w="1407618">
                  <a:extLst>
                    <a:ext uri="{9D8B030D-6E8A-4147-A177-3AD203B41FA5}">
                      <a16:colId xmlns:a16="http://schemas.microsoft.com/office/drawing/2014/main" val="2995250646"/>
                    </a:ext>
                  </a:extLst>
                </a:gridCol>
              </a:tblGrid>
              <a:tr h="2440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일시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P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경로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브라우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142330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1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네이버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SamilESG3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CHROME</a:t>
                      </a:r>
                      <a:endParaRPr kumimoji="0" lang="en-US" altLang="ko-KR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7184352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2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bile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네이버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SamilESG32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CHROME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0327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01.011.5115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네이버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Seoul0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CHROME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387617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7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맑은 고딕"/>
                          <a:cs typeface="+mn-cs"/>
                        </a:rPr>
                        <a:t>Mobile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삼일 홈페이지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Seoul02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FireFox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225240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8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맑은 고딕"/>
                          <a:cs typeface="+mn-cs"/>
                        </a:rPr>
                        <a:t>Mobile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구글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Inchon0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Microsoft Ed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6814969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3112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맑은 고딕"/>
                          <a:cs typeface="+mn-cs"/>
                        </a:rPr>
                        <a:t>Mobile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구글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Yongsan0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Microsoft Ed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2966949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3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다음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Inchon3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CHROME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7105276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6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네이버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Yongsan00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CHROME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8000479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2110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bile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구글</a:t>
                      </a: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007ABC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CHROME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1392122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9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네이버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ABC3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Microsoft Edg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0427282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1222374"/>
                  </a:ext>
                </a:extLst>
              </a:tr>
            </a:tbl>
          </a:graphicData>
        </a:graphic>
      </p:graphicFrame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8E7CBA65-8910-439A-8073-20575EBDDD2A}"/>
              </a:ext>
            </a:extLst>
          </p:cNvPr>
          <p:cNvSpPr/>
          <p:nvPr/>
        </p:nvSpPr>
        <p:spPr>
          <a:xfrm>
            <a:off x="1127448" y="15117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42DA83B0-CED8-4E5C-A2D0-911D47F1BAEA}"/>
              </a:ext>
            </a:extLst>
          </p:cNvPr>
          <p:cNvSpPr/>
          <p:nvPr/>
        </p:nvSpPr>
        <p:spPr>
          <a:xfrm>
            <a:off x="1127448" y="17909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28169547-8E3D-4465-82FD-624A01FFD1B7}"/>
              </a:ext>
            </a:extLst>
          </p:cNvPr>
          <p:cNvSpPr/>
          <p:nvPr/>
        </p:nvSpPr>
        <p:spPr>
          <a:xfrm>
            <a:off x="1127448" y="20331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2" name="사각형: 둥근 모서리 121">
            <a:extLst>
              <a:ext uri="{FF2B5EF4-FFF2-40B4-BE49-F238E27FC236}">
                <a16:creationId xmlns:a16="http://schemas.microsoft.com/office/drawing/2014/main" id="{FEB17E85-B937-45F1-9AFA-65FDDAD26B76}"/>
              </a:ext>
            </a:extLst>
          </p:cNvPr>
          <p:cNvSpPr/>
          <p:nvPr/>
        </p:nvSpPr>
        <p:spPr>
          <a:xfrm>
            <a:off x="513166" y="261417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3" name="사각형: 둥근 모서리 122">
            <a:extLst>
              <a:ext uri="{FF2B5EF4-FFF2-40B4-BE49-F238E27FC236}">
                <a16:creationId xmlns:a16="http://schemas.microsoft.com/office/drawing/2014/main" id="{51BA2C31-1BAC-4DB0-9DC4-FC86D96F87B4}"/>
              </a:ext>
            </a:extLst>
          </p:cNvPr>
          <p:cNvSpPr/>
          <p:nvPr/>
        </p:nvSpPr>
        <p:spPr>
          <a:xfrm>
            <a:off x="3187672" y="261417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4" name="사각형: 둥근 모서리 123">
            <a:extLst>
              <a:ext uri="{FF2B5EF4-FFF2-40B4-BE49-F238E27FC236}">
                <a16:creationId xmlns:a16="http://schemas.microsoft.com/office/drawing/2014/main" id="{B5C78EB0-1887-4BD5-B2D0-83061C5B5659}"/>
              </a:ext>
            </a:extLst>
          </p:cNvPr>
          <p:cNvSpPr/>
          <p:nvPr/>
        </p:nvSpPr>
        <p:spPr>
          <a:xfrm>
            <a:off x="6017588" y="261417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A5B8F37F-66B4-4E7E-8682-2E0E2CD6E642}"/>
              </a:ext>
            </a:extLst>
          </p:cNvPr>
          <p:cNvSpPr/>
          <p:nvPr/>
        </p:nvSpPr>
        <p:spPr>
          <a:xfrm>
            <a:off x="368204" y="321734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7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398545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4496632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43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관리자 활동로그 관리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한 사용자의 접속</a:t>
                      </a:r>
                      <a:r>
                        <a:rPr lang="en-US" altLang="ko-KR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p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입경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시점 등을 로그로 관리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13E73938-1496-4A56-9BF8-A4BDE60C8E7C}"/>
              </a:ext>
            </a:extLst>
          </p:cNvPr>
          <p:cNvCxnSpPr>
            <a:cxnSpLocks/>
          </p:cNvCxnSpPr>
          <p:nvPr/>
        </p:nvCxnSpPr>
        <p:spPr>
          <a:xfrm>
            <a:off x="328292" y="1371075"/>
            <a:ext cx="865854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8C387F5-BBBC-41C6-97F3-742BC668F25B}"/>
              </a:ext>
            </a:extLst>
          </p:cNvPr>
          <p:cNvSpPr/>
          <p:nvPr/>
        </p:nvSpPr>
        <p:spPr>
          <a:xfrm>
            <a:off x="332094" y="1134965"/>
            <a:ext cx="3887035" cy="23611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활동로그 관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[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웹사이트 관리 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&gt;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관리자 활동로그 관리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D04A02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]</a:t>
            </a:r>
            <a:endParaRPr kumimoji="0" lang="ko-KR" altLang="en-US" sz="900" b="1" i="0" u="none" strike="noStrike" kern="120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D04A02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5638764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7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2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aphicFrame>
        <p:nvGraphicFramePr>
          <p:cNvPr id="117" name="표 10">
            <a:extLst>
              <a:ext uri="{FF2B5EF4-FFF2-40B4-BE49-F238E27FC236}">
                <a16:creationId xmlns:a16="http://schemas.microsoft.com/office/drawing/2014/main" id="{4217557B-D77F-4E3E-AAC5-79471F428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4971486"/>
              </p:ext>
            </p:extLst>
          </p:nvPr>
        </p:nvGraphicFramePr>
        <p:xfrm>
          <a:off x="9270935" y="759199"/>
          <a:ext cx="2922885" cy="33516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9009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493876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기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활동로그 내역 산출의 기준이 되는 기간 설정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Default 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현재 시간 기준으로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24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시간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접속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관리자가 접속한 화면 정보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Default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선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V1/2/3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를 선택하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V1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해당하는 모든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화면 또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V2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해당하는 모든 화면 또는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LV3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에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해당하는 특정화면으로 좁혀가면서 선택 조회할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수 있음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37803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방식을 선택하여 로그 조회 가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 선택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선택범위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PC, Mobile 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202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한 관리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를 선택하여 조회 가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 관리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특정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특정 관리자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를 입력하여 조회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로그목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로그목록과 관련 정보를 가져와서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 수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00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목록 수 선택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00, 50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Default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값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첫 페이지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(1/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페이지수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)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페이지 선택범위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: 1 ~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페이지 수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16444"/>
                  </a:ext>
                </a:extLst>
              </a:tr>
              <a:tr h="4560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6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조회 기준에 따라 출력된 정보를 집계하여 출력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일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P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방식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화면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b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</a:b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CRUD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 대한 정보를 출력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7509301"/>
                  </a:ext>
                </a:extLst>
              </a:tr>
            </a:tbl>
          </a:graphicData>
        </a:graphic>
      </p:graphicFrame>
      <p:graphicFrame>
        <p:nvGraphicFramePr>
          <p:cNvPr id="38" name="표 12">
            <a:extLst>
              <a:ext uri="{FF2B5EF4-FFF2-40B4-BE49-F238E27FC236}">
                <a16:creationId xmlns:a16="http://schemas.microsoft.com/office/drawing/2014/main" id="{308C9916-DAFF-4D51-87C2-DCFD316096F3}"/>
              </a:ext>
            </a:extLst>
          </p:cNvPr>
          <p:cNvGraphicFramePr>
            <a:graphicFrameLocks noGrp="1"/>
          </p:cNvGraphicFramePr>
          <p:nvPr/>
        </p:nvGraphicFramePr>
        <p:xfrm>
          <a:off x="345126" y="1459939"/>
          <a:ext cx="8630652" cy="10788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2703569383"/>
                    </a:ext>
                  </a:extLst>
                </a:gridCol>
                <a:gridCol w="7718951">
                  <a:extLst>
                    <a:ext uri="{9D8B030D-6E8A-4147-A177-3AD203B41FA5}">
                      <a16:colId xmlns:a16="http://schemas.microsoft.com/office/drawing/2014/main" val="33289650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07531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접속화면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628944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접속방식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●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전체  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PC  </a:t>
                      </a:r>
                      <a:r>
                        <a:rPr lang="ko-KR" altLang="en-US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○</a:t>
                      </a:r>
                      <a:r>
                        <a:rPr lang="ko-KR" altLang="en-US" sz="11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anose="020B0503020000020004" pitchFamily="50" charset="-127"/>
                          <a:ea typeface="+mn-ea"/>
                          <a:cs typeface="Arial"/>
                        </a:rPr>
                        <a:t> </a:t>
                      </a:r>
                      <a:r>
                        <a:rPr lang="en-US" altLang="ko-KR" sz="800" b="0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Mobile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129618"/>
                  </a:ext>
                </a:extLst>
              </a:tr>
              <a:tr h="315771">
                <a:tc gridSpan="2">
                  <a:txBody>
                    <a:bodyPr/>
                    <a:lstStyle/>
                    <a:p>
                      <a:pPr latinLnBrk="1"/>
                      <a:endParaRPr lang="ko-KR" altLang="en-US" sz="1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6079213"/>
                  </a:ext>
                </a:extLst>
              </a:tr>
            </a:tbl>
          </a:graphicData>
        </a:graphic>
      </p:graphicFrame>
      <p:cxnSp>
        <p:nvCxnSpPr>
          <p:cNvPr id="39" name="직선 연결선 38">
            <a:extLst>
              <a:ext uri="{FF2B5EF4-FFF2-40B4-BE49-F238E27FC236}">
                <a16:creationId xmlns:a16="http://schemas.microsoft.com/office/drawing/2014/main" id="{4E29B604-EFB5-47D3-9ED2-19A267448B29}"/>
              </a:ext>
            </a:extLst>
          </p:cNvPr>
          <p:cNvCxnSpPr>
            <a:cxnSpLocks/>
          </p:cNvCxnSpPr>
          <p:nvPr/>
        </p:nvCxnSpPr>
        <p:spPr>
          <a:xfrm>
            <a:off x="332993" y="1412776"/>
            <a:ext cx="8647314" cy="0"/>
          </a:xfrm>
          <a:prstGeom prst="line">
            <a:avLst/>
          </a:prstGeom>
          <a:noFill/>
          <a:ln w="12700">
            <a:solidFill>
              <a:srgbClr val="D04A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3C98BE4F-DAAA-4E86-80F5-5ABE61EE8F9A}"/>
              </a:ext>
            </a:extLst>
          </p:cNvPr>
          <p:cNvSpPr/>
          <p:nvPr/>
        </p:nvSpPr>
        <p:spPr>
          <a:xfrm>
            <a:off x="4085841" y="23043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조회</a:t>
            </a: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6CBCD260-0661-4B21-8124-FDAF98D071FA}"/>
              </a:ext>
            </a:extLst>
          </p:cNvPr>
          <p:cNvSpPr/>
          <p:nvPr/>
        </p:nvSpPr>
        <p:spPr>
          <a:xfrm>
            <a:off x="4795393" y="2304304"/>
            <a:ext cx="652535" cy="1694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8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초기화</a:t>
            </a:r>
          </a:p>
        </p:txBody>
      </p: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3AB2AED5-6518-437B-B27B-43608E60DC6E}"/>
              </a:ext>
            </a:extLst>
          </p:cNvPr>
          <p:cNvGrpSpPr/>
          <p:nvPr/>
        </p:nvGrpSpPr>
        <p:grpSpPr>
          <a:xfrm>
            <a:off x="1391529" y="1496790"/>
            <a:ext cx="767981" cy="172589"/>
            <a:chOff x="1260034" y="1522884"/>
            <a:chExt cx="767981" cy="144000"/>
          </a:xfrm>
        </p:grpSpPr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DB7EF88E-18DF-4B1A-8DE8-DAF0F5FBD5AE}"/>
                </a:ext>
              </a:extLst>
            </p:cNvPr>
            <p:cNvSpPr/>
            <p:nvPr/>
          </p:nvSpPr>
          <p:spPr>
            <a:xfrm>
              <a:off x="1260034" y="1522884"/>
              <a:ext cx="615685" cy="1440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33BCDC0D-86A2-4BAA-9F71-8DFF1CAB815A}"/>
                </a:ext>
              </a:extLst>
            </p:cNvPr>
            <p:cNvSpPr/>
            <p:nvPr/>
          </p:nvSpPr>
          <p:spPr>
            <a:xfrm>
              <a:off x="1879097" y="1525529"/>
              <a:ext cx="148918" cy="13871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71" name="그림 70">
              <a:extLst>
                <a:ext uri="{FF2B5EF4-FFF2-40B4-BE49-F238E27FC236}">
                  <a16:creationId xmlns:a16="http://schemas.microsoft.com/office/drawing/2014/main" id="{C73E2DA7-956B-40FF-8449-8B5A86AC2F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02134" y="1543493"/>
              <a:ext cx="108000" cy="104242"/>
            </a:xfrm>
            <a:prstGeom prst="rect">
              <a:avLst/>
            </a:prstGeom>
          </p:spPr>
        </p:pic>
      </p:grp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12FDBDC3-F707-4D5A-8AF8-434F37319FFB}"/>
              </a:ext>
            </a:extLst>
          </p:cNvPr>
          <p:cNvSpPr/>
          <p:nvPr/>
        </p:nvSpPr>
        <p:spPr>
          <a:xfrm>
            <a:off x="1391528" y="1496424"/>
            <a:ext cx="671379" cy="172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-03-1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73" name="그룹 72">
            <a:extLst>
              <a:ext uri="{FF2B5EF4-FFF2-40B4-BE49-F238E27FC236}">
                <a16:creationId xmlns:a16="http://schemas.microsoft.com/office/drawing/2014/main" id="{4C0CB0D5-5E16-46D6-A988-972F4F75C577}"/>
              </a:ext>
            </a:extLst>
          </p:cNvPr>
          <p:cNvGrpSpPr/>
          <p:nvPr/>
        </p:nvGrpSpPr>
        <p:grpSpPr>
          <a:xfrm>
            <a:off x="2207568" y="1504498"/>
            <a:ext cx="396520" cy="144000"/>
            <a:chOff x="1701753" y="1508908"/>
            <a:chExt cx="782724" cy="172800"/>
          </a:xfrm>
        </p:grpSpPr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4F93D5B0-8B22-49B7-A99E-71B206AD0120}"/>
                </a:ext>
              </a:extLst>
            </p:cNvPr>
            <p:cNvSpPr/>
            <p:nvPr/>
          </p:nvSpPr>
          <p:spPr>
            <a:xfrm>
              <a:off x="1701753" y="1508908"/>
              <a:ext cx="568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시</a:t>
              </a:r>
            </a:p>
          </p:txBody>
        </p:sp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7B4783E4-0488-498F-988D-A3B338193C3C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77" name="그룹 76">
            <a:extLst>
              <a:ext uri="{FF2B5EF4-FFF2-40B4-BE49-F238E27FC236}">
                <a16:creationId xmlns:a16="http://schemas.microsoft.com/office/drawing/2014/main" id="{7A112C4C-C952-4CC5-A2B0-F6E36C7345BB}"/>
              </a:ext>
            </a:extLst>
          </p:cNvPr>
          <p:cNvGrpSpPr/>
          <p:nvPr/>
        </p:nvGrpSpPr>
        <p:grpSpPr>
          <a:xfrm>
            <a:off x="2639616" y="1504498"/>
            <a:ext cx="396520" cy="144000"/>
            <a:chOff x="1701753" y="1508908"/>
            <a:chExt cx="782724" cy="172800"/>
          </a:xfrm>
        </p:grpSpPr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5208DA13-5622-4E36-BF38-E397B9CC5D72}"/>
                </a:ext>
              </a:extLst>
            </p:cNvPr>
            <p:cNvSpPr/>
            <p:nvPr/>
          </p:nvSpPr>
          <p:spPr>
            <a:xfrm>
              <a:off x="1701753" y="1508908"/>
              <a:ext cx="568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분</a:t>
              </a: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76C84246-BFA2-414B-89CE-BDB6639BD0D1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E377D8B9-9F4B-4F60-AF66-F329F0527242}"/>
              </a:ext>
            </a:extLst>
          </p:cNvPr>
          <p:cNvSpPr/>
          <p:nvPr/>
        </p:nvSpPr>
        <p:spPr>
          <a:xfrm>
            <a:off x="3062610" y="1504092"/>
            <a:ext cx="147062" cy="144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～</a:t>
            </a:r>
          </a:p>
        </p:txBody>
      </p: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B4F4A1A6-2072-496C-90C1-A0FD1498FEEC}"/>
              </a:ext>
            </a:extLst>
          </p:cNvPr>
          <p:cNvGrpSpPr/>
          <p:nvPr/>
        </p:nvGrpSpPr>
        <p:grpSpPr>
          <a:xfrm>
            <a:off x="3241634" y="1496790"/>
            <a:ext cx="767981" cy="172589"/>
            <a:chOff x="1260034" y="1522884"/>
            <a:chExt cx="767981" cy="144000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8E3A5207-3431-4D41-8F72-4003188D0683}"/>
                </a:ext>
              </a:extLst>
            </p:cNvPr>
            <p:cNvSpPr/>
            <p:nvPr/>
          </p:nvSpPr>
          <p:spPr>
            <a:xfrm>
              <a:off x="1260034" y="1522884"/>
              <a:ext cx="615685" cy="1440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A4522772-B5C4-4527-BC2F-161CE7A185FA}"/>
                </a:ext>
              </a:extLst>
            </p:cNvPr>
            <p:cNvSpPr/>
            <p:nvPr/>
          </p:nvSpPr>
          <p:spPr>
            <a:xfrm>
              <a:off x="1879097" y="1525529"/>
              <a:ext cx="148918" cy="13871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96" name="그림 95">
              <a:extLst>
                <a:ext uri="{FF2B5EF4-FFF2-40B4-BE49-F238E27FC236}">
                  <a16:creationId xmlns:a16="http://schemas.microsoft.com/office/drawing/2014/main" id="{27DAC81B-48FD-4026-9C3F-23308CF073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02134" y="1543493"/>
              <a:ext cx="108000" cy="104242"/>
            </a:xfrm>
            <a:prstGeom prst="rect">
              <a:avLst/>
            </a:prstGeom>
          </p:spPr>
        </p:pic>
      </p:grp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4DB4F10E-4370-493C-B221-8B5E60851BFE}"/>
              </a:ext>
            </a:extLst>
          </p:cNvPr>
          <p:cNvSpPr/>
          <p:nvPr/>
        </p:nvSpPr>
        <p:spPr>
          <a:xfrm>
            <a:off x="3241633" y="1496424"/>
            <a:ext cx="671379" cy="172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022-03-15</a:t>
            </a:r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98" name="그룹 97">
            <a:extLst>
              <a:ext uri="{FF2B5EF4-FFF2-40B4-BE49-F238E27FC236}">
                <a16:creationId xmlns:a16="http://schemas.microsoft.com/office/drawing/2014/main" id="{68ADFF75-B664-4690-B8E9-6042230837FB}"/>
              </a:ext>
            </a:extLst>
          </p:cNvPr>
          <p:cNvGrpSpPr/>
          <p:nvPr/>
        </p:nvGrpSpPr>
        <p:grpSpPr>
          <a:xfrm>
            <a:off x="4057673" y="1504498"/>
            <a:ext cx="396520" cy="144000"/>
            <a:chOff x="1701753" y="1508908"/>
            <a:chExt cx="782724" cy="172800"/>
          </a:xfrm>
        </p:grpSpPr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ACBBC0B9-8A8C-47A9-A8B6-0E5DD7286150}"/>
                </a:ext>
              </a:extLst>
            </p:cNvPr>
            <p:cNvSpPr/>
            <p:nvPr/>
          </p:nvSpPr>
          <p:spPr>
            <a:xfrm>
              <a:off x="1701753" y="1508908"/>
              <a:ext cx="568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시</a:t>
              </a:r>
            </a:p>
          </p:txBody>
        </p:sp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A76BBABE-EA55-4DC8-9D5C-6AD35E5180FC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CF993C2B-9124-45D5-9ECF-F31A497DD6D1}"/>
              </a:ext>
            </a:extLst>
          </p:cNvPr>
          <p:cNvGrpSpPr/>
          <p:nvPr/>
        </p:nvGrpSpPr>
        <p:grpSpPr>
          <a:xfrm>
            <a:off x="4489721" y="1504498"/>
            <a:ext cx="396520" cy="144000"/>
            <a:chOff x="1701753" y="1508908"/>
            <a:chExt cx="782724" cy="172800"/>
          </a:xfrm>
        </p:grpSpPr>
        <p:sp>
          <p:nvSpPr>
            <p:cNvPr id="102" name="직사각형 101">
              <a:extLst>
                <a:ext uri="{FF2B5EF4-FFF2-40B4-BE49-F238E27FC236}">
                  <a16:creationId xmlns:a16="http://schemas.microsoft.com/office/drawing/2014/main" id="{86BDFBAF-C289-4B06-BE57-F583138B1585}"/>
                </a:ext>
              </a:extLst>
            </p:cNvPr>
            <p:cNvSpPr/>
            <p:nvPr/>
          </p:nvSpPr>
          <p:spPr>
            <a:xfrm>
              <a:off x="1701753" y="1508908"/>
              <a:ext cx="568168" cy="1728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분</a:t>
              </a:r>
            </a:p>
          </p:txBody>
        </p:sp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651F9008-00D5-42B7-A697-DEEDFCDF6762}"/>
                </a:ext>
              </a:extLst>
            </p:cNvPr>
            <p:cNvSpPr/>
            <p:nvPr/>
          </p:nvSpPr>
          <p:spPr>
            <a:xfrm>
              <a:off x="2268453" y="1509227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aphicFrame>
        <p:nvGraphicFramePr>
          <p:cNvPr id="118" name="표 117">
            <a:extLst>
              <a:ext uri="{FF2B5EF4-FFF2-40B4-BE49-F238E27FC236}">
                <a16:creationId xmlns:a16="http://schemas.microsoft.com/office/drawing/2014/main" id="{BE224F09-0E08-4F96-8936-BDD80C504F3B}"/>
              </a:ext>
            </a:extLst>
          </p:cNvPr>
          <p:cNvGraphicFramePr>
            <a:graphicFrameLocks noGrp="1"/>
          </p:cNvGraphicFramePr>
          <p:nvPr/>
        </p:nvGraphicFramePr>
        <p:xfrm>
          <a:off x="343571" y="2914347"/>
          <a:ext cx="8632206" cy="297542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87933">
                  <a:extLst>
                    <a:ext uri="{9D8B030D-6E8A-4147-A177-3AD203B41FA5}">
                      <a16:colId xmlns:a16="http://schemas.microsoft.com/office/drawing/2014/main" val="652755667"/>
                    </a:ext>
                  </a:extLst>
                </a:gridCol>
                <a:gridCol w="1603694">
                  <a:extLst>
                    <a:ext uri="{9D8B030D-6E8A-4147-A177-3AD203B41FA5}">
                      <a16:colId xmlns:a16="http://schemas.microsoft.com/office/drawing/2014/main" val="3759039434"/>
                    </a:ext>
                  </a:extLst>
                </a:gridCol>
                <a:gridCol w="1060602">
                  <a:extLst>
                    <a:ext uri="{9D8B030D-6E8A-4147-A177-3AD203B41FA5}">
                      <a16:colId xmlns:a16="http://schemas.microsoft.com/office/drawing/2014/main" val="89763876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1231695399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1305194521"/>
                    </a:ext>
                  </a:extLst>
                </a:gridCol>
                <a:gridCol w="1007569">
                  <a:extLst>
                    <a:ext uri="{9D8B030D-6E8A-4147-A177-3AD203B41FA5}">
                      <a16:colId xmlns:a16="http://schemas.microsoft.com/office/drawing/2014/main" val="2995250646"/>
                    </a:ext>
                  </a:extLst>
                </a:gridCol>
              </a:tblGrid>
              <a:tr h="2440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일시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P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방식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화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CRUD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142330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1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SamilAdmin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컨텐츠관리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뉴스업데이트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신규뉴스등록</a:t>
                      </a: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C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7184352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2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SamilAdmin1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컨텐츠관리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뉴스업데이트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신규뉴스조회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0327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01.011.5115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SamilAdmin1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컨텐츠관리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뉴스영상관리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컨텐츠등록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C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387617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7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SamilAdmin1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컨텐츠관리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뉴스영상관리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컨텐츠조회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R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225240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8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SamilAdmin1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ome / Admin </a:t>
                      </a:r>
                      <a:r>
                        <a:rPr kumimoji="0" lang="ko-KR" alt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메인화면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R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6814969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3112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SamilAdmin1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Home / Admin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로그인</a:t>
                      </a: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R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2966949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3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SamilMaster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고객관리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회원관리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회원상세조회</a:t>
                      </a: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R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7105276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6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SamilMaster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고객관리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회원관리 </a:t>
                      </a: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회원조회</a:t>
                      </a: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R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8000479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2110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SamilMaster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ome / Admin </a:t>
                      </a:r>
                      <a:r>
                        <a:rPr kumimoji="0" lang="ko-KR" alt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메인화면</a:t>
                      </a:r>
                      <a:endParaRPr kumimoji="0" lang="ko-KR" alt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R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1392122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2023.03.25 HH:M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맑은 고딕" panose="020B0503020000020004" pitchFamily="50" charset="-127"/>
                          <a:cs typeface="+mn-cs"/>
                        </a:rPr>
                        <a:t>101.11.011.1119</a:t>
                      </a:r>
                      <a:endParaRPr kumimoji="0" lang="ko-KR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Calibri Light" panose="020F0302020204030204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PC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SamilMaster</a:t>
                      </a:r>
                      <a:endParaRPr kumimoji="0" lang="ko-KR" altLang="en-US" sz="800" b="0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50000"/>
                            <a:lumOff val="50000"/>
                          </a:srgbClr>
                        </a:solidFill>
                        <a:effectLst/>
                        <a:uLnTx/>
                        <a:uFillTx/>
                        <a:latin typeface="Georgia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Home / Admin </a:t>
                      </a:r>
                      <a:r>
                        <a:rPr kumimoji="0" lang="ko-KR" alt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로그인</a:t>
                      </a: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50000"/>
                              <a:lumOff val="50000"/>
                            </a:srgbClr>
                          </a:solidFill>
                          <a:effectLst/>
                          <a:uLnTx/>
                          <a:uFillTx/>
                          <a:latin typeface="Georgia"/>
                          <a:ea typeface="맑은 고딕" panose="020B0503020000020004" pitchFamily="50" charset="-127"/>
                          <a:cs typeface="+mn-cs"/>
                        </a:rPr>
                        <a:t>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0427282"/>
                  </a:ext>
                </a:extLst>
              </a:tr>
              <a:tr h="2483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14400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…</a:t>
                      </a:r>
                      <a:endParaRPr kumimoji="0" lang="ko-KR" altLang="en-US" sz="900" b="1" i="0" u="none" strike="noStrike" kern="1200" cap="none" spc="0" normalizeH="0" baseline="0" noProof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1222374"/>
                  </a:ext>
                </a:extLst>
              </a:tr>
            </a:tbl>
          </a:graphicData>
        </a:graphic>
      </p:graphicFrame>
      <p:sp>
        <p:nvSpPr>
          <p:cNvPr id="119" name="사각형: 둥근 모서리 118">
            <a:extLst>
              <a:ext uri="{FF2B5EF4-FFF2-40B4-BE49-F238E27FC236}">
                <a16:creationId xmlns:a16="http://schemas.microsoft.com/office/drawing/2014/main" id="{8E7CBA65-8910-439A-8073-20575EBDDD2A}"/>
              </a:ext>
            </a:extLst>
          </p:cNvPr>
          <p:cNvSpPr/>
          <p:nvPr/>
        </p:nvSpPr>
        <p:spPr>
          <a:xfrm>
            <a:off x="1127448" y="151170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0" name="사각형: 둥근 모서리 119">
            <a:extLst>
              <a:ext uri="{FF2B5EF4-FFF2-40B4-BE49-F238E27FC236}">
                <a16:creationId xmlns:a16="http://schemas.microsoft.com/office/drawing/2014/main" id="{42DA83B0-CED8-4E5C-A2D0-911D47F1BAEA}"/>
              </a:ext>
            </a:extLst>
          </p:cNvPr>
          <p:cNvSpPr/>
          <p:nvPr/>
        </p:nvSpPr>
        <p:spPr>
          <a:xfrm>
            <a:off x="1127448" y="1790960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1" name="사각형: 둥근 모서리 120">
            <a:extLst>
              <a:ext uri="{FF2B5EF4-FFF2-40B4-BE49-F238E27FC236}">
                <a16:creationId xmlns:a16="http://schemas.microsoft.com/office/drawing/2014/main" id="{28169547-8E3D-4465-82FD-624A01FFD1B7}"/>
              </a:ext>
            </a:extLst>
          </p:cNvPr>
          <p:cNvSpPr/>
          <p:nvPr/>
        </p:nvSpPr>
        <p:spPr>
          <a:xfrm>
            <a:off x="1127448" y="2033107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25" name="사각형: 둥근 모서리 124">
            <a:extLst>
              <a:ext uri="{FF2B5EF4-FFF2-40B4-BE49-F238E27FC236}">
                <a16:creationId xmlns:a16="http://schemas.microsoft.com/office/drawing/2014/main" id="{A5B8F37F-66B4-4E7E-8682-2E0E2CD6E642}"/>
              </a:ext>
            </a:extLst>
          </p:cNvPr>
          <p:cNvSpPr/>
          <p:nvPr/>
        </p:nvSpPr>
        <p:spPr>
          <a:xfrm>
            <a:off x="368204" y="285293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6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212C7647-C2A5-0464-B915-E3709DB2A45B}"/>
              </a:ext>
            </a:extLst>
          </p:cNvPr>
          <p:cNvGraphicFramePr>
            <a:graphicFrameLocks noGrp="1"/>
          </p:cNvGraphicFramePr>
          <p:nvPr/>
        </p:nvGraphicFramePr>
        <p:xfrm>
          <a:off x="5275087" y="1458791"/>
          <a:ext cx="911701" cy="252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1701">
                  <a:extLst>
                    <a:ext uri="{9D8B030D-6E8A-4147-A177-3AD203B41FA5}">
                      <a16:colId xmlns:a16="http://schemas.microsoft.com/office/drawing/2014/main" val="90249731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접속</a:t>
                      </a:r>
                      <a:r>
                        <a:rPr lang="en-US" altLang="ko-KR" sz="8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ID</a:t>
                      </a:r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685895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5B828F0-769E-CA89-C74A-4FB37FCB140B}"/>
              </a:ext>
            </a:extLst>
          </p:cNvPr>
          <p:cNvSpPr txBox="1"/>
          <p:nvPr/>
        </p:nvSpPr>
        <p:spPr>
          <a:xfrm>
            <a:off x="6249883" y="1436237"/>
            <a:ext cx="610496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●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전체   </a:t>
            </a:r>
            <a:r>
              <a:rPr kumimoji="0" lang="ko-KR" altLang="en-US" sz="8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○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Arial"/>
              </a:rPr>
              <a:t> </a:t>
            </a:r>
            <a:r>
              <a: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특정 </a:t>
            </a:r>
            <a:r>
              <a:rPr lang="en-US" altLang="ko-KR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맑은 고딕"/>
                <a:cs typeface="Arial"/>
              </a:rPr>
              <a:t>ID</a:t>
            </a:r>
            <a:endParaRPr lang="ko-KR" altLang="en-US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FA4E161-A1C6-3578-5E2F-376F041F2600}"/>
              </a:ext>
            </a:extLst>
          </p:cNvPr>
          <p:cNvSpPr/>
          <p:nvPr/>
        </p:nvSpPr>
        <p:spPr>
          <a:xfrm>
            <a:off x="7248128" y="1496424"/>
            <a:ext cx="671379" cy="172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731E8AFA-1ED0-10AB-D4F9-A1BE3F62984E}"/>
              </a:ext>
            </a:extLst>
          </p:cNvPr>
          <p:cNvSpPr/>
          <p:nvPr/>
        </p:nvSpPr>
        <p:spPr>
          <a:xfrm>
            <a:off x="7338075" y="1487787"/>
            <a:ext cx="615685" cy="172589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0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23F838B1-9F66-2554-6357-3116C06C2940}"/>
              </a:ext>
            </a:extLst>
          </p:cNvPr>
          <p:cNvGrpSpPr/>
          <p:nvPr/>
        </p:nvGrpSpPr>
        <p:grpSpPr>
          <a:xfrm>
            <a:off x="1394110" y="1753537"/>
            <a:ext cx="765400" cy="180000"/>
            <a:chOff x="1394110" y="1753537"/>
            <a:chExt cx="725918" cy="180000"/>
          </a:xfrm>
        </p:grpSpPr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BAC8EDDA-318D-A2DD-751D-B62DDB65A125}"/>
                </a:ext>
              </a:extLst>
            </p:cNvPr>
            <p:cNvSpPr/>
            <p:nvPr/>
          </p:nvSpPr>
          <p:spPr>
            <a:xfrm>
              <a:off x="1394110" y="1753537"/>
              <a:ext cx="615685" cy="17258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화면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1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391C1BBE-CCF3-77FA-2FBD-F7752788AA2B}"/>
                </a:ext>
              </a:extLst>
            </p:cNvPr>
            <p:cNvSpPr/>
            <p:nvPr/>
          </p:nvSpPr>
          <p:spPr>
            <a:xfrm>
              <a:off x="2010592" y="1753537"/>
              <a:ext cx="109436" cy="1800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976EA04F-D43D-D19E-7CF1-DB3079235AA7}"/>
              </a:ext>
            </a:extLst>
          </p:cNvPr>
          <p:cNvGrpSpPr/>
          <p:nvPr/>
        </p:nvGrpSpPr>
        <p:grpSpPr>
          <a:xfrm>
            <a:off x="2207568" y="1753537"/>
            <a:ext cx="765400" cy="180000"/>
            <a:chOff x="1394110" y="1753537"/>
            <a:chExt cx="725918" cy="180000"/>
          </a:xfrm>
        </p:grpSpPr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5AF4B168-5785-7B1A-1D1F-5DEB69E90FC2}"/>
                </a:ext>
              </a:extLst>
            </p:cNvPr>
            <p:cNvSpPr/>
            <p:nvPr/>
          </p:nvSpPr>
          <p:spPr>
            <a:xfrm>
              <a:off x="1394110" y="1753537"/>
              <a:ext cx="615685" cy="17258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화면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9799B234-F654-F6E9-B2EA-BB820D852ED8}"/>
                </a:ext>
              </a:extLst>
            </p:cNvPr>
            <p:cNvSpPr/>
            <p:nvPr/>
          </p:nvSpPr>
          <p:spPr>
            <a:xfrm>
              <a:off x="2010592" y="1753537"/>
              <a:ext cx="109436" cy="1800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7822396C-2BEB-0E5C-FEB7-D87D726BE962}"/>
              </a:ext>
            </a:extLst>
          </p:cNvPr>
          <p:cNvGrpSpPr/>
          <p:nvPr/>
        </p:nvGrpSpPr>
        <p:grpSpPr>
          <a:xfrm>
            <a:off x="3029702" y="1753537"/>
            <a:ext cx="765400" cy="180000"/>
            <a:chOff x="1394110" y="1753537"/>
            <a:chExt cx="725918" cy="180000"/>
          </a:xfrm>
        </p:grpSpPr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67186B29-0C67-A909-74AC-981B9F7847E0}"/>
                </a:ext>
              </a:extLst>
            </p:cNvPr>
            <p:cNvSpPr/>
            <p:nvPr/>
          </p:nvSpPr>
          <p:spPr>
            <a:xfrm>
              <a:off x="1394110" y="1753537"/>
              <a:ext cx="615685" cy="17258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화면 </a:t>
              </a:r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LV3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762D23CC-4A86-6374-BF82-565A74F92A30}"/>
                </a:ext>
              </a:extLst>
            </p:cNvPr>
            <p:cNvSpPr/>
            <p:nvPr/>
          </p:nvSpPr>
          <p:spPr>
            <a:xfrm>
              <a:off x="2010592" y="1753537"/>
              <a:ext cx="109436" cy="1800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31" name="사각형: 둥근 모서리 30">
            <a:extLst>
              <a:ext uri="{FF2B5EF4-FFF2-40B4-BE49-F238E27FC236}">
                <a16:creationId xmlns:a16="http://schemas.microsoft.com/office/drawing/2014/main" id="{853A47C4-942A-7945-9FEB-B0A8E87135C7}"/>
              </a:ext>
            </a:extLst>
          </p:cNvPr>
          <p:cNvSpPr/>
          <p:nvPr/>
        </p:nvSpPr>
        <p:spPr>
          <a:xfrm>
            <a:off x="6064928" y="151387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45C7874D-88BF-C9FA-BC36-A28063F9A501}"/>
              </a:ext>
            </a:extLst>
          </p:cNvPr>
          <p:cNvGrpSpPr/>
          <p:nvPr/>
        </p:nvGrpSpPr>
        <p:grpSpPr>
          <a:xfrm>
            <a:off x="426250" y="2621672"/>
            <a:ext cx="696669" cy="172800"/>
            <a:chOff x="1260033" y="1778319"/>
            <a:chExt cx="696669" cy="172800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DD17BF48-5CC8-1AB8-E08A-277926475B09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00</a:t>
              </a:r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개</a:t>
              </a:r>
            </a:p>
          </p:txBody>
        </p:sp>
        <p:sp>
          <p:nvSpPr>
            <p:cNvPr id="34" name="직사각형 33">
              <a:extLst>
                <a:ext uri="{FF2B5EF4-FFF2-40B4-BE49-F238E27FC236}">
                  <a16:creationId xmlns:a16="http://schemas.microsoft.com/office/drawing/2014/main" id="{F03B81DA-0A38-D93B-D800-C16138E88533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D472C369-4E62-CD10-9C50-677F71BA3C2B}"/>
              </a:ext>
            </a:extLst>
          </p:cNvPr>
          <p:cNvGrpSpPr/>
          <p:nvPr/>
        </p:nvGrpSpPr>
        <p:grpSpPr>
          <a:xfrm>
            <a:off x="1249218" y="2626902"/>
            <a:ext cx="696669" cy="172800"/>
            <a:chOff x="1260033" y="1778319"/>
            <a:chExt cx="696669" cy="172800"/>
          </a:xfrm>
        </p:grpSpPr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E66F03A4-12B3-ADE6-DD1C-1C6ADB19918B}"/>
                </a:ext>
              </a:extLst>
            </p:cNvPr>
            <p:cNvSpPr/>
            <p:nvPr/>
          </p:nvSpPr>
          <p:spPr>
            <a:xfrm>
              <a:off x="1260033" y="1778319"/>
              <a:ext cx="480645" cy="17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72000" rtlCol="0" anchor="ctr"/>
            <a:lstStyle/>
            <a:p>
              <a:r>
                <a:rPr lang="en-US" altLang="ko-KR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1/2</a:t>
              </a:r>
              <a:endParaRPr lang="ko-KR" altLang="en-US" sz="80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endParaRPr>
            </a:p>
          </p:txBody>
        </p:sp>
        <p:sp>
          <p:nvSpPr>
            <p:cNvPr id="37" name="직사각형 36">
              <a:extLst>
                <a:ext uri="{FF2B5EF4-FFF2-40B4-BE49-F238E27FC236}">
                  <a16:creationId xmlns:a16="http://schemas.microsoft.com/office/drawing/2014/main" id="{8A47B9BE-0407-60AE-7918-6843CADE903D}"/>
                </a:ext>
              </a:extLst>
            </p:cNvPr>
            <p:cNvSpPr/>
            <p:nvPr/>
          </p:nvSpPr>
          <p:spPr>
            <a:xfrm>
              <a:off x="1740678" y="1778638"/>
              <a:ext cx="216024" cy="17248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800" dirty="0">
                  <a:ln>
                    <a:solidFill>
                      <a:srgbClr val="C50017">
                        <a:alpha val="0"/>
                      </a:srgb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맑은 고딕" panose="020B0503020000020004" pitchFamily="50" charset="-127"/>
                  <a:cs typeface="Arial"/>
                </a:rPr>
                <a:t>▼</a:t>
              </a:r>
            </a:p>
          </p:txBody>
        </p:sp>
      </p:grp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C39B8213-A18A-378C-BB36-1A45AF08F457}"/>
              </a:ext>
            </a:extLst>
          </p:cNvPr>
          <p:cNvSpPr/>
          <p:nvPr/>
        </p:nvSpPr>
        <p:spPr>
          <a:xfrm>
            <a:off x="368204" y="2556782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453324E6-37FE-B3B0-7085-4F614215233F}"/>
              </a:ext>
            </a:extLst>
          </p:cNvPr>
          <p:cNvSpPr/>
          <p:nvPr/>
        </p:nvSpPr>
        <p:spPr>
          <a:xfrm>
            <a:off x="8975543" y="-18917"/>
            <a:ext cx="3218221" cy="457982"/>
          </a:xfrm>
          <a:prstGeom prst="rect">
            <a:avLst/>
          </a:prstGeom>
          <a:solidFill>
            <a:schemeClr val="accent2"/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관리자 활동로그 관리 </a:t>
            </a:r>
            <a:r>
              <a:rPr kumimoji="0" lang="en-US" altLang="ko-KR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– </a:t>
            </a:r>
            <a:r>
              <a:rPr kumimoji="0" lang="ko-KR" altLang="en-US" sz="800" b="1" i="0" u="none" strike="noStrike" kern="0" cap="none" spc="0" normalizeH="0" baseline="0" noProof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/>
              </a:rPr>
              <a:t>추가 </a:t>
            </a:r>
            <a:endParaRPr kumimoji="0" lang="en-US" altLang="ko-KR" sz="800" b="1" i="0" u="none" strike="noStrike" kern="0" cap="none" spc="0" normalizeH="0" baseline="0" noProof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873302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4B84E1BD-A93E-4035-B8D0-F36FF3C1C0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4B84E1BD-A93E-4035-B8D0-F36FF3C1C0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US" altLang="ko-KR" sz="3600" b="1" dirty="0"/>
              <a:t>End</a:t>
            </a:r>
            <a:r>
              <a:rPr lang="ko-KR" altLang="en-US" sz="3600" b="1" dirty="0"/>
              <a:t> </a:t>
            </a:r>
            <a:r>
              <a:rPr lang="en-US" altLang="ko-KR" sz="3600" b="1" dirty="0"/>
              <a:t>of Document</a:t>
            </a:r>
            <a:endParaRPr lang="ko-KR" altLang="en-US" sz="3600" b="1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t>© 2023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프라이스워터하우스쿠퍼스컨설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1782539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3AD19AFB-F894-4DA6-BAB3-F1EFCEDD06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4546708"/>
              </p:ext>
            </p:extLst>
          </p:nvPr>
        </p:nvGraphicFramePr>
        <p:xfrm>
          <a:off x="1" y="0"/>
          <a:ext cx="12191999" cy="50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2986">
                  <a:extLst>
                    <a:ext uri="{9D8B030D-6E8A-4147-A177-3AD203B41FA5}">
                      <a16:colId xmlns:a16="http://schemas.microsoft.com/office/drawing/2014/main" val="1248793800"/>
                    </a:ext>
                  </a:extLst>
                </a:gridCol>
                <a:gridCol w="2415429">
                  <a:extLst>
                    <a:ext uri="{9D8B030D-6E8A-4147-A177-3AD203B41FA5}">
                      <a16:colId xmlns:a16="http://schemas.microsoft.com/office/drawing/2014/main" val="3787066150"/>
                    </a:ext>
                  </a:extLst>
                </a:gridCol>
                <a:gridCol w="1395456">
                  <a:extLst>
                    <a:ext uri="{9D8B030D-6E8A-4147-A177-3AD203B41FA5}">
                      <a16:colId xmlns:a16="http://schemas.microsoft.com/office/drawing/2014/main" val="3313403698"/>
                    </a:ext>
                  </a:extLst>
                </a:gridCol>
                <a:gridCol w="3790693">
                  <a:extLst>
                    <a:ext uri="{9D8B030D-6E8A-4147-A177-3AD203B41FA5}">
                      <a16:colId xmlns:a16="http://schemas.microsoft.com/office/drawing/2014/main" val="823573305"/>
                    </a:ext>
                  </a:extLst>
                </a:gridCol>
                <a:gridCol w="1349569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  <a:gridCol w="2107866">
                  <a:extLst>
                    <a:ext uri="{9D8B030D-6E8A-4147-A177-3AD203B41FA5}">
                      <a16:colId xmlns:a16="http://schemas.microsoft.com/office/drawing/2014/main" val="1602780305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</a:t>
                      </a: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ID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  <a:sym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M021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66985" rtl="0" eaLnBrk="1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 로그인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화면 유형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인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  <a:sym typeface="Arial"/>
                        </a:rPr>
                        <a:t>화면 설명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가 아이디</a:t>
                      </a:r>
                      <a:r>
                        <a:rPr lang="en-US" altLang="ko-KR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800" b="0" i="0" u="none" strike="noStrike" dirty="0">
                          <a:solidFill>
                            <a:srgbClr val="0D0D0D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밀번호 입력하여 로그인하는 화면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latinLnBrk="1">
                        <a:lnSpc>
                          <a:spcPts val="1500"/>
                        </a:lnSpc>
                        <a:spcBef>
                          <a:spcPts val="600"/>
                        </a:spcBef>
                      </a:pPr>
                      <a:endParaRPr lang="ko-KR" alt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spc="-1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301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27541"/>
                  </a:ext>
                </a:extLst>
              </a:tr>
            </a:tbl>
          </a:graphicData>
        </a:graphic>
      </p:graphicFrame>
      <p:graphicFrame>
        <p:nvGraphicFramePr>
          <p:cNvPr id="74" name="표 73">
            <a:extLst>
              <a:ext uri="{FF2B5EF4-FFF2-40B4-BE49-F238E27FC236}">
                <a16:creationId xmlns:a16="http://schemas.microsoft.com/office/drawing/2014/main" id="{9C88D9E3-4CF0-4778-A86D-CE6C1DF3F3B5}"/>
              </a:ext>
            </a:extLst>
          </p:cNvPr>
          <p:cNvGraphicFramePr>
            <a:graphicFrameLocks noGrp="1"/>
          </p:cNvGraphicFramePr>
          <p:nvPr/>
        </p:nvGraphicFramePr>
        <p:xfrm>
          <a:off x="9273919" y="511071"/>
          <a:ext cx="2917256" cy="63469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7256">
                  <a:extLst>
                    <a:ext uri="{9D8B030D-6E8A-4147-A177-3AD203B41FA5}">
                      <a16:colId xmlns:a16="http://schemas.microsoft.com/office/drawing/2014/main" val="3805775737"/>
                    </a:ext>
                  </a:extLst>
                </a:gridCol>
              </a:tblGrid>
              <a:tr h="243006">
                <a:tc>
                  <a:txBody>
                    <a:bodyPr/>
                    <a:lstStyle/>
                    <a:p>
                      <a:pPr marL="0" marR="0" lvl="0" indent="0" algn="ctr" defTabSz="666985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Description</a:t>
                      </a:r>
                      <a:endParaRPr lang="ko-KR" altLang="en-US" sz="800" b="1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98509"/>
                  </a:ext>
                </a:extLst>
              </a:tr>
              <a:tr h="6103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920393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D2D0C742-90D5-48B5-B75B-9AF7E2D7A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94" y="613068"/>
            <a:ext cx="8654742" cy="475310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BFB66F3-240B-4D1D-B217-A7581CBE4E21}"/>
              </a:ext>
            </a:extLst>
          </p:cNvPr>
          <p:cNvSpPr/>
          <p:nvPr/>
        </p:nvSpPr>
        <p:spPr>
          <a:xfrm>
            <a:off x="332993" y="606168"/>
            <a:ext cx="8647314" cy="607081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AAA37233-6367-4EBE-88A6-CB8F335E1426}"/>
              </a:ext>
            </a:extLst>
          </p:cNvPr>
          <p:cNvCxnSpPr>
            <a:cxnSpLocks/>
          </p:cNvCxnSpPr>
          <p:nvPr/>
        </p:nvCxnSpPr>
        <p:spPr>
          <a:xfrm>
            <a:off x="3036502" y="2269084"/>
            <a:ext cx="341953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직사각형 7">
            <a:extLst>
              <a:ext uri="{FF2B5EF4-FFF2-40B4-BE49-F238E27FC236}">
                <a16:creationId xmlns:a16="http://schemas.microsoft.com/office/drawing/2014/main" id="{0A5E28E9-5AAE-425A-AA75-87C1E95255FD}"/>
              </a:ext>
            </a:extLst>
          </p:cNvPr>
          <p:cNvSpPr/>
          <p:nvPr/>
        </p:nvSpPr>
        <p:spPr>
          <a:xfrm>
            <a:off x="4362501" y="1844824"/>
            <a:ext cx="767541" cy="265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200000"/>
              </a:lnSpc>
            </a:pPr>
            <a:r>
              <a:rPr lang="ko-KR" altLang="en-US" sz="130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47366319-E082-4AC2-AEEC-2A285A92AABC}"/>
              </a:ext>
            </a:extLst>
          </p:cNvPr>
          <p:cNvSpPr/>
          <p:nvPr/>
        </p:nvSpPr>
        <p:spPr>
          <a:xfrm>
            <a:off x="3054083" y="2620913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를 입력해주세요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CBC53C5-2E04-421A-AC43-D7A1785C9F98}"/>
              </a:ext>
            </a:extLst>
          </p:cNvPr>
          <p:cNvSpPr/>
          <p:nvPr/>
        </p:nvSpPr>
        <p:spPr>
          <a:xfrm>
            <a:off x="3036503" y="3961883"/>
            <a:ext cx="3419537" cy="4169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ctr"/>
            <a:r>
              <a:rPr lang="ko-KR" altLang="en-US" sz="10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로그인하기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6D0D6D34-1808-4634-9B31-F27A185DAD94}"/>
              </a:ext>
            </a:extLst>
          </p:cNvPr>
          <p:cNvSpPr/>
          <p:nvPr/>
        </p:nvSpPr>
        <p:spPr>
          <a:xfrm>
            <a:off x="4809048" y="4413506"/>
            <a:ext cx="1710611" cy="226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pPr algn="r"/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〮 </a:t>
            </a:r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 찾기        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3014A0DF-2347-4718-84C8-C29E0B36C144}"/>
              </a:ext>
            </a:extLst>
          </p:cNvPr>
          <p:cNvSpPr/>
          <p:nvPr/>
        </p:nvSpPr>
        <p:spPr>
          <a:xfrm>
            <a:off x="2998902" y="2450226"/>
            <a:ext cx="720833" cy="10696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31D7793-FC21-4727-98DE-BE9C1F5BF614}"/>
              </a:ext>
            </a:extLst>
          </p:cNvPr>
          <p:cNvSpPr/>
          <p:nvPr/>
        </p:nvSpPr>
        <p:spPr>
          <a:xfrm>
            <a:off x="2998903" y="3047584"/>
            <a:ext cx="916839" cy="17476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25BA50CB-FE3B-4E43-AA53-827CDBC81CA1}"/>
              </a:ext>
            </a:extLst>
          </p:cNvPr>
          <p:cNvSpPr/>
          <p:nvPr/>
        </p:nvSpPr>
        <p:spPr>
          <a:xfrm>
            <a:off x="3054083" y="3266179"/>
            <a:ext cx="3384376" cy="33064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800" i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비밀번호를 입력해주세요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EF972EAA-97C3-404B-8C73-42DA90470E87}"/>
              </a:ext>
            </a:extLst>
          </p:cNvPr>
          <p:cNvSpPr/>
          <p:nvPr/>
        </p:nvSpPr>
        <p:spPr>
          <a:xfrm>
            <a:off x="3250433" y="4413506"/>
            <a:ext cx="833457" cy="226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9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아이디 저장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84900E67-3D62-488B-8EFE-6DCEAAEE9C21}"/>
              </a:ext>
            </a:extLst>
          </p:cNvPr>
          <p:cNvGrpSpPr/>
          <p:nvPr/>
        </p:nvGrpSpPr>
        <p:grpSpPr>
          <a:xfrm>
            <a:off x="3117002" y="4450872"/>
            <a:ext cx="152069" cy="152069"/>
            <a:chOff x="3143672" y="4496705"/>
            <a:chExt cx="152069" cy="152069"/>
          </a:xfrm>
        </p:grpSpPr>
        <p:sp>
          <p:nvSpPr>
            <p:cNvPr id="18" name="타원 17">
              <a:extLst>
                <a:ext uri="{FF2B5EF4-FFF2-40B4-BE49-F238E27FC236}">
                  <a16:creationId xmlns:a16="http://schemas.microsoft.com/office/drawing/2014/main" id="{E1A12CCB-F207-4BE9-A922-B728647D50FA}"/>
                </a:ext>
              </a:extLst>
            </p:cNvPr>
            <p:cNvSpPr/>
            <p:nvPr/>
          </p:nvSpPr>
          <p:spPr>
            <a:xfrm>
              <a:off x="3143672" y="4496705"/>
              <a:ext cx="152069" cy="152069"/>
            </a:xfrm>
            <a:prstGeom prst="ellipse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4864" rtlCol="0" anchor="t" anchorCtr="0"/>
            <a:lstStyle/>
            <a:p>
              <a:pPr algn="ctr"/>
              <a:endParaRPr lang="ko-KR" altLang="en-US" sz="800">
                <a:solidFill>
                  <a:srgbClr val="000000"/>
                </a:solidFill>
                <a:latin typeface="+mn-ea"/>
                <a:cs typeface="Segoe UI" panose="020B0502040204020203" pitchFamily="34" charset="0"/>
              </a:endParaRPr>
            </a:p>
          </p:txBody>
        </p:sp>
        <p:pic>
          <p:nvPicPr>
            <p:cNvPr id="19" name="그림 18">
              <a:extLst>
                <a:ext uri="{FF2B5EF4-FFF2-40B4-BE49-F238E27FC236}">
                  <a16:creationId xmlns:a16="http://schemas.microsoft.com/office/drawing/2014/main" id="{C019E73E-ED93-453A-84B9-CCD3C9F8B3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79907" y="4529967"/>
              <a:ext cx="90522" cy="90522"/>
            </a:xfrm>
            <a:prstGeom prst="rect">
              <a:avLst/>
            </a:prstGeom>
          </p:spPr>
        </p:pic>
      </p:grpSp>
      <p:sp>
        <p:nvSpPr>
          <p:cNvPr id="20" name="사각형: 둥근 모서리 19">
            <a:extLst>
              <a:ext uri="{FF2B5EF4-FFF2-40B4-BE49-F238E27FC236}">
                <a16:creationId xmlns:a16="http://schemas.microsoft.com/office/drawing/2014/main" id="{19C8D846-C824-49EE-AC3D-494D40CCD36B}"/>
              </a:ext>
            </a:extLst>
          </p:cNvPr>
          <p:cNvSpPr/>
          <p:nvPr/>
        </p:nvSpPr>
        <p:spPr>
          <a:xfrm>
            <a:off x="2987031" y="2592895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1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1" name="사각형: 둥근 모서리 20">
            <a:extLst>
              <a:ext uri="{FF2B5EF4-FFF2-40B4-BE49-F238E27FC236}">
                <a16:creationId xmlns:a16="http://schemas.microsoft.com/office/drawing/2014/main" id="{7672187D-4D35-443E-BA0B-3E2D9E7DEBB8}"/>
              </a:ext>
            </a:extLst>
          </p:cNvPr>
          <p:cNvSpPr/>
          <p:nvPr/>
        </p:nvSpPr>
        <p:spPr>
          <a:xfrm>
            <a:off x="2994469" y="3193309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2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A99C5E49-C6AA-4C87-9BC7-C7E7E1E5830A}"/>
              </a:ext>
            </a:extLst>
          </p:cNvPr>
          <p:cNvSpPr/>
          <p:nvPr/>
        </p:nvSpPr>
        <p:spPr>
          <a:xfrm>
            <a:off x="2992285" y="3933056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3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1340524B-40C0-4D1F-B040-319D2214315F}"/>
              </a:ext>
            </a:extLst>
          </p:cNvPr>
          <p:cNvSpPr/>
          <p:nvPr/>
        </p:nvSpPr>
        <p:spPr>
          <a:xfrm>
            <a:off x="2992285" y="4466281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4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0434B197-73F6-4108-B775-45D2F085BA13}"/>
              </a:ext>
            </a:extLst>
          </p:cNvPr>
          <p:cNvSpPr/>
          <p:nvPr/>
        </p:nvSpPr>
        <p:spPr>
          <a:xfrm>
            <a:off x="5130042" y="4472754"/>
            <a:ext cx="144962" cy="108375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750" b="1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5</a:t>
            </a:r>
            <a:endParaRPr lang="ko-KR" altLang="en-US" sz="750" b="1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graphicFrame>
        <p:nvGraphicFramePr>
          <p:cNvPr id="26" name="표 10">
            <a:extLst>
              <a:ext uri="{FF2B5EF4-FFF2-40B4-BE49-F238E27FC236}">
                <a16:creationId xmlns:a16="http://schemas.microsoft.com/office/drawing/2014/main" id="{32059804-D2E1-4965-9079-E97C93665C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017384"/>
              </p:ext>
            </p:extLst>
          </p:nvPr>
        </p:nvGraphicFramePr>
        <p:xfrm>
          <a:off x="9273919" y="746533"/>
          <a:ext cx="2922885" cy="543173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8484">
                  <a:extLst>
                    <a:ext uri="{9D8B030D-6E8A-4147-A177-3AD203B41FA5}">
                      <a16:colId xmlns:a16="http://schemas.microsoft.com/office/drawing/2014/main" val="2605817163"/>
                    </a:ext>
                  </a:extLst>
                </a:gridCol>
                <a:gridCol w="2564401">
                  <a:extLst>
                    <a:ext uri="{9D8B030D-6E8A-4147-A177-3AD203B41FA5}">
                      <a16:colId xmlns:a16="http://schemas.microsoft.com/office/drawing/2014/main" val="895329560"/>
                    </a:ext>
                  </a:extLst>
                </a:gridCol>
              </a:tblGrid>
              <a:tr h="344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1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입력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를 입력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문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865977"/>
                  </a:ext>
                </a:extLst>
              </a:tr>
              <a:tr h="5271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입력창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-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를 입력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]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안내 문구 출력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클릭 시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문구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히든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처리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923695"/>
                  </a:ext>
                </a:extLst>
              </a:tr>
              <a:tr h="319145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3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비밀번호 입력 후 로그인하기 버튼 클릭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일치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로그인 화면 진입 직전 화면 출력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-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회원정보 불일치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[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 또는 비밀번호가 올바르지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 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않습니다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.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다시 확인해주세요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]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메시지 출력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51420"/>
                  </a:ext>
                </a:extLst>
              </a:tr>
              <a:tr h="4206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4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저장 체크 후 로그인 성공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추후 로그인 화면에서는 아이디 입력창에 아이디 입력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+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아이디저장 체크 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n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상태로 화면 출력 </a:t>
                      </a:r>
                      <a:endParaRPr lang="en-US" altLang="ko-KR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2718542"/>
                  </a:ext>
                </a:extLst>
              </a:tr>
              <a:tr h="2544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5</a:t>
                      </a:r>
                      <a:endParaRPr lang="ko-KR" altLang="en-US" sz="800" b="0" i="0" u="none" strike="noStrike" kern="1200" cap="none" spc="-3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버튼 클릭 시</a:t>
                      </a:r>
                      <a:r>
                        <a:rPr lang="en-US" altLang="ko-KR" sz="800" b="0" i="0" u="none" strike="noStrike" kern="1200" cap="none" spc="-3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FO-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아이디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/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비밀번호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찾기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[ID:H016] 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화면</a:t>
                      </a:r>
                      <a:endParaRPr lang="en-US" altLang="ko-KR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kern="1200" spc="-3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새창</a:t>
                      </a:r>
                      <a:r>
                        <a:rPr lang="ko-KR" altLang="en-US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출력</a:t>
                      </a:r>
                      <a:r>
                        <a:rPr lang="en-US" altLang="ko-KR" sz="800" b="0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 </a:t>
                      </a:r>
                      <a:endParaRPr lang="ko-KR" altLang="en-US" sz="800" b="0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143394"/>
                  </a:ext>
                </a:extLst>
              </a:tr>
            </a:tbl>
          </a:graphicData>
        </a:graphic>
      </p:graphicFrame>
      <p:pic>
        <p:nvPicPr>
          <p:cNvPr id="27" name="그림 26">
            <a:extLst>
              <a:ext uri="{FF2B5EF4-FFF2-40B4-BE49-F238E27FC236}">
                <a16:creationId xmlns:a16="http://schemas.microsoft.com/office/drawing/2014/main" id="{FF9B39D9-609A-47AD-A895-32EB1FADDB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76939" y="2850855"/>
            <a:ext cx="2020808" cy="2164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2802059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FC6D9948-33AE-44B5-BB64-2A38D9A0F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FC6D9948-33AE-44B5-BB64-2A38D9A0F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그룹 1"/>
          <p:cNvGrpSpPr/>
          <p:nvPr/>
        </p:nvGrpSpPr>
        <p:grpSpPr>
          <a:xfrm>
            <a:off x="1558925" y="5550665"/>
            <a:ext cx="4121122" cy="854677"/>
            <a:chOff x="415925" y="5550664"/>
            <a:chExt cx="4121122" cy="854677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925" y="5550664"/>
              <a:ext cx="1126800" cy="854677"/>
            </a:xfrm>
            <a:prstGeom prst="rect">
              <a:avLst/>
            </a:prstGeom>
          </p:spPr>
        </p:pic>
        <p:pic>
          <p:nvPicPr>
            <p:cNvPr id="12" name="그림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6458" y="6114000"/>
              <a:ext cx="2680589" cy="180000"/>
            </a:xfrm>
            <a:prstGeom prst="rect">
              <a:avLst/>
            </a:prstGeom>
          </p:spPr>
        </p:pic>
      </p:grpSp>
      <p:sp>
        <p:nvSpPr>
          <p:cNvPr id="8" name="직사각형 7">
            <a:extLst>
              <a:ext uri="{FF2B5EF4-FFF2-40B4-BE49-F238E27FC236}">
                <a16:creationId xmlns:a16="http://schemas.microsoft.com/office/drawing/2014/main" id="{2584CC6C-50EC-459E-B22B-136FF07BD122}"/>
              </a:ext>
            </a:extLst>
          </p:cNvPr>
          <p:cNvSpPr/>
          <p:nvPr/>
        </p:nvSpPr>
        <p:spPr>
          <a:xfrm>
            <a:off x="-10149" y="2708920"/>
            <a:ext cx="886108" cy="720080"/>
          </a:xfrm>
          <a:prstGeom prst="rect">
            <a:avLst/>
          </a:prstGeom>
          <a:solidFill>
            <a:srgbClr val="E0301E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t" anchorCtr="0"/>
          <a:lstStyle/>
          <a:p>
            <a:pPr algn="ctr"/>
            <a:endParaRPr lang="ko-KR" altLang="en-US" sz="800"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A086D23-8EA7-494F-A420-90D8685749A8}"/>
              </a:ext>
            </a:extLst>
          </p:cNvPr>
          <p:cNvSpPr/>
          <p:nvPr/>
        </p:nvSpPr>
        <p:spPr>
          <a:xfrm>
            <a:off x="1024178" y="2719563"/>
            <a:ext cx="3290355" cy="709438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4864" rtlCol="0" anchor="ctr" anchorCtr="0"/>
          <a:lstStyle/>
          <a:p>
            <a:r>
              <a:rPr lang="ko-KR" altLang="en-US" sz="24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  <a:sym typeface="맑은 고딕" panose="020B0503020000020004" pitchFamily="50" charset="-127"/>
              </a:rPr>
              <a:t>컨텐츠 관리</a:t>
            </a:r>
            <a:endParaRPr lang="en-US" altLang="ko-KR" sz="24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  <a:sym typeface="맑은 고딕" panose="020B0503020000020004" pitchFamily="50" charset="-127"/>
            </a:endParaRP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5D7C2872-3169-48D2-B546-9038AADD6816}"/>
              </a:ext>
            </a:extLst>
          </p:cNvPr>
          <p:cNvCxnSpPr>
            <a:cxnSpLocks/>
          </p:cNvCxnSpPr>
          <p:nvPr/>
        </p:nvCxnSpPr>
        <p:spPr>
          <a:xfrm>
            <a:off x="1024178" y="3429001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D27A8386-EBFB-462A-B6E2-E8766189896F}"/>
              </a:ext>
            </a:extLst>
          </p:cNvPr>
          <p:cNvSpPr/>
          <p:nvPr/>
        </p:nvSpPr>
        <p:spPr>
          <a:xfrm>
            <a:off x="983432" y="3534561"/>
            <a:ext cx="5940263" cy="14876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삼일 </a:t>
            </a:r>
            <a:r>
              <a:rPr lang="en-US" altLang="ko-KR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ESG </a:t>
            </a:r>
            <a:r>
              <a:rPr lang="ko-KR" altLang="en-US" sz="900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플랫폼 기획 및 구축 컨설팅</a:t>
            </a: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D8D02604-E3A3-4C50-B266-16CA2E78FA19}"/>
              </a:ext>
            </a:extLst>
          </p:cNvPr>
          <p:cNvCxnSpPr>
            <a:cxnSpLocks/>
          </p:cNvCxnSpPr>
          <p:nvPr/>
        </p:nvCxnSpPr>
        <p:spPr>
          <a:xfrm>
            <a:off x="1024178" y="4005064"/>
            <a:ext cx="10832462" cy="0"/>
          </a:xfrm>
          <a:prstGeom prst="line">
            <a:avLst/>
          </a:prstGeom>
          <a:ln w="12700">
            <a:solidFill>
              <a:srgbClr val="E030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8229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표 10">
            <a:extLst>
              <a:ext uri="{FF2B5EF4-FFF2-40B4-BE49-F238E27FC236}">
                <a16:creationId xmlns:a16="http://schemas.microsoft.com/office/drawing/2014/main" id="{D64CF283-2265-4118-B260-DE50D141F9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373784"/>
              </p:ext>
            </p:extLst>
          </p:nvPr>
        </p:nvGraphicFramePr>
        <p:xfrm>
          <a:off x="335361" y="1043340"/>
          <a:ext cx="11521269" cy="52155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80141">
                  <a:extLst>
                    <a:ext uri="{9D8B030D-6E8A-4147-A177-3AD203B41FA5}">
                      <a16:colId xmlns:a16="http://schemas.microsoft.com/office/drawing/2014/main" val="3707295847"/>
                    </a:ext>
                  </a:extLst>
                </a:gridCol>
                <a:gridCol w="1280141">
                  <a:extLst>
                    <a:ext uri="{9D8B030D-6E8A-4147-A177-3AD203B41FA5}">
                      <a16:colId xmlns:a16="http://schemas.microsoft.com/office/drawing/2014/main" val="603884894"/>
                    </a:ext>
                  </a:extLst>
                </a:gridCol>
                <a:gridCol w="1280141">
                  <a:extLst>
                    <a:ext uri="{9D8B030D-6E8A-4147-A177-3AD203B41FA5}">
                      <a16:colId xmlns:a16="http://schemas.microsoft.com/office/drawing/2014/main" val="643897602"/>
                    </a:ext>
                  </a:extLst>
                </a:gridCol>
                <a:gridCol w="1280141">
                  <a:extLst>
                    <a:ext uri="{9D8B030D-6E8A-4147-A177-3AD203B41FA5}">
                      <a16:colId xmlns:a16="http://schemas.microsoft.com/office/drawing/2014/main" val="2041006225"/>
                    </a:ext>
                  </a:extLst>
                </a:gridCol>
                <a:gridCol w="1280141">
                  <a:extLst>
                    <a:ext uri="{9D8B030D-6E8A-4147-A177-3AD203B41FA5}">
                      <a16:colId xmlns:a16="http://schemas.microsoft.com/office/drawing/2014/main" val="3208282662"/>
                    </a:ext>
                  </a:extLst>
                </a:gridCol>
                <a:gridCol w="1280141">
                  <a:extLst>
                    <a:ext uri="{9D8B030D-6E8A-4147-A177-3AD203B41FA5}">
                      <a16:colId xmlns:a16="http://schemas.microsoft.com/office/drawing/2014/main" val="576680554"/>
                    </a:ext>
                  </a:extLst>
                </a:gridCol>
                <a:gridCol w="1280141">
                  <a:extLst>
                    <a:ext uri="{9D8B030D-6E8A-4147-A177-3AD203B41FA5}">
                      <a16:colId xmlns:a16="http://schemas.microsoft.com/office/drawing/2014/main" val="779892502"/>
                    </a:ext>
                  </a:extLst>
                </a:gridCol>
                <a:gridCol w="1280141">
                  <a:extLst>
                    <a:ext uri="{9D8B030D-6E8A-4147-A177-3AD203B41FA5}">
                      <a16:colId xmlns:a16="http://schemas.microsoft.com/office/drawing/2014/main" val="144716788"/>
                    </a:ext>
                  </a:extLst>
                </a:gridCol>
                <a:gridCol w="1280141">
                  <a:extLst>
                    <a:ext uri="{9D8B030D-6E8A-4147-A177-3AD203B41FA5}">
                      <a16:colId xmlns:a16="http://schemas.microsoft.com/office/drawing/2014/main" val="2035274642"/>
                    </a:ext>
                  </a:extLst>
                </a:gridCol>
              </a:tblGrid>
              <a:tr h="323111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뉴스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139672"/>
                  </a:ext>
                </a:extLst>
              </a:tr>
              <a:tr h="32311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리포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9060848"/>
                  </a:ext>
                </a:extLst>
              </a:tr>
              <a:tr h="42036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컨텐츠 종류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문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6481813"/>
                  </a:ext>
                </a:extLst>
              </a:tr>
              <a:tr h="75021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유형 분류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/>
                        </a:rPr>
                        <a:t>삼일발간물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리포트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발간물</a:t>
                      </a:r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외 전체</a:t>
                      </a:r>
                      <a:endParaRPr lang="en-US" altLang="ko-KR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전체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311018"/>
                  </a:ext>
                </a:extLst>
              </a:tr>
              <a:tr h="146064"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5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8991235"/>
                  </a:ext>
                </a:extLst>
              </a:tr>
              <a:tr h="323111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삼일 인사이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료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뉴스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889559"/>
                  </a:ext>
                </a:extLst>
              </a:tr>
              <a:tr h="323111">
                <a:tc vMerge="1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필터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사이트 리포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레터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준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가이드라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법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제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연구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보고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미디어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뉴스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965314"/>
                  </a:ext>
                </a:extLst>
              </a:tr>
              <a:tr h="3231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키워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904441"/>
                  </a:ext>
                </a:extLst>
              </a:tr>
              <a:tr h="3231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제분류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26831"/>
                  </a:ext>
                </a:extLst>
              </a:tr>
              <a:tr h="32311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업무분류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0902177"/>
                  </a:ext>
                </a:extLst>
              </a:tr>
              <a:tr h="3231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내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해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9443685"/>
                  </a:ext>
                </a:extLst>
              </a:tr>
              <a:tr h="3231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국문</a:t>
                      </a:r>
                      <a:r>
                        <a:rPr lang="en-US" altLang="ko-KR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/</a:t>
                      </a:r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6368692"/>
                  </a:ext>
                </a:extLst>
              </a:tr>
              <a:tr h="3231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출처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110199"/>
                  </a:ext>
                </a:extLst>
              </a:tr>
              <a:tr h="3231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발간연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en-US" altLang="ko-KR" sz="8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862917"/>
                  </a:ext>
                </a:extLst>
              </a:tr>
              <a:tr h="3231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영상분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O</a:t>
                      </a:r>
                      <a:endParaRPr lang="ko-KR" altLang="en-US" sz="1000" b="1" kern="120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kern="120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0798678"/>
                  </a:ext>
                </a:extLst>
              </a:tr>
            </a:tbl>
          </a:graphicData>
        </a:graphic>
      </p:graphicFrame>
      <p:sp>
        <p:nvSpPr>
          <p:cNvPr id="115" name="TextBox 114">
            <a:extLst>
              <a:ext uri="{FF2B5EF4-FFF2-40B4-BE49-F238E27FC236}">
                <a16:creationId xmlns:a16="http://schemas.microsoft.com/office/drawing/2014/main" id="{D2AE8F76-44FF-432B-A0E5-09D354381DDF}"/>
              </a:ext>
            </a:extLst>
          </p:cNvPr>
          <p:cNvSpPr txBox="1"/>
          <p:nvPr/>
        </p:nvSpPr>
        <p:spPr>
          <a:xfrm>
            <a:off x="335361" y="330861"/>
            <a:ext cx="4392488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14400" fontAlgn="ctr" latinLnBrk="1">
              <a:lnSpc>
                <a:spcPct val="150000"/>
              </a:lnSpc>
            </a:pP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자료 유형별 </a:t>
            </a:r>
            <a:r>
              <a:rPr lang="ko-KR" altLang="en-US" sz="12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구분값</a:t>
            </a:r>
            <a:r>
              <a:rPr lang="ko-KR" altLang="en-US" sz="1200" b="1" spc="-3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 및 </a:t>
            </a:r>
            <a:r>
              <a:rPr lang="ko-KR" altLang="en-US" sz="1200" b="1" spc="-3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/>
              </a:rPr>
              <a:t>필터값</a:t>
            </a:r>
            <a:endParaRPr lang="ko-KR" altLang="en-US" sz="1200" b="1" spc="-30" dirty="0">
              <a:ln>
                <a:solidFill>
                  <a:srgbClr val="C50017">
                    <a:alpha val="0"/>
                  </a:srgb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0DD3B63-87D3-432C-BDD7-7D01854E65E0}"/>
              </a:ext>
            </a:extLst>
          </p:cNvPr>
          <p:cNvSpPr/>
          <p:nvPr/>
        </p:nvSpPr>
        <p:spPr>
          <a:xfrm>
            <a:off x="8760296" y="256686"/>
            <a:ext cx="3218221" cy="346034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sq" cmpd="sng" algn="ctr">
            <a:solidFill>
              <a:srgbClr val="D04A02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&lt;23.08.29&gt;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획서 통합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아래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수정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(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기획서 내 기능 설명에서도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워딩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일괄 수정함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)</a:t>
            </a: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-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인사이트레포트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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인사이트 리포트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 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미디어영상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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미디어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 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-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레포트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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  <a:sym typeface="Wingdings" panose="05000000000000000000" pitchFamily="2" charset="2"/>
              </a:rPr>
              <a:t>리포트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  <a:sym typeface="Wingdings" panose="05000000000000000000" pitchFamily="2" charset="2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필터값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최신화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주제분류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, 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업무분류 추가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출처 삭제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- ESG 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키워드는 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6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개 구분</a:t>
            </a:r>
            <a:r>
              <a:rPr lang="en-US" altLang="ko-KR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, 26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개 </a:t>
            </a:r>
            <a:r>
              <a:rPr lang="ko-KR" altLang="en-US" sz="800" b="1" kern="0" dirty="0" err="1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토픽키워드로</a:t>
            </a:r>
            <a:r>
              <a:rPr lang="ko-KR" altLang="en-US" sz="800" b="1" kern="0" dirty="0">
                <a:ln>
                  <a:solidFill>
                    <a:srgbClr val="C50017">
                      <a:alpha val="0"/>
                    </a:srgbClr>
                  </a:solidFill>
                </a:ln>
                <a:solidFill>
                  <a:srgbClr val="000000">
                    <a:lumMod val="75000"/>
                    <a:lumOff val="25000"/>
                  </a:srgbClr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/>
              </a:rPr>
              <a:t> 구분</a:t>
            </a: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  <a:p>
            <a:pPr defTabSz="914400">
              <a:lnSpc>
                <a:spcPct val="110000"/>
              </a:lnSpc>
              <a:defRPr/>
            </a:pPr>
            <a:endParaRPr lang="en-US" altLang="ko-KR" sz="800" b="1" kern="0" dirty="0">
              <a:ln>
                <a:solidFill>
                  <a:srgbClr val="C50017">
                    <a:alpha val="0"/>
                  </a:srgbClr>
                </a:solidFill>
              </a:ln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Arial" panose="020B0604020202020204" pitchFamily="34" charset="0"/>
              <a:ea typeface="맑은 고딕"/>
              <a:cs typeface="Arial"/>
            </a:endParaRPr>
          </a:p>
        </p:txBody>
      </p:sp>
      <p:graphicFrame>
        <p:nvGraphicFramePr>
          <p:cNvPr id="5" name="표 22">
            <a:extLst>
              <a:ext uri="{FF2B5EF4-FFF2-40B4-BE49-F238E27FC236}">
                <a16:creationId xmlns:a16="http://schemas.microsoft.com/office/drawing/2014/main" id="{99C52A39-725B-4A04-B801-50CF9D2C6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446458"/>
              </p:ext>
            </p:extLst>
          </p:nvPr>
        </p:nvGraphicFramePr>
        <p:xfrm>
          <a:off x="8891427" y="1700808"/>
          <a:ext cx="2880320" cy="1859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03239">
                  <a:extLst>
                    <a:ext uri="{9D8B030D-6E8A-4147-A177-3AD203B41FA5}">
                      <a16:colId xmlns:a16="http://schemas.microsoft.com/office/drawing/2014/main" val="4011765330"/>
                    </a:ext>
                  </a:extLst>
                </a:gridCol>
                <a:gridCol w="2077081">
                  <a:extLst>
                    <a:ext uri="{9D8B030D-6E8A-4147-A177-3AD203B41FA5}">
                      <a16:colId xmlns:a16="http://schemas.microsoft.com/office/drawing/2014/main" val="2073626958"/>
                    </a:ext>
                  </a:extLst>
                </a:gridCol>
              </a:tblGrid>
              <a:tr h="135170"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구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77172" rtl="0" eaLnBrk="1" latinLnBrk="0" hangingPunct="1"/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토픽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(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총 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26</a:t>
                      </a:r>
                      <a:r>
                        <a:rPr lang="ko-KR" altLang="en-US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개</a:t>
                      </a:r>
                      <a:r>
                        <a:rPr lang="en-US" altLang="ko-KR" sz="800" b="1" kern="1200" spc="-3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)</a:t>
                      </a:r>
                      <a:endParaRPr lang="ko-KR" altLang="en-US" sz="800" b="1" kern="1200" spc="-3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352814"/>
                  </a:ext>
                </a:extLst>
              </a:tr>
              <a:tr h="264752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온실가스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변화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에너지전환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자원 및 순환경제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생물다양성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오염과 폐기물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친환경제품 및 기술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711211"/>
                  </a:ext>
                </a:extLst>
              </a:tr>
              <a:tr h="194151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사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적자원 관리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인권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소비자 및 고객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공급망 관리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역사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44155"/>
                  </a:ext>
                </a:extLst>
              </a:tr>
              <a:tr h="135170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거버넌스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이사회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주주권리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윤리경영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위험관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898307"/>
                  </a:ext>
                </a:extLst>
              </a:tr>
              <a:tr h="135170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b="1" strike="noStrike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지속가능금융</a:t>
                      </a:r>
                      <a:endParaRPr lang="en-US" altLang="ko-KR" sz="800" b="1" strike="noStrike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채권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투자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 err="1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기후리스크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금융배출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005983"/>
                  </a:ext>
                </a:extLst>
              </a:tr>
              <a:tr h="135170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8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</a:t>
                      </a:r>
                      <a:r>
                        <a:rPr lang="ko-KR" altLang="en-US" sz="8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lang="en-US" altLang="ko-KR" sz="8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Tax</a:t>
                      </a:r>
                      <a:endParaRPr lang="ko-KR" altLang="en-US" sz="8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탄소국경세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환경세와 세제혜택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세무투명성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059119"/>
                  </a:ext>
                </a:extLst>
              </a:tr>
              <a:tr h="135170"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en-US" altLang="ko-KR" sz="800" b="1" kern="1200" spc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ESG Deal </a:t>
                      </a:r>
                      <a:endParaRPr lang="ko-KR" altLang="en-US" sz="800" b="1" kern="1200" spc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77172" rtl="0" eaLnBrk="1" latinLnBrk="0" hangingPunct="1"/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책임투자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</a:t>
                      </a:r>
                      <a:r>
                        <a:rPr lang="ko-KR" altLang="en-US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실사</a:t>
                      </a:r>
                      <a:r>
                        <a:rPr lang="en-US" altLang="ko-KR" sz="800" b="1" kern="1200" spc="-50" baseline="0" dirty="0">
                          <a:ln>
                            <a:solidFill>
                              <a:srgbClr val="C50017">
                                <a:alpha val="0"/>
                              </a:srgb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/>
                        </a:rPr>
                        <a:t>, ESG M&amp;A</a:t>
                      </a:r>
                      <a:endParaRPr lang="ko-KR" altLang="en-US" sz="800" b="1" kern="1200" spc="-50" baseline="0" dirty="0">
                        <a:ln>
                          <a:solidFill>
                            <a:srgbClr val="C50017">
                              <a:alpha val="0"/>
                            </a:srgb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7744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5499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631,69,직원용 챗봇 서비스는 직원과 RPA 봇 간의 상호작용을 간소화하여 ① 영업점 직원 편익 및 고객 서비스의 질을 향상시키고, ② RPA 적용 시 소요되는 시간 및 비용 절감 효과를 기대할 수 있음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삼일PwC">
      <a:majorFont>
        <a:latin typeface="Georgia"/>
        <a:ea typeface="바탕"/>
        <a:cs typeface=""/>
      </a:majorFont>
      <a:minorFont>
        <a:latin typeface="Arial"/>
        <a:ea typeface="맑은 고딕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4x3 PowerPoint.potx" id="{F37F5E82-825F-4A98-9648-4F1C99ADBEA2}" vid="{8E43C0BA-8632-46B7-A9CE-36BEEB73D0B3}"/>
    </a:ext>
  </a:extLst>
</a:theme>
</file>

<file path=ppt/theme/theme2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3175">
          <a:solidFill>
            <a:schemeClr val="tx1">
              <a:lumMod val="95000"/>
              <a:lumOff val="5000"/>
            </a:schemeClr>
          </a:solidFill>
        </a:ln>
        <a:effectLst/>
      </a:spPr>
      <a:bodyPr tIns="54864" rtlCol="0" anchor="t" anchorCtr="0"/>
      <a:lstStyle>
        <a:defPPr>
          <a:defRPr sz="800" smtClean="0">
            <a:solidFill>
              <a:srgbClr val="000000"/>
            </a:solidFill>
            <a:latin typeface="+mn-ea"/>
            <a:cs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defRPr sz="800" smtClean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5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wC 4x3 PowerPoint</Template>
  <TotalTime>37572</TotalTime>
  <Words>26848</Words>
  <Application>Microsoft Macintosh PowerPoint</Application>
  <PresentationFormat>와이드스크린</PresentationFormat>
  <Paragraphs>8492</Paragraphs>
  <Slides>67</Slides>
  <Notes>67</Notes>
  <HiddenSlides>0</HiddenSlides>
  <MMClips>0</MMClips>
  <ScaleCrop>false</ScaleCrop>
  <HeadingPairs>
    <vt:vector size="8" baseType="variant">
      <vt:variant>
        <vt:lpstr>사용한 글꼴</vt:lpstr>
      </vt:variant>
      <vt:variant>
        <vt:i4>14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67</vt:i4>
      </vt:variant>
    </vt:vector>
  </HeadingPairs>
  <TitlesOfParts>
    <vt:vector size="85" baseType="lpstr">
      <vt:lpstr>경기천년제목 Light</vt:lpstr>
      <vt:lpstr>맑은 고딕</vt:lpstr>
      <vt:lpstr>AppleSDGothicNeoM00</vt:lpstr>
      <vt:lpstr>Arial Unicode MS</vt:lpstr>
      <vt:lpstr>CJ ONLYONE Medium</vt:lpstr>
      <vt:lpstr>PwC Helvetica Neue</vt:lpstr>
      <vt:lpstr>Yu Gothic UI</vt:lpstr>
      <vt:lpstr>Arial</vt:lpstr>
      <vt:lpstr>Calibri</vt:lpstr>
      <vt:lpstr>Calibri Light</vt:lpstr>
      <vt:lpstr>Consolas</vt:lpstr>
      <vt:lpstr>Georgia</vt:lpstr>
      <vt:lpstr>Segoe UI</vt:lpstr>
      <vt:lpstr>Wingdings</vt:lpstr>
      <vt:lpstr>PwC</vt:lpstr>
      <vt:lpstr>2_Office 테마</vt:lpstr>
      <vt:lpstr>3_Office 테마</vt:lpstr>
      <vt:lpstr>think-cell Slide</vt:lpstr>
      <vt:lpstr>삼일 ESG 플랫폼  기획 및 구축 컨설팅  화면 및 기능 정의 (운영자 Admin)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End of Docume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업무혁신 컨설팅” 제안서</dc:title>
  <dc:subject/>
  <dc:creator>So-Hyun Park</dc:creator>
  <cp:keywords/>
  <dc:description/>
  <cp:lastModifiedBy>영종 박</cp:lastModifiedBy>
  <cp:revision>1529</cp:revision>
  <dcterms:created xsi:type="dcterms:W3CDTF">2023-02-27T08:11:58Z</dcterms:created>
  <dcterms:modified xsi:type="dcterms:W3CDTF">2023-11-24T03:15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type">
    <vt:lpwstr>PwC4x3</vt:lpwstr>
  </property>
  <property fmtid="{D5CDD505-2E9C-101B-9397-08002B2CF9AE}" pid="3" name="TB template version">
    <vt:lpwstr>6</vt:lpwstr>
  </property>
  <property fmtid="{D5CDD505-2E9C-101B-9397-08002B2CF9AE}" pid="4" name="TB template release">
    <vt:lpwstr>4</vt:lpwstr>
  </property>
</Properties>
</file>